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2" r:id="rId2"/>
    <p:sldMasterId id="2147483695" r:id="rId3"/>
    <p:sldMasterId id="2147483704" r:id="rId4"/>
  </p:sldMasterIdLst>
  <p:notesMasterIdLst>
    <p:notesMasterId r:id="rId28"/>
  </p:notesMasterIdLst>
  <p:sldIdLst>
    <p:sldId id="257" r:id="rId5"/>
    <p:sldId id="615" r:id="rId6"/>
    <p:sldId id="623" r:id="rId7"/>
    <p:sldId id="624" r:id="rId8"/>
    <p:sldId id="588" r:id="rId9"/>
    <p:sldId id="622" r:id="rId10"/>
    <p:sldId id="625" r:id="rId11"/>
    <p:sldId id="582" r:id="rId12"/>
    <p:sldId id="637" r:id="rId13"/>
    <p:sldId id="610" r:id="rId14"/>
    <p:sldId id="614" r:id="rId15"/>
    <p:sldId id="618" r:id="rId16"/>
    <p:sldId id="627" r:id="rId17"/>
    <p:sldId id="621" r:id="rId18"/>
    <p:sldId id="633" r:id="rId19"/>
    <p:sldId id="634" r:id="rId20"/>
    <p:sldId id="635" r:id="rId21"/>
    <p:sldId id="632" r:id="rId22"/>
    <p:sldId id="636" r:id="rId23"/>
    <p:sldId id="628" r:id="rId24"/>
    <p:sldId id="586" r:id="rId25"/>
    <p:sldId id="611" r:id="rId26"/>
    <p:sldId id="570" r:id="rId27"/>
  </p:sldIdLst>
  <p:sldSz cx="9144000" cy="6858000" type="screen4x3"/>
  <p:notesSz cx="6858000" cy="9144000"/>
  <p:defaultTextStyle>
    <a:defPPr>
      <a:defRPr lang="en-US"/>
    </a:defPPr>
    <a:lvl1pPr marL="0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39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77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16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55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192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32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71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08" algn="l" defTabSz="9140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ENAZZATO, Martina" initials="PM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FF9966"/>
    <a:srgbClr val="2FDD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6" autoAdjust="0"/>
    <p:restoredTop sz="91806" autoAdjust="0"/>
  </p:normalViewPr>
  <p:slideViewPr>
    <p:cSldViewPr>
      <p:cViewPr varScale="1">
        <p:scale>
          <a:sx n="71" d="100"/>
          <a:sy n="71" d="100"/>
        </p:scale>
        <p:origin x="1536" y="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Book2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Macintosh%20HD:Users:adapride:Downloads:2014%20PMTCT%20Data%20Factsheet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essajees\AppData\Local\Microsoft\Windows\Temporary%20Internet%20Files\Content.Outlook\BXPZKTUS\Shaffiq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kiraguk\Downloads\Case%20rates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Macintosh%20HD:Users:jacobadam:Desktop:Meta%20Virology:Adult%20Cascades:graphs%20IAS%20july%201st.xlsx" TargetMode="External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554396325459299"/>
          <c:y val="5.1400554097404502E-2"/>
          <c:w val="0.81527493438320198"/>
          <c:h val="0.79523549139690897"/>
        </c:manualLayout>
      </c:layout>
      <c:areaChart>
        <c:grouping val="standard"/>
        <c:varyColors val="0"/>
        <c:ser>
          <c:idx val="0"/>
          <c:order val="0"/>
          <c:spPr>
            <a:solidFill>
              <a:sysClr val="window" lastClr="FFFFFF">
                <a:lumMod val="85000"/>
              </a:sysClr>
            </a:solidFill>
            <a:ln>
              <a:noFill/>
            </a:ln>
          </c:spPr>
          <c:cat>
            <c:numRef>
              <c:f>Sheet1!$E$10:$E$24</c:f>
              <c:numCache>
                <c:formatCode>General</c:formatCode>
                <c:ptCount val="1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</c:numCache>
            </c:numRef>
          </c:cat>
          <c:val>
            <c:numRef>
              <c:f>Sheet1!$A$10:$A$24</c:f>
              <c:numCache>
                <c:formatCode>General</c:formatCode>
                <c:ptCount val="15"/>
                <c:pt idx="0">
                  <c:v>485324</c:v>
                </c:pt>
                <c:pt idx="1">
                  <c:v>489582</c:v>
                </c:pt>
                <c:pt idx="2">
                  <c:v>492207</c:v>
                </c:pt>
                <c:pt idx="3">
                  <c:v>486412</c:v>
                </c:pt>
                <c:pt idx="4">
                  <c:v>478553</c:v>
                </c:pt>
                <c:pt idx="5">
                  <c:v>462389</c:v>
                </c:pt>
                <c:pt idx="6">
                  <c:v>450646</c:v>
                </c:pt>
                <c:pt idx="7">
                  <c:v>438722</c:v>
                </c:pt>
                <c:pt idx="8">
                  <c:v>427046</c:v>
                </c:pt>
                <c:pt idx="9">
                  <c:v>369995</c:v>
                </c:pt>
                <c:pt idx="10">
                  <c:v>332623</c:v>
                </c:pt>
                <c:pt idx="11">
                  <c:v>305087</c:v>
                </c:pt>
                <c:pt idx="12">
                  <c:v>257605</c:v>
                </c:pt>
                <c:pt idx="13">
                  <c:v>237003</c:v>
                </c:pt>
                <c:pt idx="14">
                  <c:v>204951</c:v>
                </c:pt>
              </c:numCache>
            </c:numRef>
          </c:val>
        </c:ser>
        <c:ser>
          <c:idx val="1"/>
          <c:order val="1"/>
          <c:spPr>
            <a:solidFill>
              <a:schemeClr val="bg1"/>
            </a:solidFill>
            <a:ln>
              <a:solidFill>
                <a:schemeClr val="bg1"/>
              </a:solidFill>
            </a:ln>
            <a:effectLst/>
          </c:spPr>
          <c:cat>
            <c:numRef>
              <c:f>Sheet1!$E$10:$E$24</c:f>
              <c:numCache>
                <c:formatCode>General</c:formatCode>
                <c:ptCount val="1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</c:numCache>
            </c:numRef>
          </c:cat>
          <c:val>
            <c:numRef>
              <c:f>Sheet1!$B$10:$B$24</c:f>
              <c:numCache>
                <c:formatCode>General</c:formatCode>
                <c:ptCount val="15"/>
                <c:pt idx="0">
                  <c:v>399606</c:v>
                </c:pt>
                <c:pt idx="1">
                  <c:v>404848</c:v>
                </c:pt>
                <c:pt idx="2">
                  <c:v>403720</c:v>
                </c:pt>
                <c:pt idx="3">
                  <c:v>399016</c:v>
                </c:pt>
                <c:pt idx="4">
                  <c:v>392057</c:v>
                </c:pt>
                <c:pt idx="5">
                  <c:v>383764</c:v>
                </c:pt>
                <c:pt idx="6">
                  <c:v>371920</c:v>
                </c:pt>
                <c:pt idx="7">
                  <c:v>360776</c:v>
                </c:pt>
                <c:pt idx="8">
                  <c:v>347092</c:v>
                </c:pt>
                <c:pt idx="9">
                  <c:v>300684</c:v>
                </c:pt>
                <c:pt idx="10">
                  <c:v>266541</c:v>
                </c:pt>
                <c:pt idx="11">
                  <c:v>239294</c:v>
                </c:pt>
                <c:pt idx="12">
                  <c:v>198396</c:v>
                </c:pt>
                <c:pt idx="13">
                  <c:v>175078</c:v>
                </c:pt>
                <c:pt idx="14">
                  <c:v>15037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50562088"/>
        <c:axId val="250561304"/>
      </c:areaChart>
      <c:lineChart>
        <c:grouping val="standard"/>
        <c:varyColors val="0"/>
        <c:ser>
          <c:idx val="2"/>
          <c:order val="2"/>
          <c:spPr>
            <a:ln>
              <a:solidFill>
                <a:srgbClr val="4BACC6">
                  <a:lumMod val="75000"/>
                  <a:alpha val="84000"/>
                </a:srgbClr>
              </a:solidFill>
            </a:ln>
          </c:spPr>
          <c:marker>
            <c:symbol val="none"/>
          </c:marker>
          <c:val>
            <c:numRef>
              <c:f>Sheet1!$D$10:$D$24</c:f>
              <c:numCache>
                <c:formatCode>General</c:formatCode>
                <c:ptCount val="15"/>
                <c:pt idx="0">
                  <c:v>441233</c:v>
                </c:pt>
                <c:pt idx="1">
                  <c:v>445268</c:v>
                </c:pt>
                <c:pt idx="2">
                  <c:v>445656</c:v>
                </c:pt>
                <c:pt idx="3">
                  <c:v>441482</c:v>
                </c:pt>
                <c:pt idx="4">
                  <c:v>433670</c:v>
                </c:pt>
                <c:pt idx="5">
                  <c:v>421683</c:v>
                </c:pt>
                <c:pt idx="6">
                  <c:v>411187</c:v>
                </c:pt>
                <c:pt idx="7">
                  <c:v>397912</c:v>
                </c:pt>
                <c:pt idx="8">
                  <c:v>382564</c:v>
                </c:pt>
                <c:pt idx="9">
                  <c:v>333681</c:v>
                </c:pt>
                <c:pt idx="10">
                  <c:v>297664</c:v>
                </c:pt>
                <c:pt idx="11">
                  <c:v>270559</c:v>
                </c:pt>
                <c:pt idx="12">
                  <c:v>223173</c:v>
                </c:pt>
                <c:pt idx="13">
                  <c:v>202175</c:v>
                </c:pt>
                <c:pt idx="14">
                  <c:v>1737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0562088"/>
        <c:axId val="250561304"/>
      </c:lineChart>
      <c:catAx>
        <c:axId val="250562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>
                <a:latin typeface="+mn-lt"/>
              </a:defRPr>
            </a:pPr>
            <a:endParaRPr lang="en-US"/>
          </a:p>
        </c:txPr>
        <c:crossAx val="250561304"/>
        <c:crosses val="autoZero"/>
        <c:auto val="1"/>
        <c:lblAlgn val="ctr"/>
        <c:lblOffset val="100"/>
        <c:tickLblSkip val="14"/>
        <c:tickMarkSkip val="5"/>
        <c:noMultiLvlLbl val="0"/>
      </c:catAx>
      <c:valAx>
        <c:axId val="25056130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100">
                <a:latin typeface="+mn-lt"/>
              </a:defRPr>
            </a:pPr>
            <a:endParaRPr lang="en-US"/>
          </a:p>
        </c:txPr>
        <c:crossAx val="25056208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algn="l">
              <a:defRPr sz="1400"/>
            </a:pPr>
            <a:r>
              <a:rPr lang="en-US" sz="1400" dirty="0" smtClean="0">
                <a:latin typeface="Arial Narrow"/>
                <a:cs typeface="Arial Narrow"/>
              </a:rPr>
              <a:t>Aggregate </a:t>
            </a:r>
            <a:r>
              <a:rPr lang="en-US" sz="1400" dirty="0">
                <a:latin typeface="Arial Narrow"/>
                <a:cs typeface="Arial Narrow"/>
              </a:rPr>
              <a:t>antiretroviral</a:t>
            </a:r>
            <a:r>
              <a:rPr lang="en-US" sz="1400" baseline="0" dirty="0">
                <a:latin typeface="Arial Narrow"/>
                <a:cs typeface="Arial Narrow"/>
              </a:rPr>
              <a:t> coverage for children (0-14) and pregnant women across 21 Global Plan priority Countries, </a:t>
            </a:r>
            <a:r>
              <a:rPr lang="en-US" sz="1400" baseline="0" dirty="0" smtClean="0">
                <a:latin typeface="Arial Narrow"/>
                <a:cs typeface="Arial Narrow"/>
              </a:rPr>
              <a:t>2014</a:t>
            </a:r>
            <a:endParaRPr lang="en-US" sz="1400" dirty="0">
              <a:latin typeface="Arial Narrow"/>
              <a:cs typeface="Arial Narrow"/>
            </a:endParaRPr>
          </a:p>
        </c:rich>
      </c:tx>
      <c:layout>
        <c:manualLayout>
          <c:xMode val="edge"/>
          <c:yMode val="edge"/>
          <c:x val="0.14890391681011783"/>
          <c:y val="1.465196957466601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8586762496335616E-2"/>
          <c:y val="0.1997951800788591"/>
          <c:w val="0.64842125984251997"/>
          <c:h val="0.70935683039620001"/>
        </c:manualLayout>
      </c:layout>
      <c:lineChart>
        <c:grouping val="standard"/>
        <c:varyColors val="0"/>
        <c:ser>
          <c:idx val="0"/>
          <c:order val="0"/>
          <c:tx>
            <c:v>Pregnant Women ART Coverage</c:v>
          </c:tx>
          <c:spPr>
            <a:ln>
              <a:solidFill>
                <a:srgbClr val="0080FF"/>
              </a:solidFill>
            </a:ln>
          </c:spPr>
          <c:marker>
            <c:spPr>
              <a:solidFill>
                <a:srgbClr val="0080FF"/>
              </a:solidFill>
              <a:ln>
                <a:solidFill>
                  <a:srgbClr val="0080FF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Arial Narrow"/>
                    <a:cs typeface="Arial Narrow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ART COVERAGE'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'ART COVERAGE'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21</c:v>
                </c:pt>
                <c:pt idx="3">
                  <c:v>26</c:v>
                </c:pt>
                <c:pt idx="4">
                  <c:v>46</c:v>
                </c:pt>
                <c:pt idx="5">
                  <c:v>66</c:v>
                </c:pt>
              </c:numCache>
            </c:numRef>
          </c:val>
          <c:smooth val="0"/>
        </c:ser>
        <c:ser>
          <c:idx val="1"/>
          <c:order val="1"/>
          <c:tx>
            <c:v>Child ART Coverage</c:v>
          </c:tx>
          <c:spPr>
            <a:ln>
              <a:solidFill>
                <a:srgbClr val="FFCC66"/>
              </a:solidFill>
            </a:ln>
          </c:spPr>
          <c:marker>
            <c:spPr>
              <a:solidFill>
                <a:srgbClr val="FFCC66"/>
              </a:solidFill>
              <a:ln>
                <a:solidFill>
                  <a:srgbClr val="FFCC66"/>
                </a:solidFill>
              </a:ln>
            </c:spPr>
          </c:marker>
          <c:dLbls>
            <c:dLbl>
              <c:idx val="0"/>
              <c:layout>
                <c:manualLayout>
                  <c:x val="-2.9882045994250699E-2"/>
                  <c:y val="5.37631586374284E-2"/>
                </c:manualLayout>
              </c:layout>
              <c:spPr/>
              <c:txPr>
                <a:bodyPr/>
                <a:lstStyle/>
                <a:p>
                  <a:pPr>
                    <a:defRPr sz="1000">
                      <a:latin typeface="Arial Narrow"/>
                      <a:cs typeface="Arial Narrow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Arial Narrow"/>
                    <a:cs typeface="Arial Narrow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ART COVERAGE'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'ART COVERAGE'!$C$2:$C$7</c:f>
              <c:numCache>
                <c:formatCode>0</c:formatCode>
                <c:ptCount val="6"/>
                <c:pt idx="0">
                  <c:v>10.1189</c:v>
                </c:pt>
                <c:pt idx="1">
                  <c:v>13.342700000000001</c:v>
                </c:pt>
                <c:pt idx="2">
                  <c:v>18.526900000000001</c:v>
                </c:pt>
                <c:pt idx="3">
                  <c:v>22.9587</c:v>
                </c:pt>
                <c:pt idx="4">
                  <c:v>27.019200000000001</c:v>
                </c:pt>
                <c:pt idx="5">
                  <c:v>30.9449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2700" cap="rnd" cmpd="sng">
              <a:prstDash val="sysDash"/>
            </a:ln>
          </c:spPr>
        </c:hiLowLines>
        <c:marker val="1"/>
        <c:smooth val="0"/>
        <c:axId val="250562480"/>
        <c:axId val="290216888"/>
      </c:lineChart>
      <c:catAx>
        <c:axId val="250562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 Narrow"/>
                <a:cs typeface="Arial Narrow"/>
              </a:defRPr>
            </a:pPr>
            <a:endParaRPr lang="en-US"/>
          </a:p>
        </c:txPr>
        <c:crossAx val="290216888"/>
        <c:crosses val="autoZero"/>
        <c:auto val="1"/>
        <c:lblAlgn val="ctr"/>
        <c:lblOffset val="100"/>
        <c:noMultiLvlLbl val="0"/>
      </c:catAx>
      <c:valAx>
        <c:axId val="290216888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 Narrow"/>
                <a:cs typeface="Arial Narrow"/>
              </a:defRPr>
            </a:pPr>
            <a:endParaRPr lang="en-US"/>
          </a:p>
        </c:txPr>
        <c:crossAx val="2505624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1823619298378427"/>
          <c:y val="0.44195724163020661"/>
          <c:w val="0.252574990626172"/>
          <c:h val="0.24432195975503099"/>
        </c:manualLayout>
      </c:layout>
      <c:overlay val="0"/>
      <c:txPr>
        <a:bodyPr/>
        <a:lstStyle/>
        <a:p>
          <a:pPr>
            <a:defRPr sz="900" b="1">
              <a:latin typeface="Arial Narrow"/>
              <a:cs typeface="Arial Narrow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  <a:effectLst>
      <a:outerShdw blurRad="50800" dist="38100" dir="2700000" sx="102000" sy="102000" algn="tl" rotWithShape="0">
        <a:sysClr val="windowText" lastClr="000000">
          <a:alpha val="50000"/>
        </a:sysClr>
      </a:outerShdw>
    </a:effectLst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600" dirty="0"/>
              <a:t>PMTCT coverage and MTCT </a:t>
            </a:r>
            <a:r>
              <a:rPr lang="en-US" sz="1600" dirty="0" smtClean="0"/>
              <a:t>rate</a:t>
            </a:r>
            <a:r>
              <a:rPr lang="en-US" sz="1600" baseline="0" dirty="0" smtClean="0"/>
              <a:t> in Global Plan </a:t>
            </a:r>
            <a:r>
              <a:rPr lang="en-US" sz="1600" dirty="0" smtClean="0"/>
              <a:t>Countries </a:t>
            </a:r>
            <a:r>
              <a:rPr lang="en-US" sz="1600" dirty="0"/>
              <a:t>2014</a:t>
            </a:r>
          </a:p>
        </c:rich>
      </c:tx>
      <c:layout>
        <c:manualLayout>
          <c:xMode val="edge"/>
          <c:yMode val="edge"/>
          <c:x val="0.13034957627118643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2014 transmission rate %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Sheet1!$A$3:$A$23</c:f>
              <c:strCache>
                <c:ptCount val="21"/>
                <c:pt idx="0">
                  <c:v>South Africa</c:v>
                </c:pt>
                <c:pt idx="1">
                  <c:v>Namibia</c:v>
                </c:pt>
                <c:pt idx="2">
                  <c:v>Swaziland</c:v>
                </c:pt>
                <c:pt idx="3">
                  <c:v>Uganda</c:v>
                </c:pt>
                <c:pt idx="4">
                  <c:v>Mozambique</c:v>
                </c:pt>
                <c:pt idx="5">
                  <c:v>Botswana</c:v>
                </c:pt>
                <c:pt idx="6">
                  <c:v>UR Tanzania</c:v>
                </c:pt>
                <c:pt idx="7">
                  <c:v>Zambia</c:v>
                </c:pt>
                <c:pt idx="8">
                  <c:v>Ghana</c:v>
                </c:pt>
                <c:pt idx="9">
                  <c:v>Côte d'Ivoire</c:v>
                </c:pt>
                <c:pt idx="10">
                  <c:v>Burundi</c:v>
                </c:pt>
                <c:pt idx="11">
                  <c:v>Zimbabwe</c:v>
                </c:pt>
                <c:pt idx="12">
                  <c:v>Ethiopia</c:v>
                </c:pt>
                <c:pt idx="13">
                  <c:v>Lesotho</c:v>
                </c:pt>
                <c:pt idx="14">
                  <c:v>Kenya</c:v>
                </c:pt>
                <c:pt idx="15">
                  <c:v>Cameroon</c:v>
                </c:pt>
                <c:pt idx="16">
                  <c:v>Malawi</c:v>
                </c:pt>
                <c:pt idx="17">
                  <c:v>DR Congo</c:v>
                </c:pt>
                <c:pt idx="18">
                  <c:v>Angola</c:v>
                </c:pt>
                <c:pt idx="19">
                  <c:v>Nigeria</c:v>
                </c:pt>
                <c:pt idx="20">
                  <c:v>Chad</c:v>
                </c:pt>
              </c:strCache>
            </c:strRef>
          </c:cat>
          <c:val>
            <c:numRef>
              <c:f>Sheet1!$E$3:$E$23</c:f>
              <c:numCache>
                <c:formatCode>General</c:formatCode>
                <c:ptCount val="21"/>
                <c:pt idx="0">
                  <c:v>3.7667851500789893</c:v>
                </c:pt>
                <c:pt idx="1">
                  <c:v>6.9833852544132924</c:v>
                </c:pt>
                <c:pt idx="2">
                  <c:v>8.3027859237536656</c:v>
                </c:pt>
                <c:pt idx="3">
                  <c:v>7.7271355267129485</c:v>
                </c:pt>
                <c:pt idx="4">
                  <c:v>8.6696633972143893</c:v>
                </c:pt>
                <c:pt idx="5">
                  <c:v>3.7164750957854404</c:v>
                </c:pt>
                <c:pt idx="6">
                  <c:v>8.6339422973794289</c:v>
                </c:pt>
                <c:pt idx="7">
                  <c:v>13.251866514955498</c:v>
                </c:pt>
                <c:pt idx="8">
                  <c:v>18.472521024838649</c:v>
                </c:pt>
                <c:pt idx="9">
                  <c:v>20.97770615095353</c:v>
                </c:pt>
                <c:pt idx="10">
                  <c:v>21.888315765866786</c:v>
                </c:pt>
                <c:pt idx="11">
                  <c:v>12.113213081096935</c:v>
                </c:pt>
                <c:pt idx="12">
                  <c:v>17.496114785500019</c:v>
                </c:pt>
                <c:pt idx="13">
                  <c:v>13.892354304045625</c:v>
                </c:pt>
                <c:pt idx="14">
                  <c:v>16.73933978920336</c:v>
                </c:pt>
                <c:pt idx="15">
                  <c:v>22.182994998528979</c:v>
                </c:pt>
                <c:pt idx="16">
                  <c:v>16.535928242809387</c:v>
                </c:pt>
                <c:pt idx="17">
                  <c:v>30.638654182842355</c:v>
                </c:pt>
                <c:pt idx="18">
                  <c:v>25.200708998018978</c:v>
                </c:pt>
                <c:pt idx="19">
                  <c:v>27.932556936809238</c:v>
                </c:pt>
                <c:pt idx="20">
                  <c:v>34.015760825412301</c:v>
                </c:pt>
              </c:numCache>
            </c:numRef>
          </c:val>
        </c:ser>
        <c:ser>
          <c:idx val="1"/>
          <c:order val="1"/>
          <c:tx>
            <c:strRef>
              <c:f>Sheet1!$Q$1</c:f>
              <c:strCache>
                <c:ptCount val="1"/>
                <c:pt idx="0">
                  <c:v>2014 PMTCT coverage (%)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Sheet1!$A$3:$A$23</c:f>
              <c:strCache>
                <c:ptCount val="21"/>
                <c:pt idx="0">
                  <c:v>South Africa</c:v>
                </c:pt>
                <c:pt idx="1">
                  <c:v>Namibia</c:v>
                </c:pt>
                <c:pt idx="2">
                  <c:v>Swaziland</c:v>
                </c:pt>
                <c:pt idx="3">
                  <c:v>Uganda</c:v>
                </c:pt>
                <c:pt idx="4">
                  <c:v>Mozambique</c:v>
                </c:pt>
                <c:pt idx="5">
                  <c:v>Botswana</c:v>
                </c:pt>
                <c:pt idx="6">
                  <c:v>UR Tanzania</c:v>
                </c:pt>
                <c:pt idx="7">
                  <c:v>Zambia</c:v>
                </c:pt>
                <c:pt idx="8">
                  <c:v>Ghana</c:v>
                </c:pt>
                <c:pt idx="9">
                  <c:v>Côte d'Ivoire</c:v>
                </c:pt>
                <c:pt idx="10">
                  <c:v>Burundi</c:v>
                </c:pt>
                <c:pt idx="11">
                  <c:v>Zimbabwe</c:v>
                </c:pt>
                <c:pt idx="12">
                  <c:v>Ethiopia</c:v>
                </c:pt>
                <c:pt idx="13">
                  <c:v>Lesotho</c:v>
                </c:pt>
                <c:pt idx="14">
                  <c:v>Kenya</c:v>
                </c:pt>
                <c:pt idx="15">
                  <c:v>Cameroon</c:v>
                </c:pt>
                <c:pt idx="16">
                  <c:v>Malawi</c:v>
                </c:pt>
                <c:pt idx="17">
                  <c:v>DR Congo</c:v>
                </c:pt>
                <c:pt idx="18">
                  <c:v>Angola</c:v>
                </c:pt>
                <c:pt idx="19">
                  <c:v>Nigeria</c:v>
                </c:pt>
                <c:pt idx="20">
                  <c:v>Chad</c:v>
                </c:pt>
              </c:strCache>
            </c:strRef>
          </c:cat>
          <c:val>
            <c:numRef>
              <c:f>Sheet1!$Q$3:$Q$23</c:f>
              <c:numCache>
                <c:formatCode>0</c:formatCode>
                <c:ptCount val="21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92.109700000000004</c:v>
                </c:pt>
                <c:pt idx="4">
                  <c:v>91.329400000000007</c:v>
                </c:pt>
                <c:pt idx="5">
                  <c:v>90.766300000000001</c:v>
                </c:pt>
                <c:pt idx="6">
                  <c:v>89.776300000000006</c:v>
                </c:pt>
                <c:pt idx="7">
                  <c:v>85.797300000000007</c:v>
                </c:pt>
                <c:pt idx="8">
                  <c:v>81.155900000000003</c:v>
                </c:pt>
                <c:pt idx="9">
                  <c:v>79.519199999999998</c:v>
                </c:pt>
                <c:pt idx="10">
                  <c:v>78.470500000000001</c:v>
                </c:pt>
                <c:pt idx="11">
                  <c:v>78.213300000000004</c:v>
                </c:pt>
                <c:pt idx="12">
                  <c:v>72.821600000000004</c:v>
                </c:pt>
                <c:pt idx="13">
                  <c:v>71.867800000000003</c:v>
                </c:pt>
                <c:pt idx="14">
                  <c:v>67.223500000000001</c:v>
                </c:pt>
                <c:pt idx="15">
                  <c:v>65.598699999999994</c:v>
                </c:pt>
                <c:pt idx="16">
                  <c:v>63.724200000000003</c:v>
                </c:pt>
                <c:pt idx="17">
                  <c:v>46.791499999999999</c:v>
                </c:pt>
                <c:pt idx="18">
                  <c:v>45.401899999999998</c:v>
                </c:pt>
                <c:pt idx="19">
                  <c:v>29.1891</c:v>
                </c:pt>
                <c:pt idx="20">
                  <c:v>24.7216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0217672"/>
        <c:axId val="290218064"/>
      </c:barChart>
      <c:catAx>
        <c:axId val="2902176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5400000" vert="horz"/>
          <a:lstStyle/>
          <a:p>
            <a:pPr>
              <a:defRPr/>
            </a:pPr>
            <a:endParaRPr lang="en-US"/>
          </a:p>
        </c:txPr>
        <c:crossAx val="290218064"/>
        <c:crosses val="autoZero"/>
        <c:auto val="1"/>
        <c:lblAlgn val="ctr"/>
        <c:lblOffset val="100"/>
        <c:noMultiLvlLbl val="0"/>
      </c:catAx>
      <c:valAx>
        <c:axId val="290218064"/>
        <c:scaling>
          <c:orientation val="minMax"/>
          <c:max val="10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29021767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2696183104230616"/>
          <c:y val="4.8328625235404897E-2"/>
          <c:w val="0.78138693336002496"/>
          <c:h val="5.9638996396636862E-2"/>
        </c:manualLayout>
      </c:layout>
      <c:overlay val="0"/>
      <c:txPr>
        <a:bodyPr/>
        <a:lstStyle/>
        <a:p>
          <a:pPr>
            <a:defRPr sz="15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9"/>
    </mc:Choice>
    <mc:Fallback>
      <c:style val="29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ase rates.xlsx]Sheet1'!$F$1</c:f>
              <c:strCache>
                <c:ptCount val="1"/>
                <c:pt idx="0">
                  <c:v>Case rate(new HIV infections  per 100,000 live births)</c:v>
                </c:pt>
              </c:strCache>
            </c:strRef>
          </c:tx>
          <c:invertIfNegative val="0"/>
          <c:cat>
            <c:strRef>
              <c:f>'[Case rates.xlsx]Sheet1'!$A$2:$A$22</c:f>
              <c:strCache>
                <c:ptCount val="21"/>
                <c:pt idx="0">
                  <c:v>Ethiopia</c:v>
                </c:pt>
                <c:pt idx="1">
                  <c:v>Burundi</c:v>
                </c:pt>
                <c:pt idx="2">
                  <c:v>Ghana</c:v>
                </c:pt>
                <c:pt idx="3">
                  <c:v>DRC</c:v>
                </c:pt>
                <c:pt idx="4">
                  <c:v>Tanzania</c:v>
                </c:pt>
                <c:pt idx="5">
                  <c:v>Angola</c:v>
                </c:pt>
                <c:pt idx="6">
                  <c:v>Uganda</c:v>
                </c:pt>
                <c:pt idx="7">
                  <c:v>Côte d'Ivoire</c:v>
                </c:pt>
                <c:pt idx="8">
                  <c:v>Chad</c:v>
                </c:pt>
                <c:pt idx="9">
                  <c:v>Nigeria</c:v>
                </c:pt>
                <c:pt idx="10">
                  <c:v>Kenya</c:v>
                </c:pt>
                <c:pt idx="11">
                  <c:v>South Africa</c:v>
                </c:pt>
                <c:pt idx="12">
                  <c:v>Mozambique</c:v>
                </c:pt>
                <c:pt idx="13">
                  <c:v>Namibia</c:v>
                </c:pt>
                <c:pt idx="14">
                  <c:v>Cameroon</c:v>
                </c:pt>
                <c:pt idx="15">
                  <c:v>Botswana</c:v>
                </c:pt>
                <c:pt idx="16">
                  <c:v>Zambia</c:v>
                </c:pt>
                <c:pt idx="17">
                  <c:v>Malawi</c:v>
                </c:pt>
                <c:pt idx="18">
                  <c:v>Zimbabwe</c:v>
                </c:pt>
                <c:pt idx="19">
                  <c:v>Swaziland</c:v>
                </c:pt>
                <c:pt idx="20">
                  <c:v>Lesotho</c:v>
                </c:pt>
              </c:strCache>
            </c:strRef>
          </c:cat>
          <c:val>
            <c:numRef>
              <c:f>'[Case rates.xlsx]Sheet1'!$F$2:$F$22</c:f>
              <c:numCache>
                <c:formatCode>_-* #,##0_-;\-* #,##0_-;_-* "-"??_-;_-@_-</c:formatCode>
                <c:ptCount val="21"/>
                <c:pt idx="0">
                  <c:v>154.05702050985522</c:v>
                </c:pt>
                <c:pt idx="1">
                  <c:v>209.71838430893925</c:v>
                </c:pt>
                <c:pt idx="2">
                  <c:v>234.99642964662209</c:v>
                </c:pt>
                <c:pt idx="3">
                  <c:v>273.96393137220537</c:v>
                </c:pt>
                <c:pt idx="4">
                  <c:v>368.82673390563838</c:v>
                </c:pt>
                <c:pt idx="5">
                  <c:v>501.04790946725569</c:v>
                </c:pt>
                <c:pt idx="6">
                  <c:v>570.42028749856968</c:v>
                </c:pt>
                <c:pt idx="7">
                  <c:v>618.92843227250819</c:v>
                </c:pt>
                <c:pt idx="8">
                  <c:v>697.3509988924327</c:v>
                </c:pt>
                <c:pt idx="9">
                  <c:v>797.90821135108592</c:v>
                </c:pt>
                <c:pt idx="10">
                  <c:v>800.16930469986778</c:v>
                </c:pt>
                <c:pt idx="11">
                  <c:v>837.2516638045023</c:v>
                </c:pt>
                <c:pt idx="12">
                  <c:v>885.46295349623676</c:v>
                </c:pt>
                <c:pt idx="13">
                  <c:v>890.89072513206054</c:v>
                </c:pt>
                <c:pt idx="14">
                  <c:v>896.45898700134467</c:v>
                </c:pt>
                <c:pt idx="15">
                  <c:v>1019.3358554014293</c:v>
                </c:pt>
                <c:pt idx="16">
                  <c:v>1325.1370804589819</c:v>
                </c:pt>
                <c:pt idx="17">
                  <c:v>1503.2707271425218</c:v>
                </c:pt>
                <c:pt idx="18">
                  <c:v>2009.839053610455</c:v>
                </c:pt>
                <c:pt idx="19">
                  <c:v>2424.4694800503094</c:v>
                </c:pt>
                <c:pt idx="20">
                  <c:v>2726.8116068773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0215712"/>
        <c:axId val="290218456"/>
      </c:barChart>
      <c:catAx>
        <c:axId val="2902157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5400000" vert="horz"/>
          <a:lstStyle/>
          <a:p>
            <a:pPr>
              <a:defRPr sz="1200"/>
            </a:pPr>
            <a:endParaRPr lang="en-US"/>
          </a:p>
        </c:txPr>
        <c:crossAx val="290218456"/>
        <c:crosses val="autoZero"/>
        <c:auto val="1"/>
        <c:lblAlgn val="ctr"/>
        <c:lblOffset val="100"/>
        <c:noMultiLvlLbl val="0"/>
      </c:catAx>
      <c:valAx>
        <c:axId val="29021845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en-US" sz="1200"/>
                  <a:t>Case rate </a:t>
                </a:r>
              </a:p>
            </c:rich>
          </c:tx>
          <c:layout/>
          <c:overlay val="0"/>
        </c:title>
        <c:numFmt formatCode="_-* #,##0_-;\-* #,##0_-;_-* &quot;-&quot;??_-;_-@_-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90215712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2000"/>
            </a:pPr>
            <a:endParaRPr lang="en-US"/>
          </a:p>
        </c:txPr>
      </c:legendEntry>
      <c:layout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870055514803295E-2"/>
          <c:y val="5.26565235289903E-2"/>
          <c:w val="0.91658293469095398"/>
          <c:h val="0.8516877077530069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50000"/>
              </a:solidFill>
              <a:ln>
                <a:solidFill>
                  <a:schemeClr val="tx1"/>
                </a:solidFill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E44B0D"/>
              </a:solidFill>
              <a:ln>
                <a:solidFill>
                  <a:schemeClr val="tx1"/>
                </a:solidFill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rgbClr val="B3C42F"/>
              </a:solidFill>
              <a:ln>
                <a:solidFill>
                  <a:schemeClr val="tx1"/>
                </a:solidFill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007E00"/>
              </a:solidFill>
              <a:ln>
                <a:solidFill>
                  <a:schemeClr val="tx1"/>
                </a:solidFill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B3C42F"/>
              </a:solidFill>
              <a:ln>
                <a:solidFill>
                  <a:schemeClr val="tx1"/>
                </a:solidFill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rgbClr val="007E00"/>
              </a:solidFill>
              <a:ln>
                <a:solidFill>
                  <a:schemeClr val="tx1"/>
                </a:solidFill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rgbClr val="007E00"/>
              </a:solidFill>
              <a:ln>
                <a:solidFill>
                  <a:schemeClr val="tx1"/>
                </a:solidFill>
              </a:ln>
              <a:effectLst/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8.5692963685526195E-3"/>
                </c:manualLayout>
              </c:layout>
              <c:tx>
                <c:rich>
                  <a:bodyPr/>
                  <a:lstStyle/>
                  <a:p>
                    <a:r>
                      <a:rPr lang="en-US" sz="2000" b="1">
                        <a:solidFill>
                          <a:srgbClr val="E44B0D"/>
                        </a:solidFill>
                      </a:rPr>
                      <a:t>9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2000" b="1">
                        <a:solidFill>
                          <a:srgbClr val="B3C42F"/>
                        </a:solidFill>
                      </a:rPr>
                      <a:t>8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pPr>
                      <a:defRPr sz="1600" b="1"/>
                    </a:pPr>
                    <a:r>
                      <a:rPr lang="en-US" sz="1600" b="1">
                        <a:solidFill>
                          <a:srgbClr val="007E00"/>
                        </a:solidFill>
                      </a:rPr>
                      <a:t>73%</a:t>
                    </a:r>
                  </a:p>
                </c:rich>
              </c:tx>
              <c:spPr>
                <a:noFill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B3C42F"/>
                        </a:solidFill>
                      </a:rPr>
                      <a:t>8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7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007E00"/>
                        </a:solidFill>
                      </a:rPr>
                      <a:t>7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256:$B$259</c:f>
              <c:strCache>
                <c:ptCount val="4"/>
                <c:pt idx="0">
                  <c:v>HIV Positive People</c:v>
                </c:pt>
                <c:pt idx="1">
                  <c:v>Diagnosed</c:v>
                </c:pt>
                <c:pt idx="2">
                  <c:v>On ART </c:v>
                </c:pt>
                <c:pt idx="3">
                  <c:v>Viral Suppression</c:v>
                </c:pt>
              </c:strCache>
            </c:strRef>
          </c:cat>
          <c:val>
            <c:numRef>
              <c:f>Sheet1!$D$256:$D$259</c:f>
              <c:numCache>
                <c:formatCode>0%</c:formatCode>
                <c:ptCount val="4"/>
                <c:pt idx="0">
                  <c:v>1</c:v>
                </c:pt>
                <c:pt idx="1">
                  <c:v>0.9</c:v>
                </c:pt>
                <c:pt idx="2">
                  <c:v>0.81</c:v>
                </c:pt>
                <c:pt idx="3">
                  <c:v>0.7289999999999999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-25"/>
        <c:axId val="290216104"/>
        <c:axId val="290216496"/>
      </c:barChart>
      <c:catAx>
        <c:axId val="2902161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44450">
            <a:solidFill>
              <a:schemeClr val="tx1"/>
            </a:solidFill>
          </a:ln>
        </c:spPr>
        <c:txPr>
          <a:bodyPr/>
          <a:lstStyle/>
          <a:p>
            <a:pPr>
              <a:defRPr sz="1100" b="1"/>
            </a:pPr>
            <a:endParaRPr lang="en-US"/>
          </a:p>
        </c:txPr>
        <c:crossAx val="290216496"/>
        <c:crosses val="autoZero"/>
        <c:auto val="1"/>
        <c:lblAlgn val="ctr"/>
        <c:lblOffset val="100"/>
        <c:noMultiLvlLbl val="0"/>
      </c:catAx>
      <c:valAx>
        <c:axId val="290216496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spPr>
          <a:ln w="44450">
            <a:solidFill>
              <a:schemeClr val="tx1"/>
            </a:solidFill>
          </a:ln>
        </c:spPr>
        <c:txPr>
          <a:bodyPr/>
          <a:lstStyle/>
          <a:p>
            <a:pPr>
              <a:defRPr sz="1000"/>
            </a:pPr>
            <a:endParaRPr lang="en-US"/>
          </a:p>
        </c:txPr>
        <c:crossAx val="290216104"/>
        <c:crosses val="autoZero"/>
        <c:crossBetween val="between"/>
        <c:majorUnit val="0.2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700"/>
      </a:pPr>
      <a:endParaRPr lang="en-US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3"/>
                <c:pt idx="0">
                  <c:v>Diagnosed</c:v>
                </c:pt>
                <c:pt idx="1">
                  <c:v>On ART</c:v>
                </c:pt>
                <c:pt idx="2">
                  <c:v>Viral 
suppresssio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0</c:v>
                </c:pt>
                <c:pt idx="1">
                  <c:v>90</c:v>
                </c:pt>
                <c:pt idx="2">
                  <c:v>9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0215320"/>
        <c:axId val="290219240"/>
      </c:barChart>
      <c:catAx>
        <c:axId val="2902153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90219240"/>
        <c:crosses val="autoZero"/>
        <c:auto val="0"/>
        <c:lblAlgn val="ctr"/>
        <c:lblOffset val="100"/>
        <c:noMultiLvlLbl val="0"/>
      </c:catAx>
      <c:valAx>
        <c:axId val="290219240"/>
        <c:scaling>
          <c:orientation val="minMax"/>
          <c:max val="100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90215320"/>
        <c:crosses val="autoZero"/>
        <c:crossBetween val="between"/>
        <c:maj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3"/>
                <c:pt idx="0">
                  <c:v>ANC</c:v>
                </c:pt>
                <c:pt idx="1">
                  <c:v>HIV test</c:v>
                </c:pt>
                <c:pt idx="2">
                  <c:v>ARV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5</c:v>
                </c:pt>
                <c:pt idx="1">
                  <c:v>95</c:v>
                </c:pt>
                <c:pt idx="2">
                  <c:v>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0345832"/>
        <c:axId val="330346224"/>
      </c:barChart>
      <c:catAx>
        <c:axId val="3303458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30346224"/>
        <c:crosses val="autoZero"/>
        <c:auto val="0"/>
        <c:lblAlgn val="ctr"/>
        <c:lblOffset val="100"/>
        <c:noMultiLvlLbl val="0"/>
      </c:catAx>
      <c:valAx>
        <c:axId val="330346224"/>
        <c:scaling>
          <c:orientation val="minMax"/>
          <c:max val="100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30345832"/>
        <c:crosses val="autoZero"/>
        <c:crossBetween val="between"/>
        <c:maj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517</cdr:x>
      <cdr:y>0.19403</cdr:y>
    </cdr:from>
    <cdr:to>
      <cdr:x>0.68267</cdr:x>
      <cdr:y>0.3880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96144" y="936104"/>
          <a:ext cx="4406149" cy="936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2400" b="1" dirty="0"/>
            <a:t>Target</a:t>
          </a:r>
          <a:r>
            <a:rPr lang="en-US" sz="2400" b="1" baseline="0" dirty="0"/>
            <a:t> case rate </a:t>
          </a:r>
          <a:r>
            <a:rPr lang="en-US" sz="2400" b="1" baseline="0" dirty="0" smtClean="0"/>
            <a:t>for elimination is </a:t>
          </a:r>
          <a:r>
            <a:rPr lang="en-US" sz="2400" b="1" baseline="0" dirty="0"/>
            <a:t>50/100.000 live </a:t>
          </a:r>
          <a:r>
            <a:rPr lang="en-US" sz="2400" b="1" baseline="0" dirty="0" smtClean="0"/>
            <a:t>births</a:t>
          </a:r>
          <a:endParaRPr lang="en-US" sz="24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3929</cdr:x>
      <cdr:y>0.06383</cdr:y>
    </cdr:from>
    <cdr:to>
      <cdr:x>0.32165</cdr:x>
      <cdr:y>0.200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81457" y="216024"/>
          <a:ext cx="630301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200" b="1" dirty="0" smtClean="0">
              <a:solidFill>
                <a:schemeClr val="bg1"/>
              </a:solidFill>
            </a:rPr>
            <a:t>36.9</a:t>
          </a:r>
        </a:p>
        <a:p xmlns:a="http://schemas.openxmlformats.org/drawingml/2006/main">
          <a:pPr algn="ctr"/>
          <a:r>
            <a:rPr lang="en-GB" sz="1200" b="1" dirty="0" smtClean="0">
              <a:solidFill>
                <a:schemeClr val="bg1"/>
              </a:solidFill>
            </a:rPr>
            <a:t>million</a:t>
          </a:r>
          <a:endParaRPr lang="en-GB" sz="7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3515</cdr:x>
      <cdr:y>0.16438</cdr:y>
    </cdr:from>
    <cdr:to>
      <cdr:x>0.53386</cdr:x>
      <cdr:y>0.300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214912" y="556302"/>
          <a:ext cx="630301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200" b="1" dirty="0" smtClean="0">
              <a:solidFill>
                <a:schemeClr val="bg1"/>
              </a:solidFill>
            </a:rPr>
            <a:t>33.2</a:t>
          </a:r>
        </a:p>
        <a:p xmlns:a="http://schemas.openxmlformats.org/drawingml/2006/main">
          <a:pPr algn="ctr"/>
          <a:r>
            <a:rPr lang="en-GB" sz="1200" b="1" dirty="0" smtClean="0">
              <a:solidFill>
                <a:schemeClr val="bg1"/>
              </a:solidFill>
            </a:rPr>
            <a:t>million</a:t>
          </a:r>
          <a:endParaRPr lang="en-GB" sz="7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58333</cdr:x>
      <cdr:y>0.23195</cdr:y>
    </cdr:from>
    <cdr:to>
      <cdr:x>0.76569</cdr:x>
      <cdr:y>0.36837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016224" y="784970"/>
          <a:ext cx="630301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200" b="1" dirty="0" smtClean="0">
              <a:solidFill>
                <a:schemeClr val="bg1"/>
              </a:solidFill>
            </a:rPr>
            <a:t>29.5</a:t>
          </a:r>
        </a:p>
        <a:p xmlns:a="http://schemas.openxmlformats.org/drawingml/2006/main">
          <a:pPr algn="ctr"/>
          <a:r>
            <a:rPr lang="en-GB" sz="1200" b="1" dirty="0" smtClean="0">
              <a:solidFill>
                <a:schemeClr val="bg1"/>
              </a:solidFill>
            </a:rPr>
            <a:t>million</a:t>
          </a:r>
          <a:endParaRPr lang="en-GB" sz="7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80122</cdr:x>
      <cdr:y>0.30063</cdr:y>
    </cdr:from>
    <cdr:to>
      <cdr:x>0.98358</cdr:x>
      <cdr:y>0.43705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2769318" y="1017395"/>
          <a:ext cx="630301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200" b="1" dirty="0" smtClean="0">
              <a:solidFill>
                <a:schemeClr val="bg1"/>
              </a:solidFill>
            </a:rPr>
            <a:t>26.9</a:t>
          </a:r>
        </a:p>
        <a:p xmlns:a="http://schemas.openxmlformats.org/drawingml/2006/main">
          <a:pPr algn="ctr"/>
          <a:r>
            <a:rPr lang="en-GB" sz="1200" b="1" dirty="0" smtClean="0">
              <a:solidFill>
                <a:schemeClr val="bg1"/>
              </a:solidFill>
            </a:rPr>
            <a:t>million</a:t>
          </a:r>
          <a:endParaRPr lang="en-GB" sz="700" b="1" dirty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3584BB-E536-4B0D-8D01-8E3F0BA6DE11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9C99F1-94C8-4CE8-988F-1EEF4A048BF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0365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39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77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16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55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192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32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71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08" algn="l" defTabSz="9140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44C9A3EC-9B84-4E7B-AE2F-E368C55056C8}" type="slidenum">
              <a:rPr lang="de-DE" sz="1200" smtClean="0"/>
              <a:pPr eaLnBrk="1" hangingPunct="1">
                <a:defRPr/>
              </a:pPr>
              <a:t>4</a:t>
            </a:fld>
            <a:endParaRPr lang="de-DE" sz="1200" smtClean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462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en-US" dirty="0" smtClean="0">
                <a:latin typeface="Arial" charset="0"/>
                <a:cs typeface="Arial" charset="0"/>
              </a:rPr>
              <a:t>And there is a desire</a:t>
            </a:r>
            <a:r>
              <a:rPr lang="en-GB" altLang="en-US" baseline="0" dirty="0" smtClean="0">
                <a:latin typeface="Arial" charset="0"/>
                <a:cs typeface="Arial" charset="0"/>
              </a:rPr>
              <a:t> to recognise this progress</a:t>
            </a:r>
            <a:endParaRPr lang="en-GB" altLang="en-US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435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en-US" smtClean="0">
                <a:latin typeface="Arial" charset="0"/>
                <a:cs typeface="Arial" charset="0"/>
              </a:rPr>
              <a:t>Didn't have point estimate for Malawi, Ethiopia, India for EMTCT Global Plan baseline</a:t>
            </a:r>
          </a:p>
        </p:txBody>
      </p:sp>
    </p:spTree>
    <p:extLst>
      <p:ext uri="{BB962C8B-B14F-4D97-AF65-F5344CB8AC3E}">
        <p14:creationId xmlns:p14="http://schemas.microsoft.com/office/powerpoint/2010/main" val="7162600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>
                <a:latin typeface="Arial" charset="0"/>
                <a:cs typeface="Arial" charset="0"/>
              </a:rPr>
              <a:t>31.4%</a:t>
            </a:r>
            <a:endParaRPr lang="en-GB" smtClean="0">
              <a:latin typeface="Arial" charset="0"/>
              <a:cs typeface="Arial" charset="0"/>
            </a:endParaRPr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925" eaLnBrk="0" hangingPunct="0"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923925" eaLnBrk="0" hangingPunct="0"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923925" eaLnBrk="0" hangingPunct="0"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923925" eaLnBrk="0" hangingPunct="0"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923925" eaLnBrk="0" hangingPunct="0"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923925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38C430EA-BC0A-4989-932E-568B09280E7D}" type="slidenum">
              <a:rPr lang="en-US" sz="1200" b="0">
                <a:solidFill>
                  <a:srgbClr val="000000"/>
                </a:solidFill>
              </a:rPr>
              <a:pPr eaLnBrk="1" hangingPunct="1"/>
              <a:t>15</a:t>
            </a:fld>
            <a:endParaRPr lang="en-US" sz="12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410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20000"/>
              </a:spcBef>
            </a:pP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2 estimates (preliminary)</a:t>
            </a:r>
          </a:p>
          <a:p>
            <a:pPr lvl="1" eaLnBrk="1" hangingPunct="1">
              <a:spcBef>
                <a:spcPct val="20000"/>
              </a:spcBef>
              <a:buFontTx/>
              <a:buChar char="–"/>
            </a:pP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950,000 </a:t>
            </a:r>
            <a:r>
              <a:rPr lang="en-GB" sz="2000" i="1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pregnant women with syphilis</a:t>
            </a:r>
            <a:endParaRPr lang="en-US" sz="2000" i="1" smtClean="0">
              <a:solidFill>
                <a:srgbClr val="990099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spcBef>
                <a:spcPct val="20000"/>
              </a:spcBef>
              <a:buFontTx/>
              <a:buChar char="–"/>
            </a:pP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50,00 </a:t>
            </a:r>
            <a:r>
              <a:rPr lang="en-GB" sz="2000" i="1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early fetal deaths or stillbirths</a:t>
            </a:r>
          </a:p>
          <a:p>
            <a:pPr lvl="1" eaLnBrk="1" hangingPunct="1">
              <a:spcBef>
                <a:spcPct val="20000"/>
              </a:spcBef>
              <a:buFontTx/>
              <a:buChar char="–"/>
            </a:pP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0,000</a:t>
            </a:r>
            <a:r>
              <a:rPr lang="en-US" sz="2000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2000" i="1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neonatal deaths</a:t>
            </a:r>
          </a:p>
          <a:p>
            <a:pPr lvl="1" eaLnBrk="1" hangingPunct="1">
              <a:spcBef>
                <a:spcPct val="20000"/>
              </a:spcBef>
              <a:buFontTx/>
              <a:buChar char="–"/>
            </a:pP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0,000</a:t>
            </a:r>
            <a:r>
              <a:rPr lang="en-US" sz="2000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2000" i="1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preterm </a:t>
            </a: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 </a:t>
            </a:r>
          </a:p>
          <a:p>
            <a:pPr lvl="2" eaLnBrk="1" hangingPunct="1">
              <a:spcBef>
                <a:spcPct val="20000"/>
              </a:spcBef>
            </a:pPr>
            <a:r>
              <a:rPr lang="en-GB" sz="2000" i="1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low birth-weight</a:t>
            </a:r>
            <a:r>
              <a:rPr lang="en-GB" sz="2000" i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fants</a:t>
            </a:r>
          </a:p>
          <a:p>
            <a:pPr lvl="1" eaLnBrk="1" hangingPunct="1">
              <a:spcBef>
                <a:spcPct val="20000"/>
              </a:spcBef>
              <a:buFontTx/>
              <a:buChar char="–"/>
            </a:pP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10,000</a:t>
            </a:r>
            <a:r>
              <a:rPr lang="en-US" sz="2000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2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fants with</a:t>
            </a:r>
            <a:r>
              <a:rPr lang="en-GB" sz="2000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2000" i="1" smtClean="0">
                <a:solidFill>
                  <a:srgbClr val="990099"/>
                </a:solidFill>
                <a:latin typeface="Arial" pitchFamily="34" charset="0"/>
                <a:cs typeface="Arial" pitchFamily="34" charset="0"/>
              </a:rPr>
              <a:t>congenital disease</a:t>
            </a:r>
            <a:endParaRPr lang="en-US" sz="2000" smtClean="0">
              <a:solidFill>
                <a:srgbClr val="990099"/>
              </a:solidFill>
              <a:latin typeface="Arial" pitchFamily="34" charset="0"/>
              <a:cs typeface="Arial" pitchFamily="34" charset="0"/>
            </a:endParaRPr>
          </a:p>
          <a:p>
            <a:endParaRPr lang="en-GB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9BA5F915-F631-4F17-9FE9-A5EFCEF7C8EC}" type="slidenum">
              <a:rPr lang="en-US" sz="1200" b="0">
                <a:solidFill>
                  <a:schemeClr val="tx1"/>
                </a:solidFill>
              </a:rPr>
              <a:pPr eaLnBrk="1" hangingPunct="1"/>
              <a:t>16</a:t>
            </a:fld>
            <a:endParaRPr lang="en-US" sz="12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398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44C9A3EC-9B84-4E7B-AE2F-E368C55056C8}" type="slidenum">
              <a:rPr lang="de-DE" sz="1200" smtClean="0"/>
              <a:pPr eaLnBrk="1" hangingPunct="1">
                <a:defRPr/>
              </a:pPr>
              <a:t>20</a:t>
            </a:fld>
            <a:endParaRPr lang="de-DE" sz="1200" smtClean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7727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smtClean="0">
                <a:latin typeface="Arial" pitchFamily="34" charset="0"/>
                <a:cs typeface="Arial" pitchFamily="34" charset="0"/>
              </a:rPr>
              <a:t>ADD HIV website link</a:t>
            </a:r>
          </a:p>
        </p:txBody>
      </p:sp>
      <p:sp>
        <p:nvSpPr>
          <p:cNvPr id="788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20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90713C92-5229-42D2-B815-420984D2F5B3}" type="slidenum">
              <a:rPr lang="en-US" sz="1200" b="0">
                <a:solidFill>
                  <a:schemeClr val="tx1"/>
                </a:solidFill>
              </a:rPr>
              <a:pPr eaLnBrk="1" hangingPunct="1"/>
              <a:t>23</a:t>
            </a:fld>
            <a:endParaRPr lang="en-US" sz="12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38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10" y="6165304"/>
            <a:ext cx="557363" cy="571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2084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1766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4653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4" name="Date Placeholder 3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>
              <a:defRPr sz="1800" b="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>
              <a:defRPr sz="1800" b="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fld id="{2EB692A9-2D25-45AE-9402-C23FC359891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636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  <a:prstGeom prst="rect">
            <a:avLst/>
          </a:prstGeom>
        </p:spPr>
        <p:txBody>
          <a:bodyPr lIns="89857" tIns="44928" rIns="89857" bIns="44928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4"/>
            <a:ext cx="6400800" cy="1752600"/>
          </a:xfrm>
          <a:prstGeom prst="rect">
            <a:avLst/>
          </a:prstGeom>
        </p:spPr>
        <p:txBody>
          <a:bodyPr lIns="89857" tIns="44928" rIns="89857" bIns="44928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7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6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5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4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3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2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1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1" y="6356455"/>
            <a:ext cx="2133600" cy="365125"/>
          </a:xfrm>
          <a:prstGeom prst="rect">
            <a:avLst/>
          </a:prstGeom>
        </p:spPr>
        <p:txBody>
          <a:bodyPr lIns="89857" tIns="44928" rIns="89857" bIns="44928"/>
          <a:lstStyle/>
          <a:p>
            <a:pPr defTabSz="897928"/>
            <a:fld id="{37BCDEAA-24E6-44AE-B902-B0386A5847C5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897928"/>
              <a:t>11/05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3" y="6356455"/>
            <a:ext cx="2895600" cy="365125"/>
          </a:xfrm>
          <a:prstGeom prst="rect">
            <a:avLst/>
          </a:prstGeom>
        </p:spPr>
        <p:txBody>
          <a:bodyPr lIns="89857" tIns="44928" rIns="89857" bIns="44928"/>
          <a:lstStyle/>
          <a:p>
            <a:pPr defTabSz="897928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455"/>
            <a:ext cx="2133600" cy="365125"/>
          </a:xfrm>
          <a:prstGeom prst="rect">
            <a:avLst/>
          </a:prstGeom>
        </p:spPr>
        <p:txBody>
          <a:bodyPr lIns="89857" tIns="44928" rIns="89857" bIns="44928"/>
          <a:lstStyle/>
          <a:p>
            <a:pPr defTabSz="897928"/>
            <a:fld id="{B93E4690-CBF2-41C2-A23B-B90BC028A45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897928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1124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 userDrawn="1"/>
        </p:nvSpPr>
        <p:spPr bwMode="auto">
          <a:xfrm>
            <a:off x="365191" y="6651682"/>
            <a:ext cx="180831" cy="336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509" tIns="44752" rIns="89509" bIns="44752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447548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1600" smtClean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701" y="6105646"/>
            <a:ext cx="676275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8952" y="909520"/>
            <a:ext cx="7645400" cy="360362"/>
          </a:xfrm>
          <a:prstGeom prst="rect">
            <a:avLst/>
          </a:prstGeom>
        </p:spPr>
        <p:txBody>
          <a:bodyPr vert="horz" lIns="89509" tIns="44752" rIns="89509" bIns="44752"/>
          <a:lstStyle>
            <a:lvl1pPr marL="0" indent="0">
              <a:buNone/>
              <a:defRPr sz="2800" b="1" i="0">
                <a:solidFill>
                  <a:srgbClr val="006998"/>
                </a:solidFill>
                <a:latin typeface="Arial Narrow"/>
                <a:cs typeface="Arial Narrow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8950" y="1381556"/>
            <a:ext cx="8229600" cy="4976813"/>
          </a:xfrm>
          <a:prstGeom prst="rect">
            <a:avLst/>
          </a:prstGeom>
        </p:spPr>
        <p:txBody>
          <a:bodyPr vert="horz" lIns="89509" tIns="44752" rIns="89509" bIns="44752"/>
          <a:lstStyle>
            <a:lvl1pPr marL="279717" indent="-279717">
              <a:buFont typeface="Arial"/>
              <a:buChar char="•"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1098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lIns="89509" tIns="44752" rIns="89509" bIns="44752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89509" tIns="44752" rIns="89509" bIns="4475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1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B123EF52-332B-4E87-B64A-2FBEC70E66C9}" type="datetimeFigureOut">
              <a:rPr lang="en-US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5/11/2018</a:t>
            </a:fld>
            <a:endParaRPr lang="en-US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3" y="6356471"/>
            <a:ext cx="2895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E6FCF99C-B015-4417-8AA8-CDE3DCE80BCB}" type="slidenum">
              <a:rPr lang="en-US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327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lIns="89509" tIns="44752" rIns="89509" bIns="44752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89509" tIns="44752" rIns="89509" bIns="4475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89509" tIns="44752" rIns="89509" bIns="4475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1" y="6245225"/>
            <a:ext cx="2133600" cy="476250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spcBef>
                <a:spcPct val="50000"/>
              </a:spcBef>
              <a:defRPr b="1">
                <a:latin typeface="Arial" charset="0"/>
              </a:defRPr>
            </a:lvl1pPr>
          </a:lstStyle>
          <a:p>
            <a:pPr defTabSz="447548" fontAlgn="base">
              <a:spcAft>
                <a:spcPct val="0"/>
              </a:spcAft>
            </a:pPr>
            <a:endParaRPr lang="en-US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3" y="6245225"/>
            <a:ext cx="2895600" cy="476250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spcBef>
                <a:spcPct val="50000"/>
              </a:spcBef>
              <a:defRPr b="1">
                <a:latin typeface="Arial" charset="0"/>
              </a:defRPr>
            </a:lvl1pPr>
          </a:lstStyle>
          <a:p>
            <a:pPr defTabSz="447548" fontAlgn="base">
              <a:spcAft>
                <a:spcPct val="0"/>
              </a:spcAft>
            </a:pPr>
            <a:endParaRPr lang="en-US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spcBef>
                <a:spcPct val="50000"/>
              </a:spcBef>
              <a:defRPr b="1">
                <a:latin typeface="Arial" charset="0"/>
              </a:defRPr>
            </a:lvl1pPr>
          </a:lstStyle>
          <a:p>
            <a:pPr defTabSz="898086" fontAlgn="base">
              <a:spcAft>
                <a:spcPct val="0"/>
              </a:spcAft>
            </a:pPr>
            <a:fld id="{A844E4FF-D8F7-4F7D-A549-50521D1CF8F3}" type="slidenum">
              <a:rPr lang="en-US" sz="1600" smtClean="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defTabSz="898086" fontAlgn="base">
                <a:spcAft>
                  <a:spcPct val="0"/>
                </a:spcAft>
              </a:pPr>
              <a:t>‹#›</a:t>
            </a:fld>
            <a:endParaRPr lang="en-US" sz="16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684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-17458"/>
            <a:ext cx="8229600" cy="701492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defRPr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89509" tIns="44752" rIns="89509" bIns="44752" anchor="b"/>
          <a:lstStyle>
            <a:lvl1pPr marL="0" indent="0">
              <a:buNone/>
              <a:defRPr sz="2400" b="1"/>
            </a:lvl1pPr>
            <a:lvl2pPr marL="447548" indent="0">
              <a:buNone/>
              <a:defRPr sz="2000" b="1"/>
            </a:lvl2pPr>
            <a:lvl3pPr marL="895081" indent="0">
              <a:buNone/>
              <a:defRPr sz="1800" b="1"/>
            </a:lvl3pPr>
            <a:lvl4pPr marL="1342617" indent="0">
              <a:buNone/>
              <a:defRPr sz="1600" b="1"/>
            </a:lvl4pPr>
            <a:lvl5pPr marL="1790167" indent="0">
              <a:buNone/>
              <a:defRPr sz="1600" b="1"/>
            </a:lvl5pPr>
            <a:lvl6pPr marL="2237706" indent="0">
              <a:buNone/>
              <a:defRPr sz="1600" b="1"/>
            </a:lvl6pPr>
            <a:lvl7pPr marL="2685245" indent="0">
              <a:buNone/>
              <a:defRPr sz="1600" b="1"/>
            </a:lvl7pPr>
            <a:lvl8pPr marL="3132792" indent="0">
              <a:buNone/>
              <a:defRPr sz="1600" b="1"/>
            </a:lvl8pPr>
            <a:lvl9pPr marL="358033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146" y="1535113"/>
            <a:ext cx="4041775" cy="639762"/>
          </a:xfrm>
          <a:prstGeom prst="rect">
            <a:avLst/>
          </a:prstGeom>
        </p:spPr>
        <p:txBody>
          <a:bodyPr lIns="89509" tIns="44752" rIns="89509" bIns="44752" anchor="b"/>
          <a:lstStyle>
            <a:lvl1pPr marL="0" indent="0">
              <a:buNone/>
              <a:defRPr sz="2400" b="1"/>
            </a:lvl1pPr>
            <a:lvl2pPr marL="447548" indent="0">
              <a:buNone/>
              <a:defRPr sz="2000" b="1"/>
            </a:lvl2pPr>
            <a:lvl3pPr marL="895081" indent="0">
              <a:buNone/>
              <a:defRPr sz="1800" b="1"/>
            </a:lvl3pPr>
            <a:lvl4pPr marL="1342617" indent="0">
              <a:buNone/>
              <a:defRPr sz="1600" b="1"/>
            </a:lvl4pPr>
            <a:lvl5pPr marL="1790167" indent="0">
              <a:buNone/>
              <a:defRPr sz="1600" b="1"/>
            </a:lvl5pPr>
            <a:lvl6pPr marL="2237706" indent="0">
              <a:buNone/>
              <a:defRPr sz="1600" b="1"/>
            </a:lvl6pPr>
            <a:lvl7pPr marL="2685245" indent="0">
              <a:buNone/>
              <a:defRPr sz="1600" b="1"/>
            </a:lvl7pPr>
            <a:lvl8pPr marL="3132792" indent="0">
              <a:buNone/>
              <a:defRPr sz="1600" b="1"/>
            </a:lvl8pPr>
            <a:lvl9pPr marL="358033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146" y="2174875"/>
            <a:ext cx="4041775" cy="3951288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>
          <a:xfrm>
            <a:off x="457201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C69A3ADA-CD54-FE43-B54D-2E8FED127587}" type="datetimeFigureOut">
              <a:rPr lang="it-IT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11/05/2018</a:t>
            </a:fld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>
          <a:xfrm>
            <a:off x="548641" y="6356471"/>
            <a:ext cx="829818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6553200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87424ED5-49F9-1F4C-ADC0-B5F4CB2DD7BF}" type="slidenum">
              <a:rPr lang="it-IT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37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546"/>
            <a:ext cx="7772400" cy="1470025"/>
          </a:xfrm>
          <a:prstGeom prst="rect">
            <a:avLst/>
          </a:prstGeom>
        </p:spPr>
        <p:txBody>
          <a:bodyPr lIns="89509" tIns="44752" rIns="89509" bIns="44752"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4"/>
            <a:ext cx="6400800" cy="1752600"/>
          </a:xfrm>
          <a:prstGeom prst="rect">
            <a:avLst/>
          </a:prstGeom>
        </p:spPr>
        <p:txBody>
          <a:bodyPr lIns="89509" tIns="44752" rIns="89509" bIns="44752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75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2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0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7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5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2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0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1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C69A3ADA-CD54-FE43-B54D-2E8FED127587}" type="datetimeFigureOut">
              <a:rPr lang="it-IT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11/05/2018</a:t>
            </a:fld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421880" y="6210302"/>
            <a:ext cx="1584960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509" tIns="44752" rIns="89509" bIns="44752" rtlCol="0" anchor="ctr"/>
          <a:lstStyle/>
          <a:p>
            <a:pPr algn="ctr" defTabSz="447548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76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-17458"/>
            <a:ext cx="8229600" cy="701492"/>
          </a:xfrm>
          <a:prstGeom prst="rect">
            <a:avLst/>
          </a:prstGeom>
        </p:spPr>
        <p:txBody>
          <a:bodyPr lIns="89509" tIns="44752" rIns="89509" bIns="44752"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>
          <a:xfrm>
            <a:off x="457201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C69A3ADA-CD54-FE43-B54D-2E8FED127587}" type="datetimeFigureOut">
              <a:rPr lang="it-IT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11/05/2018</a:t>
            </a:fld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548641" y="6356471"/>
            <a:ext cx="8298180" cy="365125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endParaRPr lang="it-IT" sz="16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6553200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87424ED5-49F9-1F4C-ADC0-B5F4CB2DD7BF}" type="slidenum">
              <a:rPr lang="it-IT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64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4" y="6165306"/>
            <a:ext cx="560387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2257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-17458"/>
            <a:ext cx="8229600" cy="701492"/>
          </a:xfrm>
          <a:prstGeom prst="rect">
            <a:avLst/>
          </a:prstGeom>
        </p:spPr>
        <p:txBody>
          <a:bodyPr lIns="89509" tIns="44752" rIns="89509" bIns="44752"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89509" tIns="44752" rIns="89509" bIns="44752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1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C69A3ADA-CD54-FE43-B54D-2E8FED127587}" type="datetimeFigureOut">
              <a:rPr lang="it-IT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11/05/2018</a:t>
            </a:fld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548641" y="6356471"/>
            <a:ext cx="829818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6356471"/>
            <a:ext cx="2133600" cy="365125"/>
          </a:xfrm>
          <a:prstGeom prst="rect">
            <a:avLst/>
          </a:prstGeom>
        </p:spPr>
        <p:txBody>
          <a:bodyPr lIns="89509" tIns="44752" rIns="89509" bIns="44752"/>
          <a:lstStyle/>
          <a:p>
            <a:pPr defTabSz="447548" fontAlgn="base">
              <a:spcBef>
                <a:spcPct val="0"/>
              </a:spcBef>
              <a:spcAft>
                <a:spcPct val="0"/>
              </a:spcAft>
            </a:pPr>
            <a:fld id="{87424ED5-49F9-1F4C-ADC0-B5F4CB2DD7BF}" type="slidenum">
              <a:rPr lang="it-IT" sz="1600" smtClean="0">
                <a:solidFill>
                  <a:prstClr val="black"/>
                </a:solidFill>
                <a:cs typeface="Arial" pitchFamily="34" charset="0"/>
              </a:rPr>
              <a:pPr defTabSz="44754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it-IT" sz="160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309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62568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824" y="0"/>
            <a:ext cx="8307791" cy="1238270"/>
          </a:xfrm>
        </p:spPr>
        <p:txBody>
          <a:bodyPr/>
          <a:lstStyle>
            <a:lvl1pPr algn="l">
              <a:defRPr sz="25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539" y="1451563"/>
            <a:ext cx="8291501" cy="4541283"/>
          </a:xfrm>
        </p:spPr>
        <p:txBody>
          <a:bodyPr/>
          <a:lstStyle>
            <a:lvl1pPr marL="330655" indent="-330655">
              <a:buFont typeface="Wingdings" panose="05000000000000000000" pitchFamily="2" charset="2"/>
              <a:buChar char="§"/>
              <a:defRPr sz="2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80984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9120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7" y="4407574"/>
            <a:ext cx="7772943" cy="1362097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77" y="2907058"/>
            <a:ext cx="7772943" cy="1500322"/>
          </a:xfrm>
        </p:spPr>
        <p:txBody>
          <a:bodyPr anchor="b"/>
          <a:lstStyle>
            <a:lvl1pPr marL="0" indent="0">
              <a:buNone/>
              <a:defRPr sz="1800"/>
            </a:lvl1pPr>
            <a:lvl2pPr marL="387080" indent="0">
              <a:buNone/>
              <a:defRPr sz="1600"/>
            </a:lvl2pPr>
            <a:lvl3pPr marL="774214" indent="0">
              <a:buNone/>
              <a:defRPr sz="1400"/>
            </a:lvl3pPr>
            <a:lvl4pPr marL="1161330" indent="0">
              <a:buNone/>
              <a:defRPr sz="1200"/>
            </a:lvl4pPr>
            <a:lvl5pPr marL="1548446" indent="0">
              <a:buNone/>
              <a:defRPr sz="1200"/>
            </a:lvl5pPr>
            <a:lvl6pPr marL="1935570" indent="0">
              <a:buNone/>
              <a:defRPr sz="1200"/>
            </a:lvl6pPr>
            <a:lvl7pPr marL="2322676" indent="0">
              <a:buNone/>
              <a:defRPr sz="1200"/>
            </a:lvl7pPr>
            <a:lvl8pPr marL="2709785" indent="0">
              <a:buNone/>
              <a:defRPr sz="1200"/>
            </a:lvl8pPr>
            <a:lvl9pPr marL="3096902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25682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542" y="1380815"/>
            <a:ext cx="4080591" cy="461183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3450" y="1380815"/>
            <a:ext cx="4080591" cy="461183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04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68" y="275017"/>
            <a:ext cx="8229057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74" y="1534880"/>
            <a:ext cx="4039867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87080" indent="0">
              <a:buNone/>
              <a:defRPr sz="1800" b="1"/>
            </a:lvl2pPr>
            <a:lvl3pPr marL="774214" indent="0">
              <a:buNone/>
              <a:defRPr sz="1600" b="1"/>
            </a:lvl3pPr>
            <a:lvl4pPr marL="1161330" indent="0">
              <a:buNone/>
              <a:defRPr sz="1400" b="1"/>
            </a:lvl4pPr>
            <a:lvl5pPr marL="1548446" indent="0">
              <a:buNone/>
              <a:defRPr sz="1400" b="1"/>
            </a:lvl5pPr>
            <a:lvl6pPr marL="1935570" indent="0">
              <a:buNone/>
              <a:defRPr sz="1400" b="1"/>
            </a:lvl6pPr>
            <a:lvl7pPr marL="2322676" indent="0">
              <a:buNone/>
              <a:defRPr sz="1400" b="1"/>
            </a:lvl7pPr>
            <a:lvl8pPr marL="2709785" indent="0">
              <a:buNone/>
              <a:defRPr sz="1400" b="1"/>
            </a:lvl8pPr>
            <a:lvl9pPr marL="3096902" indent="0">
              <a:buNone/>
              <a:defRPr sz="14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74" y="2174174"/>
            <a:ext cx="4039867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7" y="1534880"/>
            <a:ext cx="4041225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87080" indent="0">
              <a:buNone/>
              <a:defRPr sz="1800" b="1"/>
            </a:lvl2pPr>
            <a:lvl3pPr marL="774214" indent="0">
              <a:buNone/>
              <a:defRPr sz="1600" b="1"/>
            </a:lvl3pPr>
            <a:lvl4pPr marL="1161330" indent="0">
              <a:buNone/>
              <a:defRPr sz="1400" b="1"/>
            </a:lvl4pPr>
            <a:lvl5pPr marL="1548446" indent="0">
              <a:buNone/>
              <a:defRPr sz="1400" b="1"/>
            </a:lvl5pPr>
            <a:lvl6pPr marL="1935570" indent="0">
              <a:buNone/>
              <a:defRPr sz="1400" b="1"/>
            </a:lvl6pPr>
            <a:lvl7pPr marL="2322676" indent="0">
              <a:buNone/>
              <a:defRPr sz="1400" b="1"/>
            </a:lvl7pPr>
            <a:lvl8pPr marL="2709785" indent="0">
              <a:buNone/>
              <a:defRPr sz="1400" b="1"/>
            </a:lvl8pPr>
            <a:lvl9pPr marL="3096902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7" y="2174174"/>
            <a:ext cx="4041225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278431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073" y="4800456"/>
            <a:ext cx="5486943" cy="56730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073" y="613376"/>
            <a:ext cx="5486943" cy="4113648"/>
          </a:xfrm>
        </p:spPr>
        <p:txBody>
          <a:bodyPr/>
          <a:lstStyle>
            <a:lvl1pPr marL="0" indent="0">
              <a:buNone/>
              <a:defRPr sz="2800"/>
            </a:lvl1pPr>
            <a:lvl2pPr marL="387080" indent="0">
              <a:buNone/>
              <a:defRPr sz="2500"/>
            </a:lvl2pPr>
            <a:lvl3pPr marL="774214" indent="0">
              <a:buNone/>
              <a:defRPr sz="2100"/>
            </a:lvl3pPr>
            <a:lvl4pPr marL="1161330" indent="0">
              <a:buNone/>
              <a:defRPr sz="1800"/>
            </a:lvl4pPr>
            <a:lvl5pPr marL="1548446" indent="0">
              <a:buNone/>
              <a:defRPr sz="1800"/>
            </a:lvl5pPr>
            <a:lvl6pPr marL="1935570" indent="0">
              <a:buNone/>
              <a:defRPr sz="1800"/>
            </a:lvl6pPr>
            <a:lvl7pPr marL="2322676" indent="0">
              <a:buNone/>
              <a:defRPr sz="1800"/>
            </a:lvl7pPr>
            <a:lvl8pPr marL="2709785" indent="0">
              <a:buNone/>
              <a:defRPr sz="1800"/>
            </a:lvl8pPr>
            <a:lvl9pPr marL="3096902" indent="0">
              <a:buNone/>
              <a:defRPr sz="18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073" y="5367757"/>
            <a:ext cx="5486943" cy="804876"/>
          </a:xfrm>
        </p:spPr>
        <p:txBody>
          <a:bodyPr/>
          <a:lstStyle>
            <a:lvl1pPr marL="0" indent="0">
              <a:buNone/>
              <a:defRPr sz="1200"/>
            </a:lvl1pPr>
            <a:lvl2pPr marL="387080" indent="0">
              <a:buNone/>
              <a:defRPr sz="1100"/>
            </a:lvl2pPr>
            <a:lvl3pPr marL="774214" indent="0">
              <a:buNone/>
              <a:defRPr sz="900"/>
            </a:lvl3pPr>
            <a:lvl4pPr marL="1161330" indent="0">
              <a:buNone/>
              <a:defRPr sz="800"/>
            </a:lvl4pPr>
            <a:lvl5pPr marL="1548446" indent="0">
              <a:buNone/>
              <a:defRPr sz="800"/>
            </a:lvl5pPr>
            <a:lvl6pPr marL="1935570" indent="0">
              <a:buNone/>
              <a:defRPr sz="800"/>
            </a:lvl6pPr>
            <a:lvl7pPr marL="2322676" indent="0">
              <a:buNone/>
              <a:defRPr sz="800"/>
            </a:lvl7pPr>
            <a:lvl8pPr marL="2709785" indent="0">
              <a:buNone/>
              <a:defRPr sz="800"/>
            </a:lvl8pPr>
            <a:lvl9pPr marL="3096902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64426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7511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1"/>
            <a:ext cx="2286000" cy="59926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6727682" cy="59926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3357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 userDrawn="1"/>
        </p:nvSpPr>
        <p:spPr bwMode="auto">
          <a:xfrm>
            <a:off x="365247" y="6650741"/>
            <a:ext cx="178434" cy="689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8322" tIns="44176" rIns="88322" bIns="44176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5pPr>
            <a:lvl6pPr marL="2514600" indent="-2286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2971800" indent="-2286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3429000" indent="-2286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3886200" indent="-2286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defTabSz="886283" rtl="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altLang="fr-FR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8952" y="909458"/>
            <a:ext cx="7645400" cy="3603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>
                <a:solidFill>
                  <a:srgbClr val="5B5196"/>
                </a:solidFill>
                <a:latin typeface="Arial Narrow"/>
                <a:cs typeface="Arial Narrow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88950" y="1381632"/>
            <a:ext cx="8229600" cy="4976813"/>
          </a:xfrm>
          <a:prstGeom prst="rect">
            <a:avLst/>
          </a:prstGeom>
        </p:spPr>
        <p:txBody>
          <a:bodyPr/>
          <a:lstStyle>
            <a:lvl1pPr marL="275978" indent="-275978">
              <a:buFont typeface="Arial"/>
              <a:buChar char="•"/>
              <a:defRPr sz="16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362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3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1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1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2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2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3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310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63380" y="2968877"/>
            <a:ext cx="4519709" cy="1501593"/>
          </a:xfrm>
          <a:prstGeom prst="rect">
            <a:avLst/>
          </a:prstGeom>
        </p:spPr>
        <p:txBody>
          <a:bodyPr lIns="87659" tIns="43878" rIns="87659" bIns="43878"/>
          <a:lstStyle>
            <a:lvl1pPr algn="l">
              <a:defRPr sz="4400" b="0" i="0" spc="0">
                <a:solidFill>
                  <a:srgbClr val="FFFFFF"/>
                </a:solidFill>
                <a:latin typeface="Arial Narrow"/>
                <a:cs typeface="Arial Narrow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3142" y="1648340"/>
            <a:ext cx="4133571" cy="634309"/>
          </a:xfrm>
          <a:prstGeom prst="rect">
            <a:avLst/>
          </a:prstGeom>
        </p:spPr>
        <p:txBody>
          <a:bodyPr lIns="87659" tIns="43878" rIns="87659" bIns="43878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663367" y="5861010"/>
            <a:ext cx="4365255" cy="643059"/>
          </a:xfrm>
          <a:prstGeom prst="rect">
            <a:avLst/>
          </a:prstGeom>
        </p:spPr>
        <p:txBody>
          <a:bodyPr lIns="87659" tIns="43878" rIns="87659" bIns="43878"/>
          <a:lstStyle>
            <a:lvl1pPr marL="0" indent="0">
              <a:buNone/>
              <a:defRPr sz="1500" b="0" i="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0936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5471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39" indent="0">
              <a:buNone/>
              <a:defRPr sz="2000" b="1"/>
            </a:lvl2pPr>
            <a:lvl3pPr marL="914077" indent="0">
              <a:buNone/>
              <a:defRPr sz="1800" b="1"/>
            </a:lvl3pPr>
            <a:lvl4pPr marL="1371116" indent="0">
              <a:buNone/>
              <a:defRPr sz="1600" b="1"/>
            </a:lvl4pPr>
            <a:lvl5pPr marL="1828155" indent="0">
              <a:buNone/>
              <a:defRPr sz="1600" b="1"/>
            </a:lvl5pPr>
            <a:lvl6pPr marL="2285192" indent="0">
              <a:buNone/>
              <a:defRPr sz="1600" b="1"/>
            </a:lvl6pPr>
            <a:lvl7pPr marL="2742232" indent="0">
              <a:buNone/>
              <a:defRPr sz="1600" b="1"/>
            </a:lvl7pPr>
            <a:lvl8pPr marL="3199271" indent="0">
              <a:buNone/>
              <a:defRPr sz="1600" b="1"/>
            </a:lvl8pPr>
            <a:lvl9pPr marL="365630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39" indent="0">
              <a:buNone/>
              <a:defRPr sz="2000" b="1"/>
            </a:lvl2pPr>
            <a:lvl3pPr marL="914077" indent="0">
              <a:buNone/>
              <a:defRPr sz="1800" b="1"/>
            </a:lvl3pPr>
            <a:lvl4pPr marL="1371116" indent="0">
              <a:buNone/>
              <a:defRPr sz="1600" b="1"/>
            </a:lvl4pPr>
            <a:lvl5pPr marL="1828155" indent="0">
              <a:buNone/>
              <a:defRPr sz="1600" b="1"/>
            </a:lvl5pPr>
            <a:lvl6pPr marL="2285192" indent="0">
              <a:buNone/>
              <a:defRPr sz="1600" b="1"/>
            </a:lvl6pPr>
            <a:lvl7pPr marL="2742232" indent="0">
              <a:buNone/>
              <a:defRPr sz="1600" b="1"/>
            </a:lvl7pPr>
            <a:lvl8pPr marL="3199271" indent="0">
              <a:buNone/>
              <a:defRPr sz="1600" b="1"/>
            </a:lvl8pPr>
            <a:lvl9pPr marL="365630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2360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5229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7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3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39" indent="0">
              <a:buNone/>
              <a:defRPr sz="1200"/>
            </a:lvl2pPr>
            <a:lvl3pPr marL="914077" indent="0">
              <a:buNone/>
              <a:defRPr sz="1000"/>
            </a:lvl3pPr>
            <a:lvl4pPr marL="1371116" indent="0">
              <a:buNone/>
              <a:defRPr sz="900"/>
            </a:lvl4pPr>
            <a:lvl5pPr marL="1828155" indent="0">
              <a:buNone/>
              <a:defRPr sz="900"/>
            </a:lvl5pPr>
            <a:lvl6pPr marL="2285192" indent="0">
              <a:buNone/>
              <a:defRPr sz="900"/>
            </a:lvl6pPr>
            <a:lvl7pPr marL="2742232" indent="0">
              <a:buNone/>
              <a:defRPr sz="900"/>
            </a:lvl7pPr>
            <a:lvl8pPr marL="3199271" indent="0">
              <a:buNone/>
              <a:defRPr sz="900"/>
            </a:lvl8pPr>
            <a:lvl9pPr marL="365630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693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39" indent="0">
              <a:buNone/>
              <a:defRPr sz="2800"/>
            </a:lvl2pPr>
            <a:lvl3pPr marL="914077" indent="0">
              <a:buNone/>
              <a:defRPr sz="2400"/>
            </a:lvl3pPr>
            <a:lvl4pPr marL="1371116" indent="0">
              <a:buNone/>
              <a:defRPr sz="2000"/>
            </a:lvl4pPr>
            <a:lvl5pPr marL="1828155" indent="0">
              <a:buNone/>
              <a:defRPr sz="2000"/>
            </a:lvl5pPr>
            <a:lvl6pPr marL="2285192" indent="0">
              <a:buNone/>
              <a:defRPr sz="2000"/>
            </a:lvl6pPr>
            <a:lvl7pPr marL="2742232" indent="0">
              <a:buNone/>
              <a:defRPr sz="2000"/>
            </a:lvl7pPr>
            <a:lvl8pPr marL="3199271" indent="0">
              <a:buNone/>
              <a:defRPr sz="2000"/>
            </a:lvl8pPr>
            <a:lvl9pPr marL="3656308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39" indent="0">
              <a:buNone/>
              <a:defRPr sz="1200"/>
            </a:lvl2pPr>
            <a:lvl3pPr marL="914077" indent="0">
              <a:buNone/>
              <a:defRPr sz="1000"/>
            </a:lvl3pPr>
            <a:lvl4pPr marL="1371116" indent="0">
              <a:buNone/>
              <a:defRPr sz="900"/>
            </a:lvl4pPr>
            <a:lvl5pPr marL="1828155" indent="0">
              <a:buNone/>
              <a:defRPr sz="900"/>
            </a:lvl5pPr>
            <a:lvl6pPr marL="2285192" indent="0">
              <a:buNone/>
              <a:defRPr sz="900"/>
            </a:lvl6pPr>
            <a:lvl7pPr marL="2742232" indent="0">
              <a:buNone/>
              <a:defRPr sz="900"/>
            </a:lvl7pPr>
            <a:lvl8pPr marL="3199271" indent="0">
              <a:buNone/>
              <a:defRPr sz="900"/>
            </a:lvl8pPr>
            <a:lvl9pPr marL="365630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7643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8.w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08" tIns="45704" rIns="91408" bIns="4570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08" tIns="45704" rIns="91408" bIns="4570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6356354"/>
            <a:ext cx="2133600" cy="365125"/>
          </a:xfrm>
          <a:prstGeom prst="rect">
            <a:avLst/>
          </a:prstGeom>
        </p:spPr>
        <p:txBody>
          <a:bodyPr vert="horz" lIns="91408" tIns="45704" rIns="91408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BCDEAA-24E6-44AE-B902-B0386A5847C5}" type="datetimeFigureOut">
              <a:rPr lang="en-GB" smtClean="0"/>
              <a:t>11/05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2" y="6356354"/>
            <a:ext cx="2895600" cy="365125"/>
          </a:xfrm>
          <a:prstGeom prst="rect">
            <a:avLst/>
          </a:prstGeom>
        </p:spPr>
        <p:txBody>
          <a:bodyPr vert="horz" lIns="91408" tIns="45704" rIns="91408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08" tIns="45704" rIns="91408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3E4690-CBF2-41C2-A23B-B90BC028A4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8191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28" r:id="rId12"/>
  </p:sldLayoutIdLst>
  <p:txStyles>
    <p:titleStyle>
      <a:lvl1pPr algn="ctr" defTabSz="9140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78" indent="-342778" algn="l" defTabSz="914077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88" indent="-285650" algn="l" defTabSz="9140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97" indent="-228519" algn="l" defTabSz="9140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35" indent="-228519" algn="l" defTabSz="9140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74" indent="-228519" algn="l" defTabSz="914077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13" indent="-228519" algn="l" defTabSz="9140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50" indent="-228519" algn="l" defTabSz="9140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90" indent="-228519" algn="l" defTabSz="9140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29" indent="-228519" algn="l" defTabSz="9140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9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7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16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55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92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32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71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08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" y="4763"/>
            <a:ext cx="9153525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agen 3" descr="logo_WHO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2538" y="6278563"/>
            <a:ext cx="1390650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052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44897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4897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4897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4897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4897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48970" algn="ctr" defTabSz="44897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97928" algn="ctr" defTabSz="44897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46890" algn="ctr" defTabSz="44897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795863" algn="ctr" defTabSz="44897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36718" indent="-336718" algn="l" defTabSz="44897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29576" indent="-280611" algn="l" defTabSz="44897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22415" indent="-224481" algn="l" defTabSz="44897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71386" indent="-224481" algn="l" defTabSz="44897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20339" indent="-224481" algn="l" defTabSz="44897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69306" indent="-224481" algn="l" defTabSz="44897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8272" indent="-224481" algn="l" defTabSz="44897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7233" indent="-224481" algn="l" defTabSz="44897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16201" indent="-224481" algn="l" defTabSz="44897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970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7928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890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5863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825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3790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2759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1720" algn="l" defTabSz="4489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" y="4763"/>
            <a:ext cx="9153525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agen 3" descr="logo_WHO.jp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2538" y="6278563"/>
            <a:ext cx="1390650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6686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9" r:id="rId3"/>
    <p:sldLayoutId id="2147483700" r:id="rId4"/>
    <p:sldLayoutId id="2147483701" r:id="rId5"/>
    <p:sldLayoutId id="2147483702" r:id="rId6"/>
    <p:sldLayoutId id="2147483703" r:id="rId7"/>
  </p:sldLayoutIdLst>
  <p:hf hdr="0" ftr="0"/>
  <p:txStyles>
    <p:titleStyle>
      <a:lvl1pPr algn="ctr" defTabSz="447548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4754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4754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4754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47548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47548" algn="ctr" defTabSz="44754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95081" algn="ctr" defTabSz="44754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42617" algn="ctr" defTabSz="44754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790167" algn="ctr" defTabSz="447548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35650" indent="-335650" algn="l" defTabSz="44754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27268" indent="-279717" algn="l" defTabSz="44754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18853" indent="-223769" algn="l" defTabSz="44754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66400" indent="-223769" algn="l" defTabSz="44754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3937" indent="-223769" algn="l" defTabSz="44754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61476" indent="-223769" algn="l" defTabSz="4475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09015" indent="-223769" algn="l" defTabSz="4475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555" indent="-223769" algn="l" defTabSz="4475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099" indent="-223769" algn="l" defTabSz="4475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48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081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617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167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706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245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792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330" algn="l" defTabSz="4475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47969" y="0"/>
            <a:ext cx="8258922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2539" y="1380815"/>
            <a:ext cx="8291501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dirty="0" smtClean="0"/>
              <a:t>Click to edit Master text styles</a:t>
            </a:r>
          </a:p>
          <a:p>
            <a:pPr lvl="1"/>
            <a:r>
              <a:rPr lang="en-US" altLang="fr-FR" dirty="0" smtClean="0"/>
              <a:t>Second level</a:t>
            </a:r>
          </a:p>
          <a:p>
            <a:pPr lvl="2"/>
            <a:r>
              <a:rPr lang="en-US" altLang="fr-FR" dirty="0" smtClean="0"/>
              <a:t>Third level</a:t>
            </a:r>
          </a:p>
          <a:p>
            <a:pPr lvl="3"/>
            <a:r>
              <a:rPr lang="en-US" altLang="fr-FR" dirty="0" smtClean="0"/>
              <a:t>Fourth level</a:t>
            </a:r>
          </a:p>
        </p:txBody>
      </p:sp>
      <p:sp>
        <p:nvSpPr>
          <p:cNvPr id="1029" name="Rectangle 12"/>
          <p:cNvSpPr>
            <a:spLocks noChangeArrowheads="1"/>
          </p:cNvSpPr>
          <p:nvPr/>
        </p:nvSpPr>
        <p:spPr bwMode="auto">
          <a:xfrm>
            <a:off x="1358" y="6015688"/>
            <a:ext cx="9144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408" tIns="38703" rIns="77408" bIns="38703" anchor="ctr"/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886283" rtl="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fr-FR" altLang="fr-FR" smtClean="0"/>
          </a:p>
        </p:txBody>
      </p:sp>
      <p:sp>
        <p:nvSpPr>
          <p:cNvPr id="1030" name="Rectangle 13"/>
          <p:cNvSpPr>
            <a:spLocks noChangeArrowheads="1"/>
          </p:cNvSpPr>
          <p:nvPr/>
        </p:nvSpPr>
        <p:spPr bwMode="auto">
          <a:xfrm>
            <a:off x="927338" y="6426045"/>
            <a:ext cx="4247561" cy="431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104140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4140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4140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4140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41400" eaLnBrk="0" hangingPunct="0"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414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414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414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41400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1200" b="0" dirty="0" smtClean="0">
                <a:solidFill>
                  <a:srgbClr val="96CCEE"/>
                </a:solidFill>
                <a:latin typeface="Calibri" pitchFamily="34" charset="0"/>
              </a:rPr>
              <a:t>WHO Satellite  Treatment, July 19 2015</a:t>
            </a:r>
            <a:endParaRPr lang="en-US" altLang="fr-FR" sz="1400" b="0" dirty="0" smtClean="0">
              <a:solidFill>
                <a:srgbClr val="96CCEE"/>
              </a:solidFill>
              <a:latin typeface="Calibri" pitchFamily="34" charset="0"/>
            </a:endParaRPr>
          </a:p>
        </p:txBody>
      </p:sp>
      <p:sp>
        <p:nvSpPr>
          <p:cNvPr id="1031" name="Rectangle 14"/>
          <p:cNvSpPr>
            <a:spLocks noChangeArrowheads="1"/>
          </p:cNvSpPr>
          <p:nvPr/>
        </p:nvSpPr>
        <p:spPr bwMode="auto">
          <a:xfrm>
            <a:off x="359736" y="6398688"/>
            <a:ext cx="355660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1042988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1pPr>
            <a:lvl2pPr marL="742950" indent="-285750" defTabSz="1042988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2pPr>
            <a:lvl3pPr marL="1143000" indent="-228600" defTabSz="1042988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3pPr>
            <a:lvl4pPr marL="1600200" indent="-228600" defTabSz="1042988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4pPr>
            <a:lvl5pPr marL="2057400" indent="-228600" defTabSz="1042988" eaLnBrk="0" hangingPunct="0"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5pPr>
            <a:lvl6pPr marL="2514600" indent="-228600" defTabSz="1042988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2971800" indent="-228600" defTabSz="1042988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3429000" indent="-228600" defTabSz="1042988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3886200" indent="-228600" defTabSz="1042988" rtl="1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5726348A-A6A4-4E11-AF68-31C56399EA8E}" type="slidenum">
              <a:rPr lang="ar-SA" altLang="fr-FR" sz="1500" smtClean="0">
                <a:solidFill>
                  <a:srgbClr val="72BBE8"/>
                </a:solidFill>
                <a:latin typeface="Arial Narrow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altLang="fr-FR" sz="1500" smtClean="0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altLang="fr-FR" sz="2100" baseline="14000" smtClean="0">
                <a:solidFill>
                  <a:prstClr val="white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1032" name="Picture 17" descr="WHO-EN-white-H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923" y="6214390"/>
            <a:ext cx="1590969" cy="516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2786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</p:sldLayoutIdLst>
  <p:timing>
    <p:tnLst>
      <p:par>
        <p:cTn id="1" dur="indefinite" restart="never" nodeType="tmRoot"/>
      </p:par>
    </p:tnLst>
  </p:timing>
  <p:txStyles>
    <p:titleStyle>
      <a:lvl1pPr algn="l" defTabSz="877978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1pPr>
      <a:lvl2pPr algn="l" defTabSz="877978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defTabSz="877978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defTabSz="877978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defTabSz="877978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387080" algn="ctr" defTabSz="883112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6pPr>
      <a:lvl7pPr marL="774214" algn="ctr" defTabSz="883112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7pPr>
      <a:lvl8pPr marL="1161330" algn="ctr" defTabSz="883112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8pPr>
      <a:lvl9pPr marL="1548446" algn="ctr" defTabSz="883112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23698" indent="-323698" algn="l" defTabSz="877978" rtl="0" eaLnBrk="0" fontAlgn="base" hangingPunct="0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§"/>
        <a:defRPr sz="2100">
          <a:solidFill>
            <a:srgbClr val="000066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1pPr>
      <a:lvl2pPr marL="772780" indent="-265686" algn="l" defTabSz="877978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Font typeface="Arial" pitchFamily="34" charset="0"/>
        <a:buChar char="–"/>
        <a:defRPr sz="1800">
          <a:solidFill>
            <a:srgbClr val="000066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2pPr>
      <a:lvl3pPr marL="1209743" indent="-253545" algn="l" defTabSz="877978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•"/>
        <a:defRPr>
          <a:solidFill>
            <a:srgbClr val="000066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3pPr>
      <a:lvl4pPr marL="1603554" indent="-211744" algn="l" defTabSz="877978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–"/>
        <a:defRPr>
          <a:solidFill>
            <a:srgbClr val="000066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4pPr>
      <a:lvl5pPr marL="1916435" indent="-132170" algn="r" defTabSz="877978" rtl="1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5pPr>
      <a:lvl6pPr marL="2307889" indent="-139793" algn="r" defTabSz="883112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695003" indent="-139793" algn="r" defTabSz="883112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082108" indent="-139793" algn="r" defTabSz="883112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469230" indent="-139793" algn="r" defTabSz="883112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87080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74214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0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6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35570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2676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09785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96902" algn="l" defTabSz="7742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em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117" Type="http://schemas.openxmlformats.org/officeDocument/2006/relationships/tags" Target="../tags/tag498.xml"/><Relationship Id="rId299" Type="http://schemas.openxmlformats.org/officeDocument/2006/relationships/tags" Target="../tags/tag680.xml"/><Relationship Id="rId303" Type="http://schemas.openxmlformats.org/officeDocument/2006/relationships/tags" Target="../tags/tag684.xml"/><Relationship Id="rId21" Type="http://schemas.openxmlformats.org/officeDocument/2006/relationships/tags" Target="../tags/tag402.xml"/><Relationship Id="rId42" Type="http://schemas.openxmlformats.org/officeDocument/2006/relationships/tags" Target="../tags/tag423.xml"/><Relationship Id="rId63" Type="http://schemas.openxmlformats.org/officeDocument/2006/relationships/tags" Target="../tags/tag444.xml"/><Relationship Id="rId84" Type="http://schemas.openxmlformats.org/officeDocument/2006/relationships/tags" Target="../tags/tag465.xml"/><Relationship Id="rId138" Type="http://schemas.openxmlformats.org/officeDocument/2006/relationships/tags" Target="../tags/tag519.xml"/><Relationship Id="rId159" Type="http://schemas.openxmlformats.org/officeDocument/2006/relationships/tags" Target="../tags/tag540.xml"/><Relationship Id="rId324" Type="http://schemas.openxmlformats.org/officeDocument/2006/relationships/tags" Target="../tags/tag705.xml"/><Relationship Id="rId345" Type="http://schemas.openxmlformats.org/officeDocument/2006/relationships/tags" Target="../tags/tag726.xml"/><Relationship Id="rId366" Type="http://schemas.openxmlformats.org/officeDocument/2006/relationships/tags" Target="../tags/tag747.xml"/><Relationship Id="rId170" Type="http://schemas.openxmlformats.org/officeDocument/2006/relationships/tags" Target="../tags/tag551.xml"/><Relationship Id="rId191" Type="http://schemas.openxmlformats.org/officeDocument/2006/relationships/tags" Target="../tags/tag572.xml"/><Relationship Id="rId205" Type="http://schemas.openxmlformats.org/officeDocument/2006/relationships/tags" Target="../tags/tag586.xml"/><Relationship Id="rId226" Type="http://schemas.openxmlformats.org/officeDocument/2006/relationships/tags" Target="../tags/tag607.xml"/><Relationship Id="rId247" Type="http://schemas.openxmlformats.org/officeDocument/2006/relationships/tags" Target="../tags/tag628.xml"/><Relationship Id="rId107" Type="http://schemas.openxmlformats.org/officeDocument/2006/relationships/tags" Target="../tags/tag488.xml"/><Relationship Id="rId268" Type="http://schemas.openxmlformats.org/officeDocument/2006/relationships/tags" Target="../tags/tag649.xml"/><Relationship Id="rId289" Type="http://schemas.openxmlformats.org/officeDocument/2006/relationships/tags" Target="../tags/tag670.xml"/><Relationship Id="rId11" Type="http://schemas.openxmlformats.org/officeDocument/2006/relationships/tags" Target="../tags/tag392.xml"/><Relationship Id="rId32" Type="http://schemas.openxmlformats.org/officeDocument/2006/relationships/tags" Target="../tags/tag413.xml"/><Relationship Id="rId53" Type="http://schemas.openxmlformats.org/officeDocument/2006/relationships/tags" Target="../tags/tag434.xml"/><Relationship Id="rId74" Type="http://schemas.openxmlformats.org/officeDocument/2006/relationships/tags" Target="../tags/tag455.xml"/><Relationship Id="rId128" Type="http://schemas.openxmlformats.org/officeDocument/2006/relationships/tags" Target="../tags/tag509.xml"/><Relationship Id="rId149" Type="http://schemas.openxmlformats.org/officeDocument/2006/relationships/tags" Target="../tags/tag530.xml"/><Relationship Id="rId314" Type="http://schemas.openxmlformats.org/officeDocument/2006/relationships/tags" Target="../tags/tag695.xml"/><Relationship Id="rId335" Type="http://schemas.openxmlformats.org/officeDocument/2006/relationships/tags" Target="../tags/tag716.xml"/><Relationship Id="rId356" Type="http://schemas.openxmlformats.org/officeDocument/2006/relationships/tags" Target="../tags/tag737.xml"/><Relationship Id="rId377" Type="http://schemas.openxmlformats.org/officeDocument/2006/relationships/tags" Target="../tags/tag758.xml"/><Relationship Id="rId5" Type="http://schemas.openxmlformats.org/officeDocument/2006/relationships/tags" Target="../tags/tag386.xml"/><Relationship Id="rId95" Type="http://schemas.openxmlformats.org/officeDocument/2006/relationships/tags" Target="../tags/tag476.xml"/><Relationship Id="rId160" Type="http://schemas.openxmlformats.org/officeDocument/2006/relationships/tags" Target="../tags/tag541.xml"/><Relationship Id="rId181" Type="http://schemas.openxmlformats.org/officeDocument/2006/relationships/tags" Target="../tags/tag562.xml"/><Relationship Id="rId216" Type="http://schemas.openxmlformats.org/officeDocument/2006/relationships/tags" Target="../tags/tag597.xml"/><Relationship Id="rId237" Type="http://schemas.openxmlformats.org/officeDocument/2006/relationships/tags" Target="../tags/tag618.xml"/><Relationship Id="rId258" Type="http://schemas.openxmlformats.org/officeDocument/2006/relationships/tags" Target="../tags/tag639.xml"/><Relationship Id="rId279" Type="http://schemas.openxmlformats.org/officeDocument/2006/relationships/tags" Target="../tags/tag660.xml"/><Relationship Id="rId22" Type="http://schemas.openxmlformats.org/officeDocument/2006/relationships/tags" Target="../tags/tag403.xml"/><Relationship Id="rId43" Type="http://schemas.openxmlformats.org/officeDocument/2006/relationships/tags" Target="../tags/tag424.xml"/><Relationship Id="rId64" Type="http://schemas.openxmlformats.org/officeDocument/2006/relationships/tags" Target="../tags/tag445.xml"/><Relationship Id="rId118" Type="http://schemas.openxmlformats.org/officeDocument/2006/relationships/tags" Target="../tags/tag499.xml"/><Relationship Id="rId139" Type="http://schemas.openxmlformats.org/officeDocument/2006/relationships/tags" Target="../tags/tag520.xml"/><Relationship Id="rId290" Type="http://schemas.openxmlformats.org/officeDocument/2006/relationships/tags" Target="../tags/tag671.xml"/><Relationship Id="rId304" Type="http://schemas.openxmlformats.org/officeDocument/2006/relationships/tags" Target="../tags/tag685.xml"/><Relationship Id="rId325" Type="http://schemas.openxmlformats.org/officeDocument/2006/relationships/tags" Target="../tags/tag706.xml"/><Relationship Id="rId346" Type="http://schemas.openxmlformats.org/officeDocument/2006/relationships/tags" Target="../tags/tag727.xml"/><Relationship Id="rId367" Type="http://schemas.openxmlformats.org/officeDocument/2006/relationships/tags" Target="../tags/tag748.xml"/><Relationship Id="rId85" Type="http://schemas.openxmlformats.org/officeDocument/2006/relationships/tags" Target="../tags/tag466.xml"/><Relationship Id="rId150" Type="http://schemas.openxmlformats.org/officeDocument/2006/relationships/tags" Target="../tags/tag531.xml"/><Relationship Id="rId171" Type="http://schemas.openxmlformats.org/officeDocument/2006/relationships/tags" Target="../tags/tag552.xml"/><Relationship Id="rId192" Type="http://schemas.openxmlformats.org/officeDocument/2006/relationships/tags" Target="../tags/tag573.xml"/><Relationship Id="rId206" Type="http://schemas.openxmlformats.org/officeDocument/2006/relationships/tags" Target="../tags/tag587.xml"/><Relationship Id="rId227" Type="http://schemas.openxmlformats.org/officeDocument/2006/relationships/tags" Target="../tags/tag608.xml"/><Relationship Id="rId248" Type="http://schemas.openxmlformats.org/officeDocument/2006/relationships/tags" Target="../tags/tag629.xml"/><Relationship Id="rId269" Type="http://schemas.openxmlformats.org/officeDocument/2006/relationships/tags" Target="../tags/tag650.xml"/><Relationship Id="rId12" Type="http://schemas.openxmlformats.org/officeDocument/2006/relationships/tags" Target="../tags/tag393.xml"/><Relationship Id="rId33" Type="http://schemas.openxmlformats.org/officeDocument/2006/relationships/tags" Target="../tags/tag414.xml"/><Relationship Id="rId108" Type="http://schemas.openxmlformats.org/officeDocument/2006/relationships/tags" Target="../tags/tag489.xml"/><Relationship Id="rId129" Type="http://schemas.openxmlformats.org/officeDocument/2006/relationships/tags" Target="../tags/tag510.xml"/><Relationship Id="rId280" Type="http://schemas.openxmlformats.org/officeDocument/2006/relationships/tags" Target="../tags/tag661.xml"/><Relationship Id="rId315" Type="http://schemas.openxmlformats.org/officeDocument/2006/relationships/tags" Target="../tags/tag696.xml"/><Relationship Id="rId336" Type="http://schemas.openxmlformats.org/officeDocument/2006/relationships/tags" Target="../tags/tag717.xml"/><Relationship Id="rId357" Type="http://schemas.openxmlformats.org/officeDocument/2006/relationships/tags" Target="../tags/tag738.xml"/><Relationship Id="rId54" Type="http://schemas.openxmlformats.org/officeDocument/2006/relationships/tags" Target="../tags/tag435.xml"/><Relationship Id="rId75" Type="http://schemas.openxmlformats.org/officeDocument/2006/relationships/tags" Target="../tags/tag456.xml"/><Relationship Id="rId96" Type="http://schemas.openxmlformats.org/officeDocument/2006/relationships/tags" Target="../tags/tag477.xml"/><Relationship Id="rId140" Type="http://schemas.openxmlformats.org/officeDocument/2006/relationships/tags" Target="../tags/tag521.xml"/><Relationship Id="rId161" Type="http://schemas.openxmlformats.org/officeDocument/2006/relationships/tags" Target="../tags/tag542.xml"/><Relationship Id="rId182" Type="http://schemas.openxmlformats.org/officeDocument/2006/relationships/tags" Target="../tags/tag563.xml"/><Relationship Id="rId217" Type="http://schemas.openxmlformats.org/officeDocument/2006/relationships/tags" Target="../tags/tag598.xml"/><Relationship Id="rId378" Type="http://schemas.openxmlformats.org/officeDocument/2006/relationships/tags" Target="../tags/tag759.xml"/><Relationship Id="rId6" Type="http://schemas.openxmlformats.org/officeDocument/2006/relationships/tags" Target="../tags/tag387.xml"/><Relationship Id="rId238" Type="http://schemas.openxmlformats.org/officeDocument/2006/relationships/tags" Target="../tags/tag619.xml"/><Relationship Id="rId259" Type="http://schemas.openxmlformats.org/officeDocument/2006/relationships/tags" Target="../tags/tag640.xml"/><Relationship Id="rId23" Type="http://schemas.openxmlformats.org/officeDocument/2006/relationships/tags" Target="../tags/tag404.xml"/><Relationship Id="rId119" Type="http://schemas.openxmlformats.org/officeDocument/2006/relationships/tags" Target="../tags/tag500.xml"/><Relationship Id="rId270" Type="http://schemas.openxmlformats.org/officeDocument/2006/relationships/tags" Target="../tags/tag651.xml"/><Relationship Id="rId291" Type="http://schemas.openxmlformats.org/officeDocument/2006/relationships/tags" Target="../tags/tag672.xml"/><Relationship Id="rId305" Type="http://schemas.openxmlformats.org/officeDocument/2006/relationships/tags" Target="../tags/tag686.xml"/><Relationship Id="rId326" Type="http://schemas.openxmlformats.org/officeDocument/2006/relationships/tags" Target="../tags/tag707.xml"/><Relationship Id="rId347" Type="http://schemas.openxmlformats.org/officeDocument/2006/relationships/tags" Target="../tags/tag728.xml"/><Relationship Id="rId44" Type="http://schemas.openxmlformats.org/officeDocument/2006/relationships/tags" Target="../tags/tag425.xml"/><Relationship Id="rId65" Type="http://schemas.openxmlformats.org/officeDocument/2006/relationships/tags" Target="../tags/tag446.xml"/><Relationship Id="rId86" Type="http://schemas.openxmlformats.org/officeDocument/2006/relationships/tags" Target="../tags/tag467.xml"/><Relationship Id="rId130" Type="http://schemas.openxmlformats.org/officeDocument/2006/relationships/tags" Target="../tags/tag511.xml"/><Relationship Id="rId151" Type="http://schemas.openxmlformats.org/officeDocument/2006/relationships/tags" Target="../tags/tag532.xml"/><Relationship Id="rId368" Type="http://schemas.openxmlformats.org/officeDocument/2006/relationships/tags" Target="../tags/tag749.xml"/><Relationship Id="rId172" Type="http://schemas.openxmlformats.org/officeDocument/2006/relationships/tags" Target="../tags/tag553.xml"/><Relationship Id="rId193" Type="http://schemas.openxmlformats.org/officeDocument/2006/relationships/tags" Target="../tags/tag574.xml"/><Relationship Id="rId207" Type="http://schemas.openxmlformats.org/officeDocument/2006/relationships/tags" Target="../tags/tag588.xml"/><Relationship Id="rId228" Type="http://schemas.openxmlformats.org/officeDocument/2006/relationships/tags" Target="../tags/tag609.xml"/><Relationship Id="rId249" Type="http://schemas.openxmlformats.org/officeDocument/2006/relationships/tags" Target="../tags/tag630.xml"/><Relationship Id="rId13" Type="http://schemas.openxmlformats.org/officeDocument/2006/relationships/tags" Target="../tags/tag394.xml"/><Relationship Id="rId109" Type="http://schemas.openxmlformats.org/officeDocument/2006/relationships/tags" Target="../tags/tag490.xml"/><Relationship Id="rId260" Type="http://schemas.openxmlformats.org/officeDocument/2006/relationships/tags" Target="../tags/tag641.xml"/><Relationship Id="rId281" Type="http://schemas.openxmlformats.org/officeDocument/2006/relationships/tags" Target="../tags/tag662.xml"/><Relationship Id="rId316" Type="http://schemas.openxmlformats.org/officeDocument/2006/relationships/tags" Target="../tags/tag697.xml"/><Relationship Id="rId337" Type="http://schemas.openxmlformats.org/officeDocument/2006/relationships/tags" Target="../tags/tag718.xml"/><Relationship Id="rId34" Type="http://schemas.openxmlformats.org/officeDocument/2006/relationships/tags" Target="../tags/tag415.xml"/><Relationship Id="rId55" Type="http://schemas.openxmlformats.org/officeDocument/2006/relationships/tags" Target="../tags/tag436.xml"/><Relationship Id="rId76" Type="http://schemas.openxmlformats.org/officeDocument/2006/relationships/tags" Target="../tags/tag457.xml"/><Relationship Id="rId97" Type="http://schemas.openxmlformats.org/officeDocument/2006/relationships/tags" Target="../tags/tag478.xml"/><Relationship Id="rId120" Type="http://schemas.openxmlformats.org/officeDocument/2006/relationships/tags" Target="../tags/tag501.xml"/><Relationship Id="rId141" Type="http://schemas.openxmlformats.org/officeDocument/2006/relationships/tags" Target="../tags/tag522.xml"/><Relationship Id="rId358" Type="http://schemas.openxmlformats.org/officeDocument/2006/relationships/tags" Target="../tags/tag739.xml"/><Relationship Id="rId379" Type="http://schemas.openxmlformats.org/officeDocument/2006/relationships/tags" Target="../tags/tag760.xml"/><Relationship Id="rId7" Type="http://schemas.openxmlformats.org/officeDocument/2006/relationships/tags" Target="../tags/tag388.xml"/><Relationship Id="rId162" Type="http://schemas.openxmlformats.org/officeDocument/2006/relationships/tags" Target="../tags/tag543.xml"/><Relationship Id="rId183" Type="http://schemas.openxmlformats.org/officeDocument/2006/relationships/tags" Target="../tags/tag564.xml"/><Relationship Id="rId218" Type="http://schemas.openxmlformats.org/officeDocument/2006/relationships/tags" Target="../tags/tag599.xml"/><Relationship Id="rId239" Type="http://schemas.openxmlformats.org/officeDocument/2006/relationships/tags" Target="../tags/tag620.xml"/><Relationship Id="rId250" Type="http://schemas.openxmlformats.org/officeDocument/2006/relationships/tags" Target="../tags/tag631.xml"/><Relationship Id="rId271" Type="http://schemas.openxmlformats.org/officeDocument/2006/relationships/tags" Target="../tags/tag652.xml"/><Relationship Id="rId292" Type="http://schemas.openxmlformats.org/officeDocument/2006/relationships/tags" Target="../tags/tag673.xml"/><Relationship Id="rId306" Type="http://schemas.openxmlformats.org/officeDocument/2006/relationships/tags" Target="../tags/tag687.xml"/><Relationship Id="rId24" Type="http://schemas.openxmlformats.org/officeDocument/2006/relationships/tags" Target="../tags/tag405.xml"/><Relationship Id="rId45" Type="http://schemas.openxmlformats.org/officeDocument/2006/relationships/tags" Target="../tags/tag426.xml"/><Relationship Id="rId66" Type="http://schemas.openxmlformats.org/officeDocument/2006/relationships/tags" Target="../tags/tag447.xml"/><Relationship Id="rId87" Type="http://schemas.openxmlformats.org/officeDocument/2006/relationships/tags" Target="../tags/tag468.xml"/><Relationship Id="rId110" Type="http://schemas.openxmlformats.org/officeDocument/2006/relationships/tags" Target="../tags/tag491.xml"/><Relationship Id="rId131" Type="http://schemas.openxmlformats.org/officeDocument/2006/relationships/tags" Target="../tags/tag512.xml"/><Relationship Id="rId327" Type="http://schemas.openxmlformats.org/officeDocument/2006/relationships/tags" Target="../tags/tag708.xml"/><Relationship Id="rId348" Type="http://schemas.openxmlformats.org/officeDocument/2006/relationships/tags" Target="../tags/tag729.xml"/><Relationship Id="rId369" Type="http://schemas.openxmlformats.org/officeDocument/2006/relationships/tags" Target="../tags/tag750.xml"/><Relationship Id="rId152" Type="http://schemas.openxmlformats.org/officeDocument/2006/relationships/tags" Target="../tags/tag533.xml"/><Relationship Id="rId173" Type="http://schemas.openxmlformats.org/officeDocument/2006/relationships/tags" Target="../tags/tag554.xml"/><Relationship Id="rId194" Type="http://schemas.openxmlformats.org/officeDocument/2006/relationships/tags" Target="../tags/tag575.xml"/><Relationship Id="rId208" Type="http://schemas.openxmlformats.org/officeDocument/2006/relationships/tags" Target="../tags/tag589.xml"/><Relationship Id="rId229" Type="http://schemas.openxmlformats.org/officeDocument/2006/relationships/tags" Target="../tags/tag610.xml"/><Relationship Id="rId380" Type="http://schemas.openxmlformats.org/officeDocument/2006/relationships/tags" Target="../tags/tag761.xml"/><Relationship Id="rId240" Type="http://schemas.openxmlformats.org/officeDocument/2006/relationships/tags" Target="../tags/tag621.xml"/><Relationship Id="rId261" Type="http://schemas.openxmlformats.org/officeDocument/2006/relationships/tags" Target="../tags/tag642.xml"/><Relationship Id="rId14" Type="http://schemas.openxmlformats.org/officeDocument/2006/relationships/tags" Target="../tags/tag395.xml"/><Relationship Id="rId35" Type="http://schemas.openxmlformats.org/officeDocument/2006/relationships/tags" Target="../tags/tag416.xml"/><Relationship Id="rId56" Type="http://schemas.openxmlformats.org/officeDocument/2006/relationships/tags" Target="../tags/tag437.xml"/><Relationship Id="rId77" Type="http://schemas.openxmlformats.org/officeDocument/2006/relationships/tags" Target="../tags/tag458.xml"/><Relationship Id="rId100" Type="http://schemas.openxmlformats.org/officeDocument/2006/relationships/tags" Target="../tags/tag481.xml"/><Relationship Id="rId282" Type="http://schemas.openxmlformats.org/officeDocument/2006/relationships/tags" Target="../tags/tag663.xml"/><Relationship Id="rId317" Type="http://schemas.openxmlformats.org/officeDocument/2006/relationships/tags" Target="../tags/tag698.xml"/><Relationship Id="rId338" Type="http://schemas.openxmlformats.org/officeDocument/2006/relationships/tags" Target="../tags/tag719.xml"/><Relationship Id="rId359" Type="http://schemas.openxmlformats.org/officeDocument/2006/relationships/tags" Target="../tags/tag740.xml"/><Relationship Id="rId8" Type="http://schemas.openxmlformats.org/officeDocument/2006/relationships/tags" Target="../tags/tag389.xml"/><Relationship Id="rId98" Type="http://schemas.openxmlformats.org/officeDocument/2006/relationships/tags" Target="../tags/tag479.xml"/><Relationship Id="rId121" Type="http://schemas.openxmlformats.org/officeDocument/2006/relationships/tags" Target="../tags/tag502.xml"/><Relationship Id="rId142" Type="http://schemas.openxmlformats.org/officeDocument/2006/relationships/tags" Target="../tags/tag523.xml"/><Relationship Id="rId163" Type="http://schemas.openxmlformats.org/officeDocument/2006/relationships/tags" Target="../tags/tag544.xml"/><Relationship Id="rId184" Type="http://schemas.openxmlformats.org/officeDocument/2006/relationships/tags" Target="../tags/tag565.xml"/><Relationship Id="rId219" Type="http://schemas.openxmlformats.org/officeDocument/2006/relationships/tags" Target="../tags/tag600.xml"/><Relationship Id="rId370" Type="http://schemas.openxmlformats.org/officeDocument/2006/relationships/tags" Target="../tags/tag751.xml"/><Relationship Id="rId230" Type="http://schemas.openxmlformats.org/officeDocument/2006/relationships/tags" Target="../tags/tag611.xml"/><Relationship Id="rId251" Type="http://schemas.openxmlformats.org/officeDocument/2006/relationships/tags" Target="../tags/tag632.xml"/><Relationship Id="rId25" Type="http://schemas.openxmlformats.org/officeDocument/2006/relationships/tags" Target="../tags/tag406.xml"/><Relationship Id="rId46" Type="http://schemas.openxmlformats.org/officeDocument/2006/relationships/tags" Target="../tags/tag427.xml"/><Relationship Id="rId67" Type="http://schemas.openxmlformats.org/officeDocument/2006/relationships/tags" Target="../tags/tag448.xml"/><Relationship Id="rId272" Type="http://schemas.openxmlformats.org/officeDocument/2006/relationships/tags" Target="../tags/tag653.xml"/><Relationship Id="rId293" Type="http://schemas.openxmlformats.org/officeDocument/2006/relationships/tags" Target="../tags/tag674.xml"/><Relationship Id="rId307" Type="http://schemas.openxmlformats.org/officeDocument/2006/relationships/tags" Target="../tags/tag688.xml"/><Relationship Id="rId328" Type="http://schemas.openxmlformats.org/officeDocument/2006/relationships/tags" Target="../tags/tag709.xml"/><Relationship Id="rId349" Type="http://schemas.openxmlformats.org/officeDocument/2006/relationships/tags" Target="../tags/tag730.xml"/><Relationship Id="rId88" Type="http://schemas.openxmlformats.org/officeDocument/2006/relationships/tags" Target="../tags/tag469.xml"/><Relationship Id="rId111" Type="http://schemas.openxmlformats.org/officeDocument/2006/relationships/tags" Target="../tags/tag492.xml"/><Relationship Id="rId132" Type="http://schemas.openxmlformats.org/officeDocument/2006/relationships/tags" Target="../tags/tag513.xml"/><Relationship Id="rId153" Type="http://schemas.openxmlformats.org/officeDocument/2006/relationships/tags" Target="../tags/tag534.xml"/><Relationship Id="rId174" Type="http://schemas.openxmlformats.org/officeDocument/2006/relationships/tags" Target="../tags/tag555.xml"/><Relationship Id="rId195" Type="http://schemas.openxmlformats.org/officeDocument/2006/relationships/tags" Target="../tags/tag576.xml"/><Relationship Id="rId209" Type="http://schemas.openxmlformats.org/officeDocument/2006/relationships/tags" Target="../tags/tag590.xml"/><Relationship Id="rId360" Type="http://schemas.openxmlformats.org/officeDocument/2006/relationships/tags" Target="../tags/tag741.xml"/><Relationship Id="rId381" Type="http://schemas.openxmlformats.org/officeDocument/2006/relationships/tags" Target="../tags/tag762.xml"/><Relationship Id="rId220" Type="http://schemas.openxmlformats.org/officeDocument/2006/relationships/tags" Target="../tags/tag601.xml"/><Relationship Id="rId241" Type="http://schemas.openxmlformats.org/officeDocument/2006/relationships/tags" Target="../tags/tag622.xml"/><Relationship Id="rId15" Type="http://schemas.openxmlformats.org/officeDocument/2006/relationships/tags" Target="../tags/tag396.xml"/><Relationship Id="rId36" Type="http://schemas.openxmlformats.org/officeDocument/2006/relationships/tags" Target="../tags/tag417.xml"/><Relationship Id="rId57" Type="http://schemas.openxmlformats.org/officeDocument/2006/relationships/tags" Target="../tags/tag438.xml"/><Relationship Id="rId262" Type="http://schemas.openxmlformats.org/officeDocument/2006/relationships/tags" Target="../tags/tag643.xml"/><Relationship Id="rId283" Type="http://schemas.openxmlformats.org/officeDocument/2006/relationships/tags" Target="../tags/tag664.xml"/><Relationship Id="rId318" Type="http://schemas.openxmlformats.org/officeDocument/2006/relationships/tags" Target="../tags/tag699.xml"/><Relationship Id="rId339" Type="http://schemas.openxmlformats.org/officeDocument/2006/relationships/tags" Target="../tags/tag720.xml"/><Relationship Id="rId78" Type="http://schemas.openxmlformats.org/officeDocument/2006/relationships/tags" Target="../tags/tag459.xml"/><Relationship Id="rId99" Type="http://schemas.openxmlformats.org/officeDocument/2006/relationships/tags" Target="../tags/tag480.xml"/><Relationship Id="rId101" Type="http://schemas.openxmlformats.org/officeDocument/2006/relationships/tags" Target="../tags/tag482.xml"/><Relationship Id="rId122" Type="http://schemas.openxmlformats.org/officeDocument/2006/relationships/tags" Target="../tags/tag503.xml"/><Relationship Id="rId143" Type="http://schemas.openxmlformats.org/officeDocument/2006/relationships/tags" Target="../tags/tag524.xml"/><Relationship Id="rId164" Type="http://schemas.openxmlformats.org/officeDocument/2006/relationships/tags" Target="../tags/tag545.xml"/><Relationship Id="rId185" Type="http://schemas.openxmlformats.org/officeDocument/2006/relationships/tags" Target="../tags/tag566.xml"/><Relationship Id="rId350" Type="http://schemas.openxmlformats.org/officeDocument/2006/relationships/tags" Target="../tags/tag731.xml"/><Relationship Id="rId371" Type="http://schemas.openxmlformats.org/officeDocument/2006/relationships/tags" Target="../tags/tag752.xml"/><Relationship Id="rId9" Type="http://schemas.openxmlformats.org/officeDocument/2006/relationships/tags" Target="../tags/tag390.xml"/><Relationship Id="rId210" Type="http://schemas.openxmlformats.org/officeDocument/2006/relationships/tags" Target="../tags/tag591.xml"/><Relationship Id="rId26" Type="http://schemas.openxmlformats.org/officeDocument/2006/relationships/tags" Target="../tags/tag407.xml"/><Relationship Id="rId231" Type="http://schemas.openxmlformats.org/officeDocument/2006/relationships/tags" Target="../tags/tag612.xml"/><Relationship Id="rId252" Type="http://schemas.openxmlformats.org/officeDocument/2006/relationships/tags" Target="../tags/tag633.xml"/><Relationship Id="rId273" Type="http://schemas.openxmlformats.org/officeDocument/2006/relationships/tags" Target="../tags/tag654.xml"/><Relationship Id="rId294" Type="http://schemas.openxmlformats.org/officeDocument/2006/relationships/tags" Target="../tags/tag675.xml"/><Relationship Id="rId308" Type="http://schemas.openxmlformats.org/officeDocument/2006/relationships/tags" Target="../tags/tag689.xml"/><Relationship Id="rId329" Type="http://schemas.openxmlformats.org/officeDocument/2006/relationships/tags" Target="../tags/tag710.xml"/><Relationship Id="rId47" Type="http://schemas.openxmlformats.org/officeDocument/2006/relationships/tags" Target="../tags/tag428.xml"/><Relationship Id="rId68" Type="http://schemas.openxmlformats.org/officeDocument/2006/relationships/tags" Target="../tags/tag449.xml"/><Relationship Id="rId89" Type="http://schemas.openxmlformats.org/officeDocument/2006/relationships/tags" Target="../tags/tag470.xml"/><Relationship Id="rId112" Type="http://schemas.openxmlformats.org/officeDocument/2006/relationships/tags" Target="../tags/tag493.xml"/><Relationship Id="rId133" Type="http://schemas.openxmlformats.org/officeDocument/2006/relationships/tags" Target="../tags/tag514.xml"/><Relationship Id="rId154" Type="http://schemas.openxmlformats.org/officeDocument/2006/relationships/tags" Target="../tags/tag535.xml"/><Relationship Id="rId175" Type="http://schemas.openxmlformats.org/officeDocument/2006/relationships/tags" Target="../tags/tag556.xml"/><Relationship Id="rId340" Type="http://schemas.openxmlformats.org/officeDocument/2006/relationships/tags" Target="../tags/tag721.xml"/><Relationship Id="rId361" Type="http://schemas.openxmlformats.org/officeDocument/2006/relationships/tags" Target="../tags/tag742.xml"/><Relationship Id="rId196" Type="http://schemas.openxmlformats.org/officeDocument/2006/relationships/tags" Target="../tags/tag577.xml"/><Relationship Id="rId200" Type="http://schemas.openxmlformats.org/officeDocument/2006/relationships/tags" Target="../tags/tag581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397.xml"/><Relationship Id="rId221" Type="http://schemas.openxmlformats.org/officeDocument/2006/relationships/tags" Target="../tags/tag602.xml"/><Relationship Id="rId242" Type="http://schemas.openxmlformats.org/officeDocument/2006/relationships/tags" Target="../tags/tag623.xml"/><Relationship Id="rId263" Type="http://schemas.openxmlformats.org/officeDocument/2006/relationships/tags" Target="../tags/tag644.xml"/><Relationship Id="rId284" Type="http://schemas.openxmlformats.org/officeDocument/2006/relationships/tags" Target="../tags/tag665.xml"/><Relationship Id="rId319" Type="http://schemas.openxmlformats.org/officeDocument/2006/relationships/tags" Target="../tags/tag700.xml"/><Relationship Id="rId37" Type="http://schemas.openxmlformats.org/officeDocument/2006/relationships/tags" Target="../tags/tag418.xml"/><Relationship Id="rId58" Type="http://schemas.openxmlformats.org/officeDocument/2006/relationships/tags" Target="../tags/tag439.xml"/><Relationship Id="rId79" Type="http://schemas.openxmlformats.org/officeDocument/2006/relationships/tags" Target="../tags/tag460.xml"/><Relationship Id="rId102" Type="http://schemas.openxmlformats.org/officeDocument/2006/relationships/tags" Target="../tags/tag483.xml"/><Relationship Id="rId123" Type="http://schemas.openxmlformats.org/officeDocument/2006/relationships/tags" Target="../tags/tag504.xml"/><Relationship Id="rId144" Type="http://schemas.openxmlformats.org/officeDocument/2006/relationships/tags" Target="../tags/tag525.xml"/><Relationship Id="rId330" Type="http://schemas.openxmlformats.org/officeDocument/2006/relationships/tags" Target="../tags/tag711.xml"/><Relationship Id="rId90" Type="http://schemas.openxmlformats.org/officeDocument/2006/relationships/tags" Target="../tags/tag471.xml"/><Relationship Id="rId165" Type="http://schemas.openxmlformats.org/officeDocument/2006/relationships/tags" Target="../tags/tag546.xml"/><Relationship Id="rId186" Type="http://schemas.openxmlformats.org/officeDocument/2006/relationships/tags" Target="../tags/tag567.xml"/><Relationship Id="rId351" Type="http://schemas.openxmlformats.org/officeDocument/2006/relationships/tags" Target="../tags/tag732.xml"/><Relationship Id="rId372" Type="http://schemas.openxmlformats.org/officeDocument/2006/relationships/tags" Target="../tags/tag753.xml"/><Relationship Id="rId211" Type="http://schemas.openxmlformats.org/officeDocument/2006/relationships/tags" Target="../tags/tag592.xml"/><Relationship Id="rId232" Type="http://schemas.openxmlformats.org/officeDocument/2006/relationships/tags" Target="../tags/tag613.xml"/><Relationship Id="rId253" Type="http://schemas.openxmlformats.org/officeDocument/2006/relationships/tags" Target="../tags/tag634.xml"/><Relationship Id="rId274" Type="http://schemas.openxmlformats.org/officeDocument/2006/relationships/tags" Target="../tags/tag655.xml"/><Relationship Id="rId295" Type="http://schemas.openxmlformats.org/officeDocument/2006/relationships/tags" Target="../tags/tag676.xml"/><Relationship Id="rId309" Type="http://schemas.openxmlformats.org/officeDocument/2006/relationships/tags" Target="../tags/tag690.xml"/><Relationship Id="rId27" Type="http://schemas.openxmlformats.org/officeDocument/2006/relationships/tags" Target="../tags/tag408.xml"/><Relationship Id="rId48" Type="http://schemas.openxmlformats.org/officeDocument/2006/relationships/tags" Target="../tags/tag429.xml"/><Relationship Id="rId69" Type="http://schemas.openxmlformats.org/officeDocument/2006/relationships/tags" Target="../tags/tag450.xml"/><Relationship Id="rId113" Type="http://schemas.openxmlformats.org/officeDocument/2006/relationships/tags" Target="../tags/tag494.xml"/><Relationship Id="rId134" Type="http://schemas.openxmlformats.org/officeDocument/2006/relationships/tags" Target="../tags/tag515.xml"/><Relationship Id="rId320" Type="http://schemas.openxmlformats.org/officeDocument/2006/relationships/tags" Target="../tags/tag701.xml"/><Relationship Id="rId80" Type="http://schemas.openxmlformats.org/officeDocument/2006/relationships/tags" Target="../tags/tag461.xml"/><Relationship Id="rId155" Type="http://schemas.openxmlformats.org/officeDocument/2006/relationships/tags" Target="../tags/tag536.xml"/><Relationship Id="rId176" Type="http://schemas.openxmlformats.org/officeDocument/2006/relationships/tags" Target="../tags/tag557.xml"/><Relationship Id="rId197" Type="http://schemas.openxmlformats.org/officeDocument/2006/relationships/tags" Target="../tags/tag578.xml"/><Relationship Id="rId341" Type="http://schemas.openxmlformats.org/officeDocument/2006/relationships/tags" Target="../tags/tag722.xml"/><Relationship Id="rId362" Type="http://schemas.openxmlformats.org/officeDocument/2006/relationships/tags" Target="../tags/tag743.xml"/><Relationship Id="rId383" Type="http://schemas.openxmlformats.org/officeDocument/2006/relationships/notesSlide" Target="../notesSlides/notesSlide6.xml"/><Relationship Id="rId201" Type="http://schemas.openxmlformats.org/officeDocument/2006/relationships/tags" Target="../tags/tag582.xml"/><Relationship Id="rId222" Type="http://schemas.openxmlformats.org/officeDocument/2006/relationships/tags" Target="../tags/tag603.xml"/><Relationship Id="rId243" Type="http://schemas.openxmlformats.org/officeDocument/2006/relationships/tags" Target="../tags/tag624.xml"/><Relationship Id="rId264" Type="http://schemas.openxmlformats.org/officeDocument/2006/relationships/tags" Target="../tags/tag645.xml"/><Relationship Id="rId285" Type="http://schemas.openxmlformats.org/officeDocument/2006/relationships/tags" Target="../tags/tag666.xml"/><Relationship Id="rId17" Type="http://schemas.openxmlformats.org/officeDocument/2006/relationships/tags" Target="../tags/tag398.xml"/><Relationship Id="rId38" Type="http://schemas.openxmlformats.org/officeDocument/2006/relationships/tags" Target="../tags/tag419.xml"/><Relationship Id="rId59" Type="http://schemas.openxmlformats.org/officeDocument/2006/relationships/tags" Target="../tags/tag440.xml"/><Relationship Id="rId103" Type="http://schemas.openxmlformats.org/officeDocument/2006/relationships/tags" Target="../tags/tag484.xml"/><Relationship Id="rId124" Type="http://schemas.openxmlformats.org/officeDocument/2006/relationships/tags" Target="../tags/tag505.xml"/><Relationship Id="rId310" Type="http://schemas.openxmlformats.org/officeDocument/2006/relationships/tags" Target="../tags/tag691.xml"/><Relationship Id="rId70" Type="http://schemas.openxmlformats.org/officeDocument/2006/relationships/tags" Target="../tags/tag451.xml"/><Relationship Id="rId91" Type="http://schemas.openxmlformats.org/officeDocument/2006/relationships/tags" Target="../tags/tag472.xml"/><Relationship Id="rId145" Type="http://schemas.openxmlformats.org/officeDocument/2006/relationships/tags" Target="../tags/tag526.xml"/><Relationship Id="rId166" Type="http://schemas.openxmlformats.org/officeDocument/2006/relationships/tags" Target="../tags/tag547.xml"/><Relationship Id="rId187" Type="http://schemas.openxmlformats.org/officeDocument/2006/relationships/tags" Target="../tags/tag568.xml"/><Relationship Id="rId331" Type="http://schemas.openxmlformats.org/officeDocument/2006/relationships/tags" Target="../tags/tag712.xml"/><Relationship Id="rId352" Type="http://schemas.openxmlformats.org/officeDocument/2006/relationships/tags" Target="../tags/tag733.xml"/><Relationship Id="rId373" Type="http://schemas.openxmlformats.org/officeDocument/2006/relationships/tags" Target="../tags/tag754.xml"/><Relationship Id="rId1" Type="http://schemas.openxmlformats.org/officeDocument/2006/relationships/tags" Target="../tags/tag382.xml"/><Relationship Id="rId212" Type="http://schemas.openxmlformats.org/officeDocument/2006/relationships/tags" Target="../tags/tag593.xml"/><Relationship Id="rId233" Type="http://schemas.openxmlformats.org/officeDocument/2006/relationships/tags" Target="../tags/tag614.xml"/><Relationship Id="rId254" Type="http://schemas.openxmlformats.org/officeDocument/2006/relationships/tags" Target="../tags/tag635.xml"/><Relationship Id="rId28" Type="http://schemas.openxmlformats.org/officeDocument/2006/relationships/tags" Target="../tags/tag409.xml"/><Relationship Id="rId49" Type="http://schemas.openxmlformats.org/officeDocument/2006/relationships/tags" Target="../tags/tag430.xml"/><Relationship Id="rId114" Type="http://schemas.openxmlformats.org/officeDocument/2006/relationships/tags" Target="../tags/tag495.xml"/><Relationship Id="rId275" Type="http://schemas.openxmlformats.org/officeDocument/2006/relationships/tags" Target="../tags/tag656.xml"/><Relationship Id="rId296" Type="http://schemas.openxmlformats.org/officeDocument/2006/relationships/tags" Target="../tags/tag677.xml"/><Relationship Id="rId300" Type="http://schemas.openxmlformats.org/officeDocument/2006/relationships/tags" Target="../tags/tag681.xml"/><Relationship Id="rId60" Type="http://schemas.openxmlformats.org/officeDocument/2006/relationships/tags" Target="../tags/tag441.xml"/><Relationship Id="rId81" Type="http://schemas.openxmlformats.org/officeDocument/2006/relationships/tags" Target="../tags/tag462.xml"/><Relationship Id="rId135" Type="http://schemas.openxmlformats.org/officeDocument/2006/relationships/tags" Target="../tags/tag516.xml"/><Relationship Id="rId156" Type="http://schemas.openxmlformats.org/officeDocument/2006/relationships/tags" Target="../tags/tag537.xml"/><Relationship Id="rId177" Type="http://schemas.openxmlformats.org/officeDocument/2006/relationships/tags" Target="../tags/tag558.xml"/><Relationship Id="rId198" Type="http://schemas.openxmlformats.org/officeDocument/2006/relationships/tags" Target="../tags/tag579.xml"/><Relationship Id="rId321" Type="http://schemas.openxmlformats.org/officeDocument/2006/relationships/tags" Target="../tags/tag702.xml"/><Relationship Id="rId342" Type="http://schemas.openxmlformats.org/officeDocument/2006/relationships/tags" Target="../tags/tag723.xml"/><Relationship Id="rId363" Type="http://schemas.openxmlformats.org/officeDocument/2006/relationships/tags" Target="../tags/tag744.xml"/><Relationship Id="rId202" Type="http://schemas.openxmlformats.org/officeDocument/2006/relationships/tags" Target="../tags/tag583.xml"/><Relationship Id="rId223" Type="http://schemas.openxmlformats.org/officeDocument/2006/relationships/tags" Target="../tags/tag604.xml"/><Relationship Id="rId244" Type="http://schemas.openxmlformats.org/officeDocument/2006/relationships/tags" Target="../tags/tag625.xml"/><Relationship Id="rId18" Type="http://schemas.openxmlformats.org/officeDocument/2006/relationships/tags" Target="../tags/tag399.xml"/><Relationship Id="rId39" Type="http://schemas.openxmlformats.org/officeDocument/2006/relationships/tags" Target="../tags/tag420.xml"/><Relationship Id="rId265" Type="http://schemas.openxmlformats.org/officeDocument/2006/relationships/tags" Target="../tags/tag646.xml"/><Relationship Id="rId286" Type="http://schemas.openxmlformats.org/officeDocument/2006/relationships/tags" Target="../tags/tag667.xml"/><Relationship Id="rId50" Type="http://schemas.openxmlformats.org/officeDocument/2006/relationships/tags" Target="../tags/tag431.xml"/><Relationship Id="rId104" Type="http://schemas.openxmlformats.org/officeDocument/2006/relationships/tags" Target="../tags/tag485.xml"/><Relationship Id="rId125" Type="http://schemas.openxmlformats.org/officeDocument/2006/relationships/tags" Target="../tags/tag506.xml"/><Relationship Id="rId146" Type="http://schemas.openxmlformats.org/officeDocument/2006/relationships/tags" Target="../tags/tag527.xml"/><Relationship Id="rId167" Type="http://schemas.openxmlformats.org/officeDocument/2006/relationships/tags" Target="../tags/tag548.xml"/><Relationship Id="rId188" Type="http://schemas.openxmlformats.org/officeDocument/2006/relationships/tags" Target="../tags/tag569.xml"/><Relationship Id="rId311" Type="http://schemas.openxmlformats.org/officeDocument/2006/relationships/tags" Target="../tags/tag692.xml"/><Relationship Id="rId332" Type="http://schemas.openxmlformats.org/officeDocument/2006/relationships/tags" Target="../tags/tag713.xml"/><Relationship Id="rId353" Type="http://schemas.openxmlformats.org/officeDocument/2006/relationships/tags" Target="../tags/tag734.xml"/><Relationship Id="rId374" Type="http://schemas.openxmlformats.org/officeDocument/2006/relationships/tags" Target="../tags/tag755.xml"/><Relationship Id="rId71" Type="http://schemas.openxmlformats.org/officeDocument/2006/relationships/tags" Target="../tags/tag452.xml"/><Relationship Id="rId92" Type="http://schemas.openxmlformats.org/officeDocument/2006/relationships/tags" Target="../tags/tag473.xml"/><Relationship Id="rId213" Type="http://schemas.openxmlformats.org/officeDocument/2006/relationships/tags" Target="../tags/tag594.xml"/><Relationship Id="rId234" Type="http://schemas.openxmlformats.org/officeDocument/2006/relationships/tags" Target="../tags/tag615.xml"/><Relationship Id="rId2" Type="http://schemas.openxmlformats.org/officeDocument/2006/relationships/tags" Target="../tags/tag383.xml"/><Relationship Id="rId29" Type="http://schemas.openxmlformats.org/officeDocument/2006/relationships/tags" Target="../tags/tag410.xml"/><Relationship Id="rId255" Type="http://schemas.openxmlformats.org/officeDocument/2006/relationships/tags" Target="../tags/tag636.xml"/><Relationship Id="rId276" Type="http://schemas.openxmlformats.org/officeDocument/2006/relationships/tags" Target="../tags/tag657.xml"/><Relationship Id="rId297" Type="http://schemas.openxmlformats.org/officeDocument/2006/relationships/tags" Target="../tags/tag678.xml"/><Relationship Id="rId40" Type="http://schemas.openxmlformats.org/officeDocument/2006/relationships/tags" Target="../tags/tag421.xml"/><Relationship Id="rId115" Type="http://schemas.openxmlformats.org/officeDocument/2006/relationships/tags" Target="../tags/tag496.xml"/><Relationship Id="rId136" Type="http://schemas.openxmlformats.org/officeDocument/2006/relationships/tags" Target="../tags/tag517.xml"/><Relationship Id="rId157" Type="http://schemas.openxmlformats.org/officeDocument/2006/relationships/tags" Target="../tags/tag538.xml"/><Relationship Id="rId178" Type="http://schemas.openxmlformats.org/officeDocument/2006/relationships/tags" Target="../tags/tag559.xml"/><Relationship Id="rId301" Type="http://schemas.openxmlformats.org/officeDocument/2006/relationships/tags" Target="../tags/tag682.xml"/><Relationship Id="rId322" Type="http://schemas.openxmlformats.org/officeDocument/2006/relationships/tags" Target="../tags/tag703.xml"/><Relationship Id="rId343" Type="http://schemas.openxmlformats.org/officeDocument/2006/relationships/tags" Target="../tags/tag724.xml"/><Relationship Id="rId364" Type="http://schemas.openxmlformats.org/officeDocument/2006/relationships/tags" Target="../tags/tag745.xml"/><Relationship Id="rId61" Type="http://schemas.openxmlformats.org/officeDocument/2006/relationships/tags" Target="../tags/tag442.xml"/><Relationship Id="rId82" Type="http://schemas.openxmlformats.org/officeDocument/2006/relationships/tags" Target="../tags/tag463.xml"/><Relationship Id="rId199" Type="http://schemas.openxmlformats.org/officeDocument/2006/relationships/tags" Target="../tags/tag580.xml"/><Relationship Id="rId203" Type="http://schemas.openxmlformats.org/officeDocument/2006/relationships/tags" Target="../tags/tag584.xml"/><Relationship Id="rId19" Type="http://schemas.openxmlformats.org/officeDocument/2006/relationships/tags" Target="../tags/tag400.xml"/><Relationship Id="rId224" Type="http://schemas.openxmlformats.org/officeDocument/2006/relationships/tags" Target="../tags/tag605.xml"/><Relationship Id="rId245" Type="http://schemas.openxmlformats.org/officeDocument/2006/relationships/tags" Target="../tags/tag626.xml"/><Relationship Id="rId266" Type="http://schemas.openxmlformats.org/officeDocument/2006/relationships/tags" Target="../tags/tag647.xml"/><Relationship Id="rId287" Type="http://schemas.openxmlformats.org/officeDocument/2006/relationships/tags" Target="../tags/tag668.xml"/><Relationship Id="rId30" Type="http://schemas.openxmlformats.org/officeDocument/2006/relationships/tags" Target="../tags/tag411.xml"/><Relationship Id="rId105" Type="http://schemas.openxmlformats.org/officeDocument/2006/relationships/tags" Target="../tags/tag486.xml"/><Relationship Id="rId126" Type="http://schemas.openxmlformats.org/officeDocument/2006/relationships/tags" Target="../tags/tag507.xml"/><Relationship Id="rId147" Type="http://schemas.openxmlformats.org/officeDocument/2006/relationships/tags" Target="../tags/tag528.xml"/><Relationship Id="rId168" Type="http://schemas.openxmlformats.org/officeDocument/2006/relationships/tags" Target="../tags/tag549.xml"/><Relationship Id="rId312" Type="http://schemas.openxmlformats.org/officeDocument/2006/relationships/tags" Target="../tags/tag693.xml"/><Relationship Id="rId333" Type="http://schemas.openxmlformats.org/officeDocument/2006/relationships/tags" Target="../tags/tag714.xml"/><Relationship Id="rId354" Type="http://schemas.openxmlformats.org/officeDocument/2006/relationships/tags" Target="../tags/tag735.xml"/><Relationship Id="rId51" Type="http://schemas.openxmlformats.org/officeDocument/2006/relationships/tags" Target="../tags/tag432.xml"/><Relationship Id="rId72" Type="http://schemas.openxmlformats.org/officeDocument/2006/relationships/tags" Target="../tags/tag453.xml"/><Relationship Id="rId93" Type="http://schemas.openxmlformats.org/officeDocument/2006/relationships/tags" Target="../tags/tag474.xml"/><Relationship Id="rId189" Type="http://schemas.openxmlformats.org/officeDocument/2006/relationships/tags" Target="../tags/tag570.xml"/><Relationship Id="rId375" Type="http://schemas.openxmlformats.org/officeDocument/2006/relationships/tags" Target="../tags/tag756.xml"/><Relationship Id="rId3" Type="http://schemas.openxmlformats.org/officeDocument/2006/relationships/tags" Target="../tags/tag384.xml"/><Relationship Id="rId214" Type="http://schemas.openxmlformats.org/officeDocument/2006/relationships/tags" Target="../tags/tag595.xml"/><Relationship Id="rId235" Type="http://schemas.openxmlformats.org/officeDocument/2006/relationships/tags" Target="../tags/tag616.xml"/><Relationship Id="rId256" Type="http://schemas.openxmlformats.org/officeDocument/2006/relationships/tags" Target="../tags/tag637.xml"/><Relationship Id="rId277" Type="http://schemas.openxmlformats.org/officeDocument/2006/relationships/tags" Target="../tags/tag658.xml"/><Relationship Id="rId298" Type="http://schemas.openxmlformats.org/officeDocument/2006/relationships/tags" Target="../tags/tag679.xml"/><Relationship Id="rId116" Type="http://schemas.openxmlformats.org/officeDocument/2006/relationships/tags" Target="../tags/tag497.xml"/><Relationship Id="rId137" Type="http://schemas.openxmlformats.org/officeDocument/2006/relationships/tags" Target="../tags/tag518.xml"/><Relationship Id="rId158" Type="http://schemas.openxmlformats.org/officeDocument/2006/relationships/tags" Target="../tags/tag539.xml"/><Relationship Id="rId302" Type="http://schemas.openxmlformats.org/officeDocument/2006/relationships/tags" Target="../tags/tag683.xml"/><Relationship Id="rId323" Type="http://schemas.openxmlformats.org/officeDocument/2006/relationships/tags" Target="../tags/tag704.xml"/><Relationship Id="rId344" Type="http://schemas.openxmlformats.org/officeDocument/2006/relationships/tags" Target="../tags/tag725.xml"/><Relationship Id="rId20" Type="http://schemas.openxmlformats.org/officeDocument/2006/relationships/tags" Target="../tags/tag401.xml"/><Relationship Id="rId41" Type="http://schemas.openxmlformats.org/officeDocument/2006/relationships/tags" Target="../tags/tag422.xml"/><Relationship Id="rId62" Type="http://schemas.openxmlformats.org/officeDocument/2006/relationships/tags" Target="../tags/tag443.xml"/><Relationship Id="rId83" Type="http://schemas.openxmlformats.org/officeDocument/2006/relationships/tags" Target="../tags/tag464.xml"/><Relationship Id="rId179" Type="http://schemas.openxmlformats.org/officeDocument/2006/relationships/tags" Target="../tags/tag560.xml"/><Relationship Id="rId365" Type="http://schemas.openxmlformats.org/officeDocument/2006/relationships/tags" Target="../tags/tag746.xml"/><Relationship Id="rId190" Type="http://schemas.openxmlformats.org/officeDocument/2006/relationships/tags" Target="../tags/tag571.xml"/><Relationship Id="rId204" Type="http://schemas.openxmlformats.org/officeDocument/2006/relationships/tags" Target="../tags/tag585.xml"/><Relationship Id="rId225" Type="http://schemas.openxmlformats.org/officeDocument/2006/relationships/tags" Target="../tags/tag606.xml"/><Relationship Id="rId246" Type="http://schemas.openxmlformats.org/officeDocument/2006/relationships/tags" Target="../tags/tag627.xml"/><Relationship Id="rId267" Type="http://schemas.openxmlformats.org/officeDocument/2006/relationships/tags" Target="../tags/tag648.xml"/><Relationship Id="rId288" Type="http://schemas.openxmlformats.org/officeDocument/2006/relationships/tags" Target="../tags/tag669.xml"/><Relationship Id="rId106" Type="http://schemas.openxmlformats.org/officeDocument/2006/relationships/tags" Target="../tags/tag487.xml"/><Relationship Id="rId127" Type="http://schemas.openxmlformats.org/officeDocument/2006/relationships/tags" Target="../tags/tag508.xml"/><Relationship Id="rId313" Type="http://schemas.openxmlformats.org/officeDocument/2006/relationships/tags" Target="../tags/tag694.xml"/><Relationship Id="rId10" Type="http://schemas.openxmlformats.org/officeDocument/2006/relationships/tags" Target="../tags/tag391.xml"/><Relationship Id="rId31" Type="http://schemas.openxmlformats.org/officeDocument/2006/relationships/tags" Target="../tags/tag412.xml"/><Relationship Id="rId52" Type="http://schemas.openxmlformats.org/officeDocument/2006/relationships/tags" Target="../tags/tag433.xml"/><Relationship Id="rId73" Type="http://schemas.openxmlformats.org/officeDocument/2006/relationships/tags" Target="../tags/tag454.xml"/><Relationship Id="rId94" Type="http://schemas.openxmlformats.org/officeDocument/2006/relationships/tags" Target="../tags/tag475.xml"/><Relationship Id="rId148" Type="http://schemas.openxmlformats.org/officeDocument/2006/relationships/tags" Target="../tags/tag529.xml"/><Relationship Id="rId169" Type="http://schemas.openxmlformats.org/officeDocument/2006/relationships/tags" Target="../tags/tag550.xml"/><Relationship Id="rId334" Type="http://schemas.openxmlformats.org/officeDocument/2006/relationships/tags" Target="../tags/tag715.xml"/><Relationship Id="rId355" Type="http://schemas.openxmlformats.org/officeDocument/2006/relationships/tags" Target="../tags/tag736.xml"/><Relationship Id="rId376" Type="http://schemas.openxmlformats.org/officeDocument/2006/relationships/tags" Target="../tags/tag757.xml"/><Relationship Id="rId4" Type="http://schemas.openxmlformats.org/officeDocument/2006/relationships/tags" Target="../tags/tag385.xml"/><Relationship Id="rId180" Type="http://schemas.openxmlformats.org/officeDocument/2006/relationships/tags" Target="../tags/tag561.xml"/><Relationship Id="rId215" Type="http://schemas.openxmlformats.org/officeDocument/2006/relationships/tags" Target="../tags/tag596.xml"/><Relationship Id="rId236" Type="http://schemas.openxmlformats.org/officeDocument/2006/relationships/tags" Target="../tags/tag617.xml"/><Relationship Id="rId257" Type="http://schemas.openxmlformats.org/officeDocument/2006/relationships/tags" Target="../tags/tag638.xml"/><Relationship Id="rId278" Type="http://schemas.openxmlformats.org/officeDocument/2006/relationships/tags" Target="../tags/tag65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1.png"/><Relationship Id="rId4" Type="http://schemas.openxmlformats.org/officeDocument/2006/relationships/oleObject" Target="../embeddings/Microsoft_Excel_97-2003_Worksheet1.xls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771" y="1700808"/>
            <a:ext cx="8423709" cy="1326009"/>
          </a:xfrm>
        </p:spPr>
        <p:txBody>
          <a:bodyPr>
            <a:normAutofit fontScale="90000"/>
          </a:bodyPr>
          <a:lstStyle/>
          <a:p>
            <a:pPr algn="r"/>
            <a:r>
              <a:rPr lang="en-US" b="1" dirty="0">
                <a:solidFill>
                  <a:schemeClr val="accent1"/>
                </a:solidFill>
              </a:rPr>
              <a:t>Global </a:t>
            </a:r>
            <a:r>
              <a:rPr lang="en-US" b="1" dirty="0" smtClean="0">
                <a:solidFill>
                  <a:schemeClr val="accent1"/>
                </a:solidFill>
              </a:rPr>
              <a:t>updates on elimination and the concept of pre-elimination</a:t>
            </a:r>
            <a:br>
              <a:rPr lang="en-US" b="1" dirty="0" smtClean="0">
                <a:solidFill>
                  <a:schemeClr val="accent1"/>
                </a:solidFill>
              </a:rPr>
            </a:br>
            <a:r>
              <a:rPr lang="en-US" dirty="0">
                <a:solidFill>
                  <a:schemeClr val="accent1"/>
                </a:solidFill>
              </a:rPr>
              <a:t/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sz="2700" dirty="0" smtClean="0">
                <a:solidFill>
                  <a:schemeClr val="accent1"/>
                </a:solidFill>
              </a:rPr>
              <a:t>Shaffiq Essajee</a:t>
            </a:r>
            <a:r>
              <a:rPr lang="en-US" sz="2700" dirty="0">
                <a:solidFill>
                  <a:schemeClr val="accent1"/>
                </a:solidFill>
              </a:rPr>
              <a:t/>
            </a:r>
            <a:br>
              <a:rPr lang="en-US" sz="2700" dirty="0">
                <a:solidFill>
                  <a:schemeClr val="accent1"/>
                </a:solidFill>
              </a:rPr>
            </a:br>
            <a:r>
              <a:rPr lang="en-US" sz="2700" dirty="0">
                <a:solidFill>
                  <a:schemeClr val="accent1"/>
                </a:solidFill>
              </a:rPr>
              <a:t/>
            </a:r>
            <a:br>
              <a:rPr lang="en-US" sz="2700" dirty="0">
                <a:solidFill>
                  <a:schemeClr val="accent1"/>
                </a:solidFill>
              </a:rPr>
            </a:br>
            <a:r>
              <a:rPr lang="en-US" sz="2700" dirty="0" smtClean="0">
                <a:solidFill>
                  <a:schemeClr val="accent1"/>
                </a:solidFill>
              </a:rPr>
              <a:t>WHO </a:t>
            </a:r>
            <a:r>
              <a:rPr lang="en-US" sz="2700" dirty="0">
                <a:solidFill>
                  <a:schemeClr val="accent1"/>
                </a:solidFill>
              </a:rPr>
              <a:t>HIV </a:t>
            </a:r>
            <a:r>
              <a:rPr lang="en-US" sz="2700" dirty="0" smtClean="0">
                <a:solidFill>
                  <a:schemeClr val="accent1"/>
                </a:solidFill>
              </a:rPr>
              <a:t>Department</a:t>
            </a:r>
            <a:r>
              <a:rPr lang="en-US" sz="2700" dirty="0">
                <a:solidFill>
                  <a:schemeClr val="accent1"/>
                </a:solidFill>
              </a:rPr>
              <a:t/>
            </a:r>
            <a:br>
              <a:rPr lang="en-US" sz="2700" dirty="0">
                <a:solidFill>
                  <a:schemeClr val="accent1"/>
                </a:solidFill>
              </a:rPr>
            </a:br>
            <a:r>
              <a:rPr lang="en-US" sz="2700" dirty="0">
                <a:solidFill>
                  <a:schemeClr val="accent1"/>
                </a:solidFill>
              </a:rPr>
              <a:t/>
            </a:r>
            <a:br>
              <a:rPr lang="en-US" sz="2700" dirty="0">
                <a:solidFill>
                  <a:schemeClr val="accent1"/>
                </a:solidFill>
              </a:rPr>
            </a:br>
            <a:r>
              <a:rPr lang="en-US" sz="2700" dirty="0" smtClean="0">
                <a:solidFill>
                  <a:schemeClr val="accent1"/>
                </a:solidFill>
              </a:rPr>
              <a:t>IATT Webinar: March 17</a:t>
            </a:r>
            <a:r>
              <a:rPr lang="en-US" sz="2700" baseline="30000" dirty="0" smtClean="0">
                <a:solidFill>
                  <a:schemeClr val="accent1"/>
                </a:solidFill>
              </a:rPr>
              <a:t>th</a:t>
            </a:r>
            <a:r>
              <a:rPr lang="en-US" sz="2700" dirty="0" smtClean="0">
                <a:solidFill>
                  <a:schemeClr val="accent1"/>
                </a:solidFill>
              </a:rPr>
              <a:t> 2016</a:t>
            </a:r>
            <a:r>
              <a:rPr lang="en-US" sz="2700" dirty="0">
                <a:solidFill>
                  <a:schemeClr val="accent1"/>
                </a:solidFill>
              </a:rPr>
              <a:t/>
            </a:r>
            <a:br>
              <a:rPr lang="en-US" sz="2700" dirty="0">
                <a:solidFill>
                  <a:schemeClr val="accent1"/>
                </a:solidFill>
              </a:rPr>
            </a:br>
            <a:endParaRPr lang="en-GB" sz="2700" dirty="0">
              <a:solidFill>
                <a:schemeClr val="accent1"/>
              </a:solidFill>
            </a:endParaRPr>
          </a:p>
        </p:txBody>
      </p:sp>
      <p:sp>
        <p:nvSpPr>
          <p:cNvPr id="5" name="AutoShape 4" descr="data:image/jpeg;base64,/9j/4AAQSkZJRgABAQAAAQABAAD/2wCEAAkGBxQREhURExMWFhUXGRwbFxgYFx0dGxwgGhwgIBobHx4cHCggGhslIRggIjEkJSkrLi4uHB8zODMsNygtLi4BCgoKDg0OGxAQGywkICYvLzcsLDAsLCwuNzAsLywsNDQsLCwsLCwsLDQsLywsLCwsLywsLCwsLC8sLCwsLCwsLP/AABEIAOMA3gMBEQACEQEDEQH/xAAbAAADAQEBAQEAAAAAAAAAAAAABQYEAwcCAf/EAEoQAAIBAgMEBgYGBwUHBQEAAAECAwARBBIhBQYxQRMiUWFxgQcUMpGhsSM0QlJysjNic4KSwcIVJFOisxY1Q2PR0uGDhJPw8VT/xAAaAQADAQEBAQAAAAAAAAAAAAAAAwQFAgEG/8QAOREAAQMCAgYJBAICAgMBAQAAAQACAwQRITESQVFxgbEFEzIzYZHB0fAUIqHhI/FCUjSCJGKiknL/2gAMAwEAAhEDEQA/APcaEIoQihCKEIoQihCKEIoQihCKEIoQihCKELzb0i4pziBFc5FQELfS5Jue86AeVbFAwCPS13WJ0i9xl0dVlQ+jzEu+FIck5JCqkm+mVTbyLGpK9obLhrCs6Oe50RvqPsqioleihCKEIoQihCKEIoQihCKEIoQihCKEIoQihCKEIoQihCKEIoQihCKEJa+24ulECEyS81TXLbiWPBQO837qcIH6OmcB4+iQahmn1YxOweuxMqSnooQlGK3ihVjGmaaQcUhXOR4kdVfM1Q2meRc4DacFM6qjB0W/cdgx/Q4rl63jZPYw8UQ7ZZCx/hjH9Ve6EDc3E7h7+y806h2TQN59B7qQ9IEDCSF5Cpdo7NlBC3VjqAdftVoULgWuDcrrN6QaQ5pdnbl/ae7rQYhcHCcOYusXZxIG161hYqdNB2Gpal0Zmdp31WtbYq6Vsogb1dtd732+CZHauJj/AE2EYj70Dh/8pyt7r0nqondh/nh+cQnddKzts/8Ayb/jArbs7bEOIuI5AWHFTcOPFTYj3UuSF8faHt5psc8cnZPDX5ZrfSk5c8RKUUsFLW5La58LkXNetFzZeONheyy7M2tDiReJw1uI4MPFTqK7khfGfuCXFMyUXYfm5bqWmooQihCKEIoQihCKEIoQihCKEIoQihCKEIoQubTqGCX6xBIHOw4nw1A8xXuibXXmkL21qF313qOZsPA1gNJHB1vzUHkBzPl46dHSCwe8bgsmtrDcxsO8p1uPsX1eDOwtJJqe1V+yvd2nvPdU9ZP1j7DIKmhp+qjucynG1Npx4dM7k6myqouzHkqjmanjidIbN+b1TLM2IXd+zuStdnzYvrYkmOI8MOjWJH/Mcan8K2FO6xkWEeJ/2PoPUpHVSTYy4D/Uep9AnOGw0cKZUVUQcgAAO/8A81O5znm5NyqmsawWaLBItpb64aK4RjK3YnD+I6W8L1VHQyuzw3+ykkr4m5G58PdSe920TiYsLOVClhMLA3tlcDj5VdSxdU57N3JZ1XKZWseRa+l+CvvE7WaDD4WPo4ZFMZYrKmb7Z4ai1eNhD5Hm5GOo21Lp8xZFG2wItrF9af7B30ifLFIghOgUj9H3Dlk+XfUs9C9v3NN+f7VdPXsdZrho8v0nu19lwTDNKACPZkByup5WcajWpopXswb5ZjyVU0Mb8X+eR80vOMmwek5M0H+MB10/aKOK/rDzFN0GTdjB2zUd3sk9ZJB3mLf9tY3j1CfxSBgGUggi4INwQeYNSkEGxVgIIuF57vts58LOuLhJQOdSv2X5+TDW3Mhr8a1aOQSs6t+NuX6WNXROik61mF+f7VNupvCMXGcwAlT21HPsYdx7OR8qjqafqnYZHJX0lT1zccxmnUEyuoZTcHgfn4EcLcqmIINiqmuDhcLpXi9RQhFCEUIRQhFCEUIRQhFCEUIRQhc8TOI0aRjZVBYnuAua9a0uIAXLnBoLjqUNsvakjQ4rGWJmlcRRKNSNOqFH6ocnvyk1pyRND2Rf4gXPzgsqKZxY+X/Imw/W66x4TZkGBtLi2zzcUgXrEHkW7T46fipjpZJ/tiwGs+3zyS2RR09nTYu1NGPn8tvVrNtMwYcTTizm1o11JZvZjHa3K/cTwrNbFpyaLMtvhtWm6bq49N+ezxOpJQJcPMuNxaq4cZSVufVrnQDtXWzMNb93Gn7JGdVFhb/6/ewKX74n9dML3/8An9bT6J1tLbSx5UjHTSuLpGhGo+8TwVP1jU8cBdcuwAzPzWqpagNsG4uOQHzAeKkt7dsMWTCzMQoAbEdHzJFxGt/sjTU9oJ4Wq6lhFjI3/rfms+rnNxE84f5W5BKN293mxb3sUhBOZv6VJHWbvtYe4VRUVAhbbNympqYzOvk35gmW/mEjiTCpDbIvSgWN+aE69t70mie55eXZ4eqdXxtYGNZlj6Km3ew0UmDgjkVHPRg5WAJsb62NRTue2ZxaSMVoU7GOha1wBwUfvru+uFZXjv0b3GU65SOVzxBHyNaFHUGUEOzCzK2mERBbkVyfGO+DSTOc8D9ETf2o3FwGB0YAjLYi1uNdBjWzFtsHC/ELkvc6AOvi024HbyVdsTeiN8J0kzLnTqsq2ux+zZO1uzhe/IVBNSuEuizI/M/BaUNY0w6T8xq5YeKzbOabBDppECYaRiWiFycPmPVb8J+0BoCdOddyaE/2tN3DX/t81bUuPTpxpOFmHV/r+tuzUme8+OWNFMsfSYaTqyW1K31Vh2g+NwcttaRTxlzvtNnDJPqpAxv3i7Tn8+arKUh2ecJImNwz9NhweuR7SqfaDDnYa8NCBcC16vMnWtMUgs7Vv8FniPqXCaI6Tde22u/zenWCx3q+0pMPf6Kezr2Bityf3iD52qZ8fWUwfrbhwVTJOrqizU7Eb/3iq6oFoooQihCKEIoQihCKEIoQihCKEIoQpLeXavSYXGZD1UdYvE5lz/my+VX08WjKy+sX52WdUz6UMmjqIHK/OyQYPbTYfCRQQreeQs1wLlMxKrYc3YDTuPeKqfAJJS9/ZHzyUjKgxwtYztG/D9p1uvumVcYjEnNLfMEJvY/eY/ab4DvPCapqwRoR5bfbwVNLREO6yXPZ7+KZbOHreIOJOsURKQDkSNHl79eqPA0mT+KPqxmcT6D1KfH/ADSGQ5DBvqfQLZt7aHRII0UPLKSkaHgdNS36ijU/+aXBHpG5NgMz81plRLoDRAu44Ae/gNaU7K2W+ziWsJY2W7sAA6so4DkUPIEi3zfLKKgWyOrZ/fNIhhdTG+YIx23HpsGpJ5dkrLiGKf3mZjncFrQRZtQGYavYWAUWuBqKpExZGL/aNX+x3DVvUroA+Q6P3O1/6jeczu161Rw7sqwHrEjTW4IOpEvYBGlhbxvUZqiD/GLeOZ8yrRSAj+Ql3hkPIet1P+kTCJEmGSNFRQZLKosNcvIc6roHucXlxvl6qPpFjWBgaLDH0TvAbIw8mDgbERpdYluzdVl0v7WhXj21M+aRsrhGdaqjgidC0yAYAZ4fnUo/enaUbBMPA7vHGSc7sWuToApOuVR8/M6FNE4Xe8WJ1BZ1VKwgRsJIGs4/AtGyIYlwE3TGxmJaEXsWMdguXQ367Wt48q4lc8zt0NWfH9LuEMFO7T15cP2lOzZ3wWIR5IjddSrrY2Olxfgew0+RomjIafJTxuMEgc5uWo+i9XwWLjxMQdLMjgggjyKkfC1Yb2OjdY4EL6Bj2SsuMQUo2XCEaTZ0ozR5c0Ob7UZNil+1Dp22tT5SXATtwOvft4qaJoaTTvxGrds4crKb2hsjEbNkM+HYtEPa52H3ZF5j9b5VYyaOpboSYH5l7KKSCSldpxm4+Z+/JZttbSWafC4qMZfYUr91o3uR4WYW7rV3DGWRvjd4/kfpcTStfIyRvh+D+1f4PaGaeaA+1HlYd6sL/A3HhlrKdHZjXjXzC12SXe5h1cimFKTkUIRQhFCEUIRQhFCEUIRQhccbNkjd/uqze4Xrpg0nALl7tFpK812SxfZuLTiwdHPablf+w1sS4VLD4Ec/dYcX3Usg13B5ey2ROmy4wzKHxki3seEangD/AONSRbgL0sh1U6wwYPz8/CYC2kbc4vP4Hzz3J7OZYMFZmJxOIYLc8c8unLhkXs+5UzdB82HZbyHuearcXxwWJ+93M+w5J/gcKsMaRLoqKAPIcake8vcXHWrI2BjQ0ZBKd316eSTGtwa6Qd0an2vF2BPhaqJ/42iIbzv/AEpqf+RxmOvBu4e5/Fl02/inYrhITaSUHM1r9HGNGcjtPAd57q5gYADI7Ifk7PddVD3EiJmZ/A1n0CxQwnZpsLthGOptdomOmY29pD8KaT9Tn2+f7Sw00uWLPyP1yWneHemLCHJYySfcBtbszHl8T3VxBSvlxyG32XdRWMhwzOz3UVj99MTIbgrGOWVRf+Jr/C1aLKKJueKy5K+V2Vh88VgTB4rFkHLNL2FrlfJm6o99N04YsLgJWhNMb2J+eOCZQbvRQN/fJlUhc3QIbu2tgL9pOlh7xakuqHPH8I4nJObTMjP8zv8AqMz88PNO5tmzMY58uScC8EQC5I0Qey97Elr2uPZLLwqYSsALL3brOsk7PmKqMMhIfazv8RhYAajvywyNl2TDw7STO6lWcN0baZoyuhQkWzD7QDX4ta1hXJc+mNhqz8fmWHguwyOqbcjPLwtq9cfFcdzcLLhJ3w82gkBaPUEMUIDEa6GxGhF7AcLV1VvZMwPZqz4riiY+GQxv15cE53qQoiYpR1sO2fTiUOki+am/7oqemN3GM5Ow46vyqasaLRKM2m/DX+Fi3nx0mFePFx9eJwFlTkeaMOw2uL/hBvpTKaNsoMbsCMil1UjoXCVuIOBHL5uU9tLZUbtDisL+hklRWT/DYsBa3IG/DkbW0IquOVwDo5O0AcdoUUkLSWyxdkkXGw3TBMYRtogcCOjPh0Yb8yilFn/h/n825J3Wf+d+PxfmrqsxayKEIoQihCKEIoQihCKEIoQsuOdTaJv+LmQfwkn4Cu2A9oalw8jsnX7LzvdDFjDPiVlHsR5mHa0TgAeOZrVr1TOtDC3WeYWLRv6pzw7UOR9ytO6mzGxMxx2IPVzi1+DuSAoH6qmwHeAORriqlEbOqjzt+F3SRGV/XSZX8z+lU7R+kxuGj5RrJKR36IvuzmoY/the7bYevotCT7p2N2An09V23qxBTCyZfaYBF8ZCFH5r+Vc0zQ6UXyGPliuqtxbCbZnAccEwweHEUaRr7KKFHgBalPcXOLjrTmNDGho1JPu2RJ02MY/pXIUnlHGSq+F7FvOqKj7dGIah+Tj+lNTfdpSnWcNwwHvxWbG7wrJiUw0ZuoLNIwIIIRSwUEH7wF/C3Ou2U5bGXu4cVw+pDpRG3jw1eea88wkbYqdVLdeV9WPax1Pl2VrOIiYSMgFjMDpXgHMlUOLxMeGgEmFjVW6V4+kdQ7nIPaGYWW55AWqRrXSSaMh1A2GAxVj3Nij0ohY3IucTgm+P3tMMCIc3TtBG4cgFSWGt7EWOh99Tso9N5P8AjciyofW6EYb/AJaIN1KPtrpMzyizqv0HR9QI9wc1tbnQXvyHhVwg0bBuWu+NwoDUady/P/G2FjtVNsffGMxvJiVHSoLXULdlZh1VBN/EcLKCTUctE4ODYzgVdDXtLS6QYjkdnqvvAxRwY5YoQckoWRQOCMqNmBB1W6Pe3IlRaxFePLpINJ+Yw34j1C9jDY6gNYMDjuNjfdgeScb19RIsRzglRif1WORx4Wb4VPTYks2g+eYVFX9rWyf6keRwP4KcYiEOrI3BgQfAixqdpINwqnNDgQUi2IqzbPWObgFMT35dGxS9+R6oN6qmJZOXM3jjipIAH0wa/ceGCmdjq+Axvq0uschAB5HX6Nx2ENYHs17BVktqiHTbmPhCgh0qefq35H4D89l+bsr020ZJz7KNK5PLW6qPc3wr2oOhThm2wRTDTqi86rn0XoeFmEiK44MoYeYvWQ5uiSCtlrg4AjWuteLpFCEUIRQhFCEUIRQhFCFI7/4pofVpk4pIT46cPAi486voWh+m06ws7pB5ZoOGopXtnZIxU8E0JIjxdg5H2SurX77Jw+8p7afDN1THNfm3L58wKnmh62Rr2ZPz4f15haH2gJsdBhIRaCBuA4Exg3PgLWHfc9lcCPQgdI/tO9Uwy6dQ2JnZb6JpjNpRwbQZpWIHq6BbKzcZGJ9kG3AUlkTnwAN/2PIJ75Wx1JLv9RqJ1nYs2394MPIIArsQJ42b6Nx1VJPNddQNBrXcFPI3SJGo6xr4rioqY36IB/yGo6sdiYYverDdG+WRs2U2+ikGttOKaUltJJpC4/I9051ZFomxPkfZITtqD1LD4XM/WWNZgqsCFteQ6r1hfQ5eRNVdRJ1zpMNdt+pR9fH1DIschfDVr1Y7MFPwYuLDYwSRXaFWsL3uVZbNoQDexNr91VljpIbOzPNRh7Ip9JvZB/C47RwL4WRWQ3S4aGUahgNVIPDMOY/lXUcglaQc9YXMkZhcCMtRTPbe0PWMFHJkCETsGCk5SSmYsAfZuTe3bc86RDH1cxF74eqfPL1kANrfd6XX3t/Y8snRSRqHCwRBlUguLLxK8ba8r15BMxt2uwxO7zXVRA92i5ov9o3+SmKtUC17JgjeVRK+ROLHKzXt9kBNbnt5a+B4lc5rSWi54eqZE1rngONhxPJWeK2phVxOGljd+qzh7rKdGRtest2N7dpsByFZzYpTG5rgNVstq03zRCVjmk674HYdueNlr3i3gw0uFmjV2LNGwUdHINbaalbDXtpcFPKyVriNe0e6ZU1MT4XNBzB1H2W3D71YbIt5GvYX+ik421+xS3Ukt8B+R7prayK2JPkfZYdlr0+CxipqGkxGTQj2rldDqONNkOhMwnUG3SYh1kEgGsutxSfC4n+0MI0ba4nDjPG3NgP56WPflNPc36eW47Ls/nzWp2P+ph0T2m4j581Fc5H9TwFv+Pi9T2hP/wAPvc9ldAddP/6t5/OS5J6in/8AZ/L5+Srjd0EYXD349FH+UVmT967eea1abuWX2DkmFKTkUIRQhFCEUIRQhFCEUISHe/AeswNEv6VR0iDty6EDxBI8SKqpZOreHHLIqSsi62MtGeYUnuftoxRYiI/ZjeWO/JlU5h56H+Ltq6rg03NcNZAPz5qWfR1Ggx7TqBI+fNa07hYdYlbFycGZYY/3mAJ95A8mriucXkRt3ngF3QNDAZXeAHE+6pvZ2j+PDfFJP+j1HnT7ncx+ldlU728j+0b2dWOKTlHPEx8M+U/mopcXFu0HldFXg1rtjm87eq4b7ba9XhyL7ct1XTQAWzE+RAt391dUcHWPucguK2o6plhmUk3S270hGH6OziARxsDe5jB7R1bg/Dwqmqp9Ead8L3PFTUdRpWjtjo2HBapNgwzYqWKZSC6JJEwNmFgEcdhsVBsb+1SxUPZE1zTkSDzC7NNG+ZzXjMAjkfnissuypMCjFnEkF0zRSBSshZjcIOIcCx5XN+NMEzZ3Cws7HEat/guDC6nabm7cMDrvs8fVL9u9EcAjQoEDYglkDl8rZCLG4upsB1eVNh0+vIeb/bna2v5ikT6H04LBb7sr31Hy3L83nwkiNHiUYWWOJSUbroculwNQDyNe0z2kGM7TuK9qmOa4SN1AZZhY9qN6xh1xRAEofopSBbP1cyvYaA6WPbTIx1chj1WuPDwSZT1kYl13sfHYfRdd2t38TMVniKxhWGV2PGxN7AA3ta1jYHUdtc1FREz7HY+C6pqaV9nsw8VaYhGOKwcTPnZFklc2A+zkFgOAu5t4cTWc0jqnuAsDYDn6LUcCZY2k3IuT5W9Vp3vky4OftZcg7y5Cgf5q4pReZvzLFd1htA7xFvPBNYUyqF7AB7qQTc3VAFhZIN38UseGmxDHqtPM9/GQgfKqp2l0jWDOw5KOmeGxOectJ3Mqcw+FOD2qqjRHJy/hkB08mFv3RVjn9dSk6xzH6UTWGGrAGR5H9pbiM20sblT2Scq24LGvPu018WtTm2pobnP1SHXqp7DL0HzzK9SwrqVGT2RdR+6SpHvFYjgQcVvtIIwXWuV0ihCKEIoQihCKEIoQihClt95pIDBi4+MbMrDkQ4Gh7upbxIq6ja1+lG7X6LPrnOj0ZW6vX+ki25g0xER2hhdDZunj5i6kMbdtib9o18aYXujd1MvA/PmpSTsbKzr4v+w5/vbnv+t7pfV8LhMOvEASG3ao/mzE+VFKOsle87vP9L2sd1ULGDVj5ftVG3/o5sLiOSyGNvCUWBPcGC++oYPuY9nhfy/V1fUfa9knjY8f3ZQe09vYxkMM56rZgwKAXuSONtMrKbWtw1vWpHTwh2kzn84rJlqJy3Qk131fMtXqsm2Nty4rJ0pXqAhbC3G1ydTcmwpkUDIr6OtLmqHzW0tS57CxPRYiGS9gHW57ibN8Ca9mbpRuHgvIH6ErXeK9K3tVViXEBwksTXiNr5idDHYakONLDx5VjUty7QtcHP34LbqwA0SXsRl7cVj2DIMVM005tNGSEw5uOiH3rH2mP3vCmTjqmaLOyc3bfmxLpyJZC+TtDJuz3vtWTfLaODYdC5ZmV87LDYXYKVszEW4Gxtc6CmUkcw+4bNfngPgS62WnP2OxN74eWJ+FT2M2lNjvooILL1cwQZicosudzYWA4XsKrZEyD7nu8/QKJ80lR9rG4eHhtK+Npx9Dhhh1OciTPO63KK1sqR5uBPEnvr2M6cmmcMLAa968lHVxdWMcbuOoHK11b7lSkYNOkYaAnWwyrc5b9gtrryNZtYB1x0fhWrRE9QNL4NX4XTd4GZ5caRpJZIr/AOGl7HuzElvdXk/2NEQ1Z7z7ZL2m+9zpjrwG4e5xX7tw9LPh8MPvdNJ3LH7N+4uR7jXkP2MdJwG8/pE/3yMj8bncP3Zb9s43oIJZfuKSPH7I8zYUqFmm8N2p00nVxufsCmd4sKYNlJCeIEYbxuGb/NVtO/Tqi7eoamPq6MMPhdZNuZ8ThcFPGCZi3R6cSSCGPvjJvy1ruG0UsjHZZ/PNLn0pYo5G9rL5xC+MbOmy4TBEQ2KkH0jj7A7v5DzPIH1jXVT9N3ZGQ+fnyXkjm0kegztnM7PmrzVlsHCmHDxRniqDN42u3xJrPmfpyOcNq04GFkbWnUFvpSaihCKEIoQihCKEIoQihCybVwSzxPE/ssOPZzB8QRfyruOQseHBLljEjC12teX4WebZuJKsOGjr9mReRH8jyNx2ittzWVMdxw8CsFjn0stjx8R8y/tMt7JFxGIwrRm8ciIF85CCPEXsfCk0oMcbwcxfkn1ZEkkZbkbc1ZY4pixiMGTZlA/zKGR/Jvl31nM0oi2VacmjMHxa/lj5rNsfLioMkyXYl0lFh1HGji41XNcuD+tx4V3LeJ92nYRu1eyXDaaOzxjiD4HX55hQ+8m7cmEOb2o2YhSOIHFc3edfd31p09S2XDX8yWVU0rocdV/l0jVrajlVKlBV5uttRMXOHxLgzLpChFkGmrLrrIefZy7supidEy0Y+05nX/S1qWZs0l5D9wyGrePFVW0sCHBdVXplRhG9uspZSNDyGtQxyFuBOGFwtCSMOxA+6xsV5lg4Vgw8k7wh5ElEYSS+VeqSSVFsx0tY1tPJfIGNdYEXuN+1YTGiOJz3NuQbWOWWxbN8cZMsphzMkOVciqMqEZBmtYDMLk9tLpGMLNLM69ZzTa2SQP0bkN1DIZflT2HxLx3yOy3FjlJFx2G3EdxqtzWuzF1G1zm9k2TnYGbo2D3GFZ1E7L7VgNFOtxGbi5A4VPPbSFu3Y2+bdiogvokO7FxpH5q2q/2dt2JsO8+iRxFlPCwCcLW7Raw7wKypIHiQMzJ9VsR1LDGX5AX/AAvzd7DOc+KlFpJrEKfsIPYTxsbnvNE7gLRtyH5OsrynY43lfm78DUPfxXLbB9YxEWFHsqRNN4Kfo1P4m1t2LXUX8cbpNuA9fwvJv5JGxDIYnhkPPksm9uKWfCYlU16F0BPeCpb3A28Qa7pWlkrCdYPql1bxJC8N1EehSfAbbGF2dFYAys0nRA/Z6zAv4C5Hffxqh8HW1B2YX9lNHUCGmbbM3t5nFYtz9jtipunluY1bMzN9t73A79dT7udNq5hEzQbmfwEqjgMsmm7Ifk/M16dWKt1FCEUIRQhFCEUIRQhFCEUIX46ggg6g6GgGyCLqImmimZsDjTlljNopjoWB9kk8AxFrg6E99aQa9gE0ORzCyi5jyYZ8CMjy4/gpPidizYOaDpOtCsylXHDV1vf7p6o04dhOtUtnZMx2jgbHDgfNTPp5IXt0sQCMeI8kxxOPMO2GN+qxSNvB0S3uax8qS2PTo/M+RPonOlLK0+Nh5geqf7UBwk3ragmJ7LiFHK2iygd3A93hUkf8rOqOY7Pt7KyX+F/WjI9r39/Dct23MRB6uxms0TC1hqWv7IW3Fjyt40uFsnWDQz+Zps7o+rOnkfmHoo/D7NUOh2ijhWVVhcsABYmySstvpLW1OlaDpTY/TnePUX1LNbENIfUg+B9HEa/wrB9g4ZkMfQRhWsTlULqOBBFiD3is8VEodpaRutI00Jbo6IssgwGKg0hnWVOST3zDwkXU/vA131kT+22x2j29kvqpo+w642O9x6gpHvs8jYMmWFYm6VfZcPm6ra3AB7taqow0TWa6+Gyylri8wEvbY323WjeDDSI7PL9Lg5ModecPVC517LEXuO03HOuIHNcAG4PF7eOuy7qGPa4l+LDa/hqv6qE2lgzDK8TalGIv29h8xY+dakbw9ocNayZGGN5adSo9xBFH0+ImOVFULmYjLZvaUi92JsLCxqOt03aLGZq2g0G6Uj8gLeC04bDdEyzSROuB6QuqHirEALJItr9HpoCTbS/fw52kC1pBkta/oPFdtZoEPcCI73ts8SNnJWO1dqpBF0ntFrCNV1Ls3sqvbf5VnxRF7tHLb4LSlmbGzSz2eJ8EuiRsHhZsRIQZ2BeQ8s1rIg/VXRR59tOJE0rWN7IwG7aktBgidI7tHE79Q3alJ7Hmts7GFjcl115ktlHvuaulb/5DLbOSz4XWpZL7edl97M3YLKJ8a3RQooAUmzEam36oJJNvaJJ4V5JVAHQhFyfnHkvYqQkacxs0ef657lRbu44YmX6FMmGgGVBa2ZzztyAW+n6wJ14STx9U37jdzs9398lbTSda/wCwWY3Lf/XNU9RK5FCEUIRQhFCEUIRQhFCEUIRQhTO+W7nrSiSMDpkFrffX7t+R7PE9txZSVPVHRdkVDW0vWjSb2h+fmpReztvz4a8LjPGOq0MgOncL6r4cO6tKSnjl+4YHaFlx1MkX2HEbD8wX5vPtBJ5VxMVwSozKfaV0+YItY9xopo3Mb1bvgKKqVr3iRnwhXO1dvLBLF0msE6ceOUi2vepDC48+2syKnMjDo9ppWtNUiN7dLsuHzhisUuz1wcqTkNLhVByalvVy2pYL9pO/iBTBIZmFmTtfj++aSYhA8POLBl/68NnJVH0c8f2ZI3HcVYfI1F9zHbCFf9sjdoKUDZU+G+qyBo/8CUkqO5H9pfA3FUdcyTvRjtHqNam6mSLujh/qfQ5j8r6G8WTTEYeaE8zlMifxR3+IFefTaXYcD+D5Fe/VaPeNI4XHmLpPvrtOLE4JjDIHyut7X0vfjeqKOJ8cw0hbBTV0rJac6Bvinm0du4VC0EjgtbK0YVmOo4WUHkamjp5SA9o45KuSphaSxxx2Z/gKMx2wsRjcTJKkTIjEWaXqaBQt7e1ra/CtFk8cMYa43I2Y/pZj6eWeUvaLA7cPDeqfYW6EWHszkyuDcX9hT2qvbpxOunKopqx0mAwH581fBQsjxdifx5eqa7Y2lHAn0nWLdVYwLs5P2QvP5UiKJzz9urXsT5pmRt+7Xq1ngp7BYNMFH63idCt+hhDZhEH1yJfi55ngB3XNVveZndXHxOV7az4KNkbYG9bLwbna+oePzJZt4tpPJs1ZJNGnkFlHAKCSo79EBv2mu6eINqS1v+I+c1xUyudShzv8j++QSnZW3UwmGCKgkmZ+k19lNAFv942F7DhfiCKfLTumkuTYDDxKniqGwxWAu4m/gNixxLidpS2LFyOJOiIPAaD5mmHqqZmzmUoCaqfbPkPnmV6fsjZyYaJYU4LxPMk8Se81iyyGRxcVuwxCJgYFspaaihCKEIoQihCKEIoQihCKEIoQihCk9vYjDiTosdDof0cwB1HYSvWVhzAuDx0varoGyaOlCd4+YLOqHRaWjO3cf6xHJKzunhZtcNixf7pKt5WBDDzvT/rJWd4z0SPooZO6fyPstW3NiSnAKjgGTD8CuoZALac7hbadq99cQzsE5Iydz+c0yeneacA5t2ax/XJfvo72wXU4VzfKLx/h5r5XFu491eV8Nj1g15o6OnuOrOrLcnMuxGiYyYNxGTq0TC8LHwGsZ7191TicPGjKL+Ov98VSadzDpQm3hqPtw8kLvEI+riongP3iM0R8HXQfvWo+m0sYzpfg+Xsj6rRwlBb45jz97JthsWkozRurjtVgR8KQ5jmmzhZUte14u03SnfHAPPhyka3Yumndmsfde9PpJAyS7thU9ZGZItFu0c07AqZVLFj9sQQfpZUU9l+t5KNT7qayGR/ZBKVJPHH2nAJedp4jEaYaEov+NOCo8Vj9pu69hTeqjj7x1zsHqcuaT10smEbbDa70GZ42WrZmxUiYysxlmPtSv7Xgo4IvcKXJOXjRGDdg+YpkVO1h0ji7afmA3KA3gxz7QxYjj1UNkiHL9Z/O1/ACtWCNsEWk7efb5rWPUSOqJtFuWQ9/mpU+3d23nEUKusUEKABjqSbAXtoLADiSNSaihqWs0nEXcSr56R0miwGzWj58uln9j7Nw+s2I6Uj7Ia/+WPUeZp/XVMnYbb54pHUUkXbdfw/QVNu3iBKmeOLoYOEa2ALdrkDQDkO3U9lRVDdF1nG7tfsrqZ4e27W2bq905qdUooQihCKEIoQihCKEIoQihCKEIoQihCybU2bHiYzHKtweHaDyIPI0yOV0btJqXLE2Vui5eebW3HnjJMYEycrWDDxB0PkfIVrRV0bu1gVjTdHSN7P3D8rFhvXsOeouJS3LI5X3EFT7qY76eTPRPEf2lN+pjOGkOBt7L72d6xFiUxAw0os12CROAQdGsLaXBOnC/ZXknVujLNIeYXsZkbKJNA8AV6oZly5iQFte50+dYdjey+guLXS+feDCro2Ii7wGB+V6aKeU5NKSamEYFw80mnk2VKbkxBvvLeM+9bVSBVtFsealcaJxvhfbl+RZbMLsXDyC8OJmI/5eJcj8xpbp5G9po4tHsmNp4nC7HHg4+64YvZ2BjNp8QxP3ZMS5Puz3rpkk7sWN8mj2XL4qduD3Hi4+6+sBtHZsJ+iMKHtC6/xWv8a8fHVP7VyvY5KSPsWCcYfbGHk0SeNj2Bxf3XvSHQyNzafJUtnjd2XA8Vn3nxjR4d+jVmkcZUCKWNzxbQHgNb+HbXVMwOkGkbALiqkLIzogknK2K82wC4rD36KGVGOhfoWzW+6Lr1R4C/DWth/VSdpwPhcLDj66PstIO2xvyQdl4zEHrRTue2QN83sKOthjyIG79I6meXMOO+/qqXYO4liHxJBA4RqdD+I9ncPfyqOavwtH5+yug6OxvL5e6uVUAWAsBwFZi1l+0IRQhFCEUIRQhFCEUIRQhFCEUIRQhFCEUIXxMmYEAlTyItcd+oI94Neg2K8IuFNbTn2lDfo1hmXtCEP5rnA91/KrI20z+1cH8clDK6rZ2bOG7HmpnHbf2i2hEkfcsJX4lSfjVrKemGVjxUL6mqOdxwShsFiZzcxzyHtZXb4kaU8PiYMCB5KYxyyHEE+aa4DcnEye0FiH6xufILf4kUh9dE3LFUR9HzOzw+eC3YrdnD4cqjvLPO3sxR2W/eeJVe8nt42pbaqSS5ADW7Tj/aa+kiisCS5x1DD+hxW3AbiKTnkcxk8EiJ6t+Rd7lu/QClvrzk0X8T7BNj6OHacbeA9zmsmL3PXD3Yo08PPISsqDtA9mQeQNdtrDJhfRP4PqEt9CIsbaTfDAj0P4X4Ny4p4xLhMTmU8M4v5ErYqe4rR9a5jtGVuPggUDJG6UT7jx+eiS43dPFR8YS47UOb4e18KpZVxO123qV9FM3Nt92P7/AAuGFkxcGidPH3ZXA/hIt8K6cIX52PkuWGePs6Q8+Sf7P2/tNtFiMne8JA94yipX09KMSbcf7VcdTVnANvvH9BVWy48Y/WxLxoP8OJdT+JiTb9331DKYRhGCfE+3v5LQiE5xlIHgPU4/jzTmp1SihCKEIoQihCKEIoQihCKEIoQihCKEIoQihCKEIoQihCKEIoQuWKDlGEZAe3VLC4B7SOddNtf7sly69jo5pVu5sP1fPJI3STyHryd3IC/Af/eAFPqJ+ss1os0ZBT01N1V3ON3HMp1UyqRQhII9hPFijPA6pG+ssZBsTzItwPO/I35G1VGdr4tB4uRkVIKZzJdOM2BzCf1Kq0UIRQhFCEUIRQhFCEUIRQhFCEUIRQhFCEUIRQhFCEUIRQhFCEUIRQhFCEUIRQhFCEUIRQhFCEUIRQhFCEUIRQhFCEUIRQhFCEUIRQhFCFF7F3jnbHHDSlSuaRRZbG6Xtr4LWjNTMEPWN8PysyGrkM/Vuyx/Cc737VbDYfpEIDllVbi411OngDU9LEJZLOyVNZMYo9JuaTbm7zTYmcxSlSMhZbLbUEfyPwqirpWRs0m7VNR1b5ZNF+xM99NsvhYkaIgOz21F9ACT8bUmjhbK4h2Vk+tndCwFuZK37u4mSXDRySkF3GY2FhYk5dPC1Kna1sha3IJtM9z4g52ZTKkp6KEIoQlO9n1Of8Bp9L3zd6nqu5duU96MT1Z/FPk1V9I5t4qPozJ3BW9Zq1FFek09SH8TfIVo9HdpyzOk+y3enu6H1OH8P8zU1V3zlVSdy3cnFTqlRO+e8k+GnEcRUL0YbVb6ksP5CtKkpo5WaTtvssqtq5IpNFtsvdWcLXUHtArOOa1BkorC7zTtj/VyV6PpnS2XWylra+VaTqWMQaeuwWWyrkNR1eFrkc1cVmLVRQhFCEUIRQhR3pMP0MX7T+k1odHdt25ZvSfYbv8AQppuOf7lD+//AKjUms753DkE+h7hvHmV+YHemKbEDDxq5PWuxFh1ezmfcKH0r2R6bkMrGPk6tt96Weks/QxftP6Wp3R3bO71SOk+7bv9Cmm45/uUP7/+o1JrO+dw5BPoe4bx5lPalVa822wOg2qr8AZI28msrf1VsRffS28D+MViTfx1gPiPzh7ph6T8RpDGOZZvcAB+Y0ro1uLnJvSjsGt3n55rBhoPVNqRpwXqL45owv5qY53W0pO/nfkltb1NWBqw5W5rv6TJ7ywxDiFLW/GQB+Q1z0c2zXO+YLrpN13NaNnP+k33g3gGAjjw8YDSBABf2VUCwJ5m9tB3HzRBTmdxe7K6pqKkU7Qxudkmk2/tKJBO6Dozb2kFteF7HMt++qBT0zjoNOO/4FKamrYNNww3fCq7d3bS4yLOBlYGzrxsf5g8jUFRAYXWPBaNNUCZmkMDrUdgN+5grmQIzZR0YCkDMTz14Aa/DnWg+gZcBt/FZsfSL9El1r6kxj2hPPs/FNOCGFwt0y6ZVPDmLk60kxxsqGBnO6eJZJKZ5k5W1BfHox9mfxT5NXvSObeK86MydwXHaW92IlnMOEUWBIUhczPbiddAv8tb9nUdHG1mlKuJK2V8mhCP2le9G1ZpUSHEx5Jo2J4WDKw0PE8xy0+VPpomNJdGbgqeqme9oZILOHJXW5/1OH8P8zWZVd85a1J3LdycVOqV5l6SfrQ/Yr+Z62ej+64+yweku+4DmVdwbawwVR6xDwH/ABF7PGswwS37J8itcVEVu0PMLz/ZrhtqZlIIM7kEG4IJaxB5itWQEUtjsHoseIg1dx/sfVWe9m8YwagKA0rXyg8ABxY25d3PyrOpabrjjkFp1dUIBhmVOzbe2lAomljHRkjQqANeXVOZf3qrFPTPOi04/OB4KN1TVxjTe3D543HFWmx9pLiYVmTQNxB4gjQj31nSxmN5aVpwyiVgeFJPtraU7MYIQqAkAhRrY29pzZvIVeIKZgGm7H5sWeaireToNw+bV+7C3um6cYfFKAS2W+XKyseFxwIOnZxvrRNRs0NOMogrn9Z1co8OK7+kz9DF+0/pNcdHdt25d9J9hu/0K+Nm4nER7Nw5wyZ3LsCMubq5pNePaBXUjY3VLhIbC3suY3ytpmGIXNz5YqS2PiJ0xGeFc0vW6uW/H2tL1dK2Mx2ecFnwukEl2D7sVQ73TSvgcO065ZTK2YWtwzhdPC1SUrWNncGHC3srKtz3QMMgsb+/osmzdvYlcMkOGiYiMN0jhC2pZmsOQFjz192rJKeIyF0hzyF7JcVTMIw2IZZm19adbp73NMzR4jKCFzK4Fr6gEEduvLvqaqowwBzPJVUlaZCWyeaX+k2C0sMo4lSt/wABuPzmndHOu1zT8ukdJts5rhs5f2uW25/WtoYdRqLQ3HcfpG/ytXsLeqp3E+PtzXk7uuqWAeHvyXb0hjosTBOOOUHzja/9Qryg+6NzPmIXvSP2Stf8wN/Vctqn1jayKNQGjA7wgzn+dexfx0pO/wDOC8l/krAPEfjFZNvDpNplW1BliWx7OoCPiffTIPtprjYfVKqPuqrHaPReh7ciD4eZTwMb/lOtZEJtI0+IW1M0OjcDsKivRlIellXkUBPkdPzGtLpEfY0+Ky+jD97h4Jd6PoFfFrmF8qFh4iwB/wA1Or3ERG2spHRzQZRfUPZX29n1Of8AAayqXvm71sVfcu3KU3FkK4fGMOIW48larq0XkYPmpZ9AbRyH5kVz9GUQ6aVuaxgDzOv5RXXSJOgB4rnoxo03HwWz0nRC0D87svlof5fGl9HHtDcm9JtFmneqHc/6nD+H+ZqSq75yspO5buTip1SvMvSQf72P2K/metno/uuPssLpLvuA5lM4/R8pAPrB1F/YH/dST0if9fyqB0YP9vwkWw8P0W0UjvfJKy37cuYX+FVTO0qcu2gKSBujUhuwn1Xfe/En+0SSuYRmMBfvAANl4HiWI864pW/+Psvf2XVY/wD8m+dre637Y3pkxELwnBuucWvdjaxuDboxfUUqKlbG8O0xh82p01Y+RhYYzjv9lu9H0hiw85kuiq2YlgRYZRc68urS64aUjdHEpvR50I3aWAB17l+/7ZySuUwuFaS3Mn4kAWUeJo+iawXkfZH17nutEy6mtsTyvjY3mjEUl4+qDfg2h4n/AOiq4msEJDDcYqKZz3TgvFjhzVL6TP0MX7T+k1H0d23bld0n2G7/AEKa7j/UYf3/APUak1vfO4cgn0PcN48yo7c3/eH/AMn860Kv/j+SzqP/AJPmnvpM/QRftP6WqXo7tnd6qrpPu27/AEKY7iRgYKMgcS5Pec7D5ADypNabzHhyTqAWgHHmvN8Scs0oXSzuB4ZjWw3FgvsCxXG0jrbTzV76R8Pmwyv9yQE+DAj5kVl9HutIRtC1ukm3iB2H9Ka3DiMmMVjrkQn3KEHuDfCrK06MJA1n9qGgGlOCdQ/Sf+kzD3hik+69vJlP81FS9HOs8jwVnSbbsB8Ul9H8RkxZkbXIhN+82UfAmqa4hsWiNZU3R4L5i46gv3frBvBixiVHVcqwPIOltP8AKD369leUTw+LQOrkV5XMMc3WDXbzCa7a3zhkwzrHm6SRSuUgjLmFiSeBsL8L8qRDRPbIC7IKiavjdEQ3M/hHo22cyrJOwsHsqd4F7nwJIHkaOkJASGDVmjo2IgF515JL6N/rX/pN81qnpDuuPupeje94H0VzvZ9Tn/AazKXvm71rVfcu3Ka9HEQePEoeDZQfMMKs6QNnNKi6NF2vCUbtbQ/s/FOkwIFij2HAg3DW5j+RBqioj+ojBZvClpZfppSH7ivvfPbQxbKYg3RR6ZiLXZ9eHgnz7q8pIDEDpZnkF7W1AmILchzP9K33P+pw/h/mazarvnLVpO5buTip1SvMvST9aH7FfzPWz0f3XH2WD0n33Aeq9Jw/sr4D5VjnNboyXmWB/wB6/wDuJPm1bT/+L/1HosKP/mf9j6rfv5gnhxKYxR1SVN+QdDpfuIA9xpVE8PjMR8fIptfGWSiUZYeYTuHfnClQWLq3NchPxGhqY0EoNhZVt6RhIubjgv3aWO9d2fNJErC97A+0QjC+g5kA6d9EbOpqGh3y6JJOvpnOYPgKQ7jbwQYaORJTlJbMGykgiwFuqCdLX86qraeSRwLVHQ1McTSH7bpXtnaHrGNWYAhGZMlxYlQ1s3gSDToo+rhLdeN0maXrJw7VhbddU3pM/QxftP6TUXR3bduV3SfYbv8AQpruP9Rh/f8A9RqTW987hyCfQ9w3jzKhdk4wYTHM8oNleRWsNRe4vbny8q05WGWCzdgWVFIIagl20p5vzj0xGEgljvlaU2uLHqhlOniKloo3Ryua7O3sqq6VskLXNyv7hPdxvqMP7/8AqNU1Z37uHIKuh7hvHmV5pj/08v7R/wAxrZZ2G7hyWG/vHbzzXseLwqSoY5FDKbXB4GxuPiK+ea4tN2nFfSvY140XC4XDA7JhgJaKJUJFiQOVdPme8WcbrhkMcZu0ALtjMGky5JFDLxseGnCuWPcw3abLt7GvFnC4XLAbLhgJMUaoWtew424fOunyvf2jdcxwsj7AstGIgWRSjqGU8QwuD5GuGuLTcLpzQ4WcLhLE3YwgOYQJfvuR7ibU81UxFtIpApIQb6ITYC2gqdUrDgtjQQtniiVGta4HLs+FNfNI8WcbpLII2G7WgLXiIFkUo4DKwsQeBpbXFpuExzQ4WOS4YDZsUF+ijVM1r2HG3D510+V7+0brmOJkfZFlz2hsaCcgyxKxHPgfC41tXUc0kfZNl5JBHIbuF1+NsTDmMRGFMgOYLbS9rX8deNHXyaWlpG68+ni0dHRFlrwuHWNQiKFUcAOArhzi43OaY1oaLNyXWuV0sGO2NBM2eWJXa1rkctdPiaayaRgs02SnwRyG7mgrcotpSk1YU2LAJOmESCS5bNbW54nx1ppnkLdG+CSIIw7T0RfatksYYFWAIOhBFwfEGlgkG4TSARYpV/sthL36BPjb3XtT/qprW0lP9HB/qE0w8CxqERVVRwCgADyFIc4uNyU9rQ0WaLBLpd28KzZ2gQk6nTQ+IGh91OFTKBYOKSaWEm5aF2xOxoJGDPEhKgAG3ADgB3C9ctmkaLArt0EbjctC647Z8U4CyorgG4B5GuWSOYbtNl1JEyQWcLrphMMkSCONQqjgBwFzc/E145xcbuzXrGNYNFosFkx+w8PO2eSJWbt1B8yLX867ZPIwWaUuSnikN3NxX0+xoGjWIxIY0N1W2gJvc+Op99AmkDi4HEoMEZaGlosFpwmGSJBHGoVRewHAXNz8TXDnFxu7NMYxrBotFgsL7u4UksYEJJJJtxJ400VMoFtIpRpYSb6ISre7er1U9FEA0trknggPDxY9nn4upaTrfudkp6ys6o6Lc+SQtjdqqvTnPktfVI+HetswHlVWhSE6AtfeeeSj6ytA0ze24cs1SbpbzDFgxuAsqi+nBh2jstzHePKSqpeqxGSupKvrvtd2lR1GrUUIRQhFCEUIRQhFCEUIRQhFCFEb5bIxk0+aAOU6MDqyBRe7X0LDtGtaVJNCxln2vfZf0WVWwzvkvHe1tttvirVBoPCs0rVC+qEIoQihCKELJtXaC4eJpnvlW17C51IAt5mmRRmRwaEuWVsTC92Sybu7bGMR3VCgV8oubk6A304ceGtd1EBhIBN8EumqBOCQLWKR76bKxc0ythwxUJY5ZAutzyLDkRVVHLCxhD877L+ikrYZnvBjva223qqzCKRGgbiFAPjbWoHEFxstFoIaLrtXK6RQhFCEUIRQheWbFX1raIZtQZGc+C3Kjw0UeFbc38VPYbAFgQjraq52k+WXovU6xFvrywD1Xadl0CzAW7Fktp4AP8K3O9psdnL+lgdzVWG3n/af737wTYbEpHG4CFFYjKDxZgdSL8BUlLTskjJIxv6BWVdVJFKGtOFhzK+dlbw4nE4tCqsMNmYaR3FgpsWe2huBwI7K9lp4o4jc/dv5BcxVU0swsPsudXMrlvTvbKsxgw5AynKzZQzFvugG404cL3+PtNRsLNOReVVa8P0I9WvPHwXOfeDHYeFhiEIZgOikKrxuLqwXq+ze1wDpz5dCngkeDGcNYx+Zrk1NREwiQY6jh6YZKh3M2jJiMOZJWzNnIGgGgA7POpKuNscmi3YraOV0kek7akcuP2pOzGFMiBiAQqC9jbjJqeHEaVSI6VgGmbnj6KR0lZIToCw4eq+Njb04iPEDD4sXuwUkqAyk+z7PVKm48je9ezUkbo9OJeQ1krZBHL+/xgne++1JcNCjxMFJkym4B0ysefhU1HE2R5DtiqrpnxMBZt9Cp8byY2eNRh0YlB9LIqAkt2AEW4W0Av8Azr+mgjd/Ic8hdR/VVEjbRjLM21rduXvRJPJ0ExDEglGsAdOIIGnDXhyNKq6VrG6bPJOoqx8jtB/ArnvtvFiMNOI4nCr0YaxUHUlhzHcK6o6aORl3DX7LmuqpYpNFh1e6od45cQsIOGF5Mw5A6WN+OnZUdOIy/wDkyVtQZQy8WaksZtfacKl5BlUWuSsfPhWgyGlebNxPFZz56tg0nCw4J/uPtaXExyNK2YqwAIUDlc8PGpKyFkbgGquhnfK0l+1LcVj9pTSSCBMiI7KCFUXysRe8nHhypzY6VjQXm5IG30SHS1cjiGCwBOzVv9Fm2bvTiocQIMWLgkK11AZc3BgV6pXX/wA13JSRPj04vnmuIqyaOQMl/f4wXff2TFddQP7rZMxsvHMOftcbVzQiLA/5YrvpAzYi32YbNvmk+6s2MVbYZbxmQZzZTrYX9rX2bcKoqRAT/JnbDNTUjpwP4xhfHLw9FSb87bmwzQiJguYPmuoPDLbj4mo6KBkodpDK3qra6okiLdA539E4wu1AuDTEzH/hK7EDiSo4DtJNgO+p3RXmMbdpVLJrQCR+wEqRi2/tDGO3qwCqvJQml+F2k4nwt4VeaenhA6zHz9FnCpqZyerwHDmVs3f3slEww2LAzE5c1rENyDAaEHtHaOINwuekZodZEmU9a/rOrl+HxTTffasuGijeJgpL5TcA6ZSefhSaOJkjiHbFRXTPiYCzb6FIP9pMbPGow6Mci/SyKgJLcbAEW4W0AvVX00EbvvOeQuo/qqiRv8YyzNta1bp73s5aPEsDpmV7AcwLEDTncWHI0uqow0aUfkm0la5x0ZPNJdyepjlQ8euvmAf+2qaz7oCR4KWi+2oAPiF6lWIt5eWbc6+0yBzmjHuyA/KtuHCmx2H1WBPjVm20ei0eks/3pf2K/meueju7O/0C76T73h6leiYCBY40RRZVUADwFZD3FziStpjQ1oAXlu7nX2hGW5ysx8es3zFbdR9tObbB6LAp/uqRfafUq735jDYKW/LKR45h/wBbedZlEbTD5qWtXAGB3DmsO4Uyx4JnY2VXck9gAFzTK1pdMAPBKoHBsFzlisw3wnxDlMJhswHNz7ibEBfDNXf0ccYvK63z5qS/rpJCRCy/z5rU5tyWdsWjYhFSTqaLwtm0PtNr58qshEYiIjNxj81KKYyGYGQWOHPeVU+kz6vF+1H5HqHo7vDu9Qr+k+7bv9Ctu4KAYKMjmzk/xkfICl1x/mPDkm9H9wOPMqR2ALbVAH+LN8pKvn/4vAeizaf/AJfF3qvr0lfWh+xX8z0dH91x9l70n3v/AF9SvTE4CsUreC833o2i2PxK4aHVFay9hb7Tn9UC/kCedbFNGIIzI/P5gsOqlNRKI2Zeu1XmzsFHhIBGDZUBLMefNmPzrMke6V9zmVrxxthj0RkFMnfGadymDw+e3Nr8O0i4CjxarPomMbeV1lB9e+R1oWX+fNal97ZsQ0wbEoscnRiwThlu1j7Ta3vz5VbSiMMtGbi/zUFBVulL7yCxtq4+JV7v19Rl/c/1FrLou+HHkVr1/cO4cwl3oz+ry/tf6Fp3SPeDd6lJ6M7t2/0Cw+k/2sP4SfNKZ0dk7h6pXSnaZx9F03ikI2ThgPtCEH+C/wA1FeQC9U/jzXtQbUbB/wDzyTL0dRgYS44tIxPlYfIUmvN5eCf0cAIb7SVL+kMZMYWXQmNWv3i4B/yiraDGKx2lQdI/bNcbB6p/6STfDxH/AJg/I1S9H947d6hWdJ923f6FMdw0AwUZHMuT/Gw+QFJrT/MeHJOoB/AOPMrzTaOk0ttPpHH+Y1sx4sbuHJYcmEjt55qi3s2dJg8V63GOoz5weQb7SnuJv43I5VJSyNli6t2dvwrauJ0MvWtyvfj+02f0gR9HcRP0lvZNst/xXuR5XpA6OdpYkWVB6TZo4NN/wlu4+ynnnOMkByglgT9t2vcjuFyb9tuw06tlaxnVN/oJFDC6STrXZcyuHpL+sr+xH5nrro7u+PoFx0n3vD1K9Jh9lfAfKsc5rcGS8q2tC+Bxue3B+kj7GUm9r+eU1uRObPDbwsfn5Xz8odTz38bjd8wTXeXegYvDskUbhQVMrNbTrDKosTqWt7jp2Ip6XqpAXEX1Kipq+ujLWA2wvf5tXfYWHaTZUyICWLNYDibZSR4kC1czODappPgu4Gl1G4DPFZNyd4ocMkkctxmbMGAJ5AWNteXxNMrKZ8rgWpVDVRxNIftS3bu0DiMWs2UqjZOjzcSga2bzIamwx9XEW68b70meXrJg+2GFt1/7VV6TPq8X7Ufkeoeju8O71Cv6T7tu/wBCt+4f1GLxf/UalVvfnhyCdQdwOPMqQ2D/AL1/9ab5SVoT/wDF4D0WZB/zP+zvVfvpK+tD9iv5no6P7rj7L3pPvf8Ar6lVe++0XgwvU0MjBL8wCpJI77LbzqGjjD5cdWK0a6V0cX268FIbpbZw+EzPIkjSHQFQtlXsF2BuTx8BV9VDJLYNIt88Fm0k8UNy4Enhl5qt/tddoYXEpCjhghFmAFywNgLMeNredQdSaeVheRmtHrxUxPDActamdydvxYXpElBGYghgpPDQqQNR/wDtW1lO+WxaoaKpZFcPS7e7aXrM3TBSsZTLGTxZVJu38RNNpYurZoXxvikVkvWv07YWw4L0HfOEvgpgoubBvJWDH4A1lUjgJm3WzWtLoHAfLG6ktyt4o8MjROrEu4KlQDxAWxuRbgKvrKZ0hDhqCzqGpZEC12s/pavSf7WH8JPmlL6Oydw9UzpTtM4+iaYnZpxGy4kUXcRRso7SqjTxIuPOktlEdUScrlPdEZKNrRnYJDudvKmFV4ZgwGYsCBex4MpHEcPnVVXSulIcxSUVW2IFj/ngskpbaeOuqkISL3+zGvEnsJ18zauxamgxOPqlm9VPgMPRUfpM/QRftf6GqTo7tnd6hW9J923f6FMtxfqMX7/+o1Jre+dw5BOoO4bx5leZbU/TzftH/Ma2Y+w3cOSw5e8dvPNe0yIGBBAIPEEXBr50G2IX05AOBS0buYW+b1eP+EW93CnfUy2tpFI+lh/0HkmarYWGgFIVCy4vZcMpzSQxu1rXZATbs1HDU++mNlewWa4jilPhjebuaDvC1AUtNSDF7ewbu8E+W6MQRIl1JHMGxHvsaqbTzNAezXsUb6iBxMcmraMPZTm+G2cOYRhsMEsWDNkWyi3LQAEk24dlWUkMmn1kn5zUVZPF1fVxW4ZKl3IwhiwceYWLXe34j1fhao6x4dKbK6hYWwi+vFbpth4d3ztBGWOpJUa957T40oTyAWDj5prqeJx0i0X3LpidlwyENJDG5AABZASAOAFxw1rxsr2izXEcV66GN5u5oPBdcXg45QFkRXANwGUEX7deetcte5hu02XT42vFnAHevrDYdI1CIqoo4KoAAvqdB30OcXG7jcr1rGsFmiwXCPZUCv0qwxh7k5wgDXPE3te5uffXRleW6JcbbLrgQxh2kGi+2yMXsuGU5pIY3a1rsgJt2XI4a0NlewWa4jih8MbzdzQd4XXF4OOUBZEV1BuAygi/C9jz1rlr3MN2my6fGx4s4A71k/sDC/8A80P/AMa/9KZ9RL/sfNL+lh/0HkFpweAihv0UaJfjlUC9uF7ca4fI5/aJKYyJjOwANy4YnYmHkbO8EbMeJKjXx7fOumzyNFg4rh1PE43c0E7l0xOy4ZLdJDG+UWXMgNh2C40FeNle3suI4rp8Mb+00HgtYFLTEuGwcNmz9BHmve+Qce23C9O+oltbSPmkfTQ3vojyWnGbPimt0sSPa9syg2vxtcacK4ZI9nZJC7fEx/bAO8LtFGFUKoAUCwAFgAOAA5CuSSTcrsAAWCyYzY0EpzSQozfeKi/v4mmMmkYLNcUt8EbzdzQSu+EwccQyxoqDsUAfLjXDnuebuN10yNrBZosjF4KOUBZI1cA3AZQRft1560Ne5hu02Q+NjxZwB3r6w2HSNQiKqqOCqAALm50Hea8c4uN3G5XrWNYLNFgsj7DwzEk4eIkm5JjW5J4nhTBPKMA4+aWaaEm5YPIJhSk5FCEUIRQhFCFB787JiQmVUs76sczanttewrUopnn7ScAsqugYLuAxKybi7LimYtIgYrqLk28xex867rZXsFmmyVQwsebuF16PWQtpFCEUIRQhFCEUIRQhFCEUIRQhFCEUIRQhFCEUIRQhFCEUIRQhFCEUIX//2Q=="/>
          <p:cNvSpPr>
            <a:spLocks noChangeAspect="1" noChangeArrowheads="1"/>
          </p:cNvSpPr>
          <p:nvPr/>
        </p:nvSpPr>
        <p:spPr bwMode="auto">
          <a:xfrm>
            <a:off x="155575" y="-14446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AutoShape 6" descr="data:image/jpeg;base64,/9j/4AAQSkZJRgABAQAAAQABAAD/2wCEAAkGBxQREhURExMWFhUXGRwbFxgYFx0dGxwgGhwgIBobHx4cHCggGhslIRggIjEkJSkrLi4uHB8zODMsNygtLi4BCgoKDg0OGxAQGywkICYvLzcsLDAsLCwuNzAsLywsNDQsLCwsLCwsLDQsLywsLCwsLywsLCwsLC8sLCwsLCwsLP/AABEIAOMA3gMBEQACEQEDEQH/xAAbAAADAQEBAQEAAAAAAAAAAAAABQYEAwcCAf/EAEoQAAIBAgMEBgYGBwUHBQEAAAECAwARBBIhBQYxQRMiUWFxgQcUMpGhsSM0QlJysjNic4KSwcIVJFOisxY1Q2PR0uGDhJPw8VT/xAAaAQADAQEBAQAAAAAAAAAAAAAAAwQFAgEG/8QAOREAAQMCAgYJBAICAgMBAQAAAQACAwQRITESQVFxgbEFEzIzYZHB0fAUIqHhI/FCUjSCJGKiknL/2gAMAwEAAhEDEQA/APcaEIoQihCKEIoQihCKEIoQihCKEIoQihCKELzb0i4pziBFc5FQELfS5Jue86AeVbFAwCPS13WJ0i9xl0dVlQ+jzEu+FIck5JCqkm+mVTbyLGpK9obLhrCs6Oe50RvqPsqioleihCKEIoQihCKEIoQihCKEIoQihCKEIoQihCKEIoQihCKEIoQihCKEJa+24ulECEyS81TXLbiWPBQO837qcIH6OmcB4+iQahmn1YxOweuxMqSnooQlGK3ihVjGmaaQcUhXOR4kdVfM1Q2meRc4DacFM6qjB0W/cdgx/Q4rl63jZPYw8UQ7ZZCx/hjH9Ve6EDc3E7h7+y806h2TQN59B7qQ9IEDCSF5Cpdo7NlBC3VjqAdftVoULgWuDcrrN6QaQ5pdnbl/ae7rQYhcHCcOYusXZxIG161hYqdNB2Gpal0Zmdp31WtbYq6Vsogb1dtd732+CZHauJj/AE2EYj70Dh/8pyt7r0nqondh/nh+cQnddKzts/8Ayb/jArbs7bEOIuI5AWHFTcOPFTYj3UuSF8faHt5psc8cnZPDX5ZrfSk5c8RKUUsFLW5La58LkXNetFzZeONheyy7M2tDiReJw1uI4MPFTqK7khfGfuCXFMyUXYfm5bqWmooQihCKEIoQihCKEIoQihCKEIoQihCKEIoQubTqGCX6xBIHOw4nw1A8xXuibXXmkL21qF313qOZsPA1gNJHB1vzUHkBzPl46dHSCwe8bgsmtrDcxsO8p1uPsX1eDOwtJJqe1V+yvd2nvPdU9ZP1j7DIKmhp+qjucynG1Npx4dM7k6myqouzHkqjmanjidIbN+b1TLM2IXd+zuStdnzYvrYkmOI8MOjWJH/Mcan8K2FO6xkWEeJ/2PoPUpHVSTYy4D/Uep9AnOGw0cKZUVUQcgAAO/8A81O5znm5NyqmsawWaLBItpb64aK4RjK3YnD+I6W8L1VHQyuzw3+ykkr4m5G58PdSe920TiYsLOVClhMLA3tlcDj5VdSxdU57N3JZ1XKZWseRa+l+CvvE7WaDD4WPo4ZFMZYrKmb7Z4ai1eNhD5Hm5GOo21Lp8xZFG2wItrF9af7B30ifLFIghOgUj9H3Dlk+XfUs9C9v3NN+f7VdPXsdZrho8v0nu19lwTDNKACPZkByup5WcajWpopXswb5ZjyVU0Mb8X+eR80vOMmwek5M0H+MB10/aKOK/rDzFN0GTdjB2zUd3sk9ZJB3mLf9tY3j1CfxSBgGUggi4INwQeYNSkEGxVgIIuF57vts58LOuLhJQOdSv2X5+TDW3Mhr8a1aOQSs6t+NuX6WNXROik61mF+f7VNupvCMXGcwAlT21HPsYdx7OR8qjqafqnYZHJX0lT1zccxmnUEyuoZTcHgfn4EcLcqmIINiqmuDhcLpXi9RQhFCEUIRQhFCEUIRQhFCEUIRQhc8TOI0aRjZVBYnuAua9a0uIAXLnBoLjqUNsvakjQ4rGWJmlcRRKNSNOqFH6ocnvyk1pyRND2Rf4gXPzgsqKZxY+X/Imw/W66x4TZkGBtLi2zzcUgXrEHkW7T46fipjpZJ/tiwGs+3zyS2RR09nTYu1NGPn8tvVrNtMwYcTTizm1o11JZvZjHa3K/cTwrNbFpyaLMtvhtWm6bq49N+ezxOpJQJcPMuNxaq4cZSVufVrnQDtXWzMNb93Gn7JGdVFhb/6/ewKX74n9dML3/8An9bT6J1tLbSx5UjHTSuLpGhGo+8TwVP1jU8cBdcuwAzPzWqpagNsG4uOQHzAeKkt7dsMWTCzMQoAbEdHzJFxGt/sjTU9oJ4Wq6lhFjI3/rfms+rnNxE84f5W5BKN293mxb3sUhBOZv6VJHWbvtYe4VRUVAhbbNympqYzOvk35gmW/mEjiTCpDbIvSgWN+aE69t70mie55eXZ4eqdXxtYGNZlj6Km3ew0UmDgjkVHPRg5WAJsb62NRTue2ZxaSMVoU7GOha1wBwUfvru+uFZXjv0b3GU65SOVzxBHyNaFHUGUEOzCzK2mERBbkVyfGO+DSTOc8D9ETf2o3FwGB0YAjLYi1uNdBjWzFtsHC/ELkvc6AOvi024HbyVdsTeiN8J0kzLnTqsq2ux+zZO1uzhe/IVBNSuEuizI/M/BaUNY0w6T8xq5YeKzbOabBDppECYaRiWiFycPmPVb8J+0BoCdOddyaE/2tN3DX/t81bUuPTpxpOFmHV/r+tuzUme8+OWNFMsfSYaTqyW1K31Vh2g+NwcttaRTxlzvtNnDJPqpAxv3i7Tn8+arKUh2ecJImNwz9NhweuR7SqfaDDnYa8NCBcC16vMnWtMUgs7Vv8FniPqXCaI6Tde22u/zenWCx3q+0pMPf6Kezr2Bityf3iD52qZ8fWUwfrbhwVTJOrqizU7Eb/3iq6oFoooQihCKEIoQihCKEIoQihCKEIoQpLeXavSYXGZD1UdYvE5lz/my+VX08WjKy+sX52WdUz6UMmjqIHK/OyQYPbTYfCRQQreeQs1wLlMxKrYc3YDTuPeKqfAJJS9/ZHzyUjKgxwtYztG/D9p1uvumVcYjEnNLfMEJvY/eY/ab4DvPCapqwRoR5bfbwVNLREO6yXPZ7+KZbOHreIOJOsURKQDkSNHl79eqPA0mT+KPqxmcT6D1KfH/ADSGQ5DBvqfQLZt7aHRII0UPLKSkaHgdNS36ijU/+aXBHpG5NgMz81plRLoDRAu44Ae/gNaU7K2W+ziWsJY2W7sAA6so4DkUPIEi3zfLKKgWyOrZ/fNIhhdTG+YIx23HpsGpJ5dkrLiGKf3mZjncFrQRZtQGYavYWAUWuBqKpExZGL/aNX+x3DVvUroA+Q6P3O1/6jeczu161Rw7sqwHrEjTW4IOpEvYBGlhbxvUZqiD/GLeOZ8yrRSAj+Ql3hkPIet1P+kTCJEmGSNFRQZLKosNcvIc6roHucXlxvl6qPpFjWBgaLDH0TvAbIw8mDgbERpdYluzdVl0v7WhXj21M+aRsrhGdaqjgidC0yAYAZ4fnUo/enaUbBMPA7vHGSc7sWuToApOuVR8/M6FNE4Xe8WJ1BZ1VKwgRsJIGs4/AtGyIYlwE3TGxmJaEXsWMdguXQ367Wt48q4lc8zt0NWfH9LuEMFO7T15cP2lOzZ3wWIR5IjddSrrY2Olxfgew0+RomjIafJTxuMEgc5uWo+i9XwWLjxMQdLMjgggjyKkfC1Yb2OjdY4EL6Bj2SsuMQUo2XCEaTZ0ozR5c0Ob7UZNil+1Dp22tT5SXATtwOvft4qaJoaTTvxGrds4crKb2hsjEbNkM+HYtEPa52H3ZF5j9b5VYyaOpboSYH5l7KKSCSldpxm4+Z+/JZttbSWafC4qMZfYUr91o3uR4WYW7rV3DGWRvjd4/kfpcTStfIyRvh+D+1f4PaGaeaA+1HlYd6sL/A3HhlrKdHZjXjXzC12SXe5h1cimFKTkUIRQhFCEUIRQhFCEUIRQhccbNkjd/uqze4Xrpg0nALl7tFpK812SxfZuLTiwdHPablf+w1sS4VLD4Ec/dYcX3Usg13B5ey2ROmy4wzKHxki3seEangD/AONSRbgL0sh1U6wwYPz8/CYC2kbc4vP4Hzz3J7OZYMFZmJxOIYLc8c8unLhkXs+5UzdB82HZbyHuearcXxwWJ+93M+w5J/gcKsMaRLoqKAPIcake8vcXHWrI2BjQ0ZBKd316eSTGtwa6Qd0an2vF2BPhaqJ/42iIbzv/AEpqf+RxmOvBu4e5/Fl02/inYrhITaSUHM1r9HGNGcjtPAd57q5gYADI7Ifk7PddVD3EiJmZ/A1n0CxQwnZpsLthGOptdomOmY29pD8KaT9Tn2+f7Sw00uWLPyP1yWneHemLCHJYySfcBtbszHl8T3VxBSvlxyG32XdRWMhwzOz3UVj99MTIbgrGOWVRf+Jr/C1aLKKJueKy5K+V2Vh88VgTB4rFkHLNL2FrlfJm6o99N04YsLgJWhNMb2J+eOCZQbvRQN/fJlUhc3QIbu2tgL9pOlh7xakuqHPH8I4nJObTMjP8zv8AqMz88PNO5tmzMY58uScC8EQC5I0Qey97Elr2uPZLLwqYSsALL3brOsk7PmKqMMhIfazv8RhYAajvywyNl2TDw7STO6lWcN0baZoyuhQkWzD7QDX4ta1hXJc+mNhqz8fmWHguwyOqbcjPLwtq9cfFcdzcLLhJ3w82gkBaPUEMUIDEa6GxGhF7AcLV1VvZMwPZqz4riiY+GQxv15cE53qQoiYpR1sO2fTiUOki+am/7oqemN3GM5Ow46vyqasaLRKM2m/DX+Fi3nx0mFePFx9eJwFlTkeaMOw2uL/hBvpTKaNsoMbsCMil1UjoXCVuIOBHL5uU9tLZUbtDisL+hklRWT/DYsBa3IG/DkbW0IquOVwDo5O0AcdoUUkLSWyxdkkXGw3TBMYRtogcCOjPh0Yb8yilFn/h/n825J3Wf+d+PxfmrqsxayKEIoQihCKEIoQihCKEIoQsuOdTaJv+LmQfwkn4Cu2A9oalw8jsnX7LzvdDFjDPiVlHsR5mHa0TgAeOZrVr1TOtDC3WeYWLRv6pzw7UOR9ytO6mzGxMxx2IPVzi1+DuSAoH6qmwHeAORriqlEbOqjzt+F3SRGV/XSZX8z+lU7R+kxuGj5RrJKR36IvuzmoY/the7bYevotCT7p2N2An09V23qxBTCyZfaYBF8ZCFH5r+Vc0zQ6UXyGPliuqtxbCbZnAccEwweHEUaRr7KKFHgBalPcXOLjrTmNDGho1JPu2RJ02MY/pXIUnlHGSq+F7FvOqKj7dGIah+Tj+lNTfdpSnWcNwwHvxWbG7wrJiUw0ZuoLNIwIIIRSwUEH7wF/C3Ou2U5bGXu4cVw+pDpRG3jw1eea88wkbYqdVLdeV9WPax1Pl2VrOIiYSMgFjMDpXgHMlUOLxMeGgEmFjVW6V4+kdQ7nIPaGYWW55AWqRrXSSaMh1A2GAxVj3Nij0ohY3IucTgm+P3tMMCIc3TtBG4cgFSWGt7EWOh99Tso9N5P8AjciyofW6EYb/AJaIN1KPtrpMzyizqv0HR9QI9wc1tbnQXvyHhVwg0bBuWu+NwoDUady/P/G2FjtVNsffGMxvJiVHSoLXULdlZh1VBN/EcLKCTUctE4ODYzgVdDXtLS6QYjkdnqvvAxRwY5YoQckoWRQOCMqNmBB1W6Pe3IlRaxFePLpINJ+Yw34j1C9jDY6gNYMDjuNjfdgeScb19RIsRzglRif1WORx4Wb4VPTYks2g+eYVFX9rWyf6keRwP4KcYiEOrI3BgQfAixqdpINwqnNDgQUi2IqzbPWObgFMT35dGxS9+R6oN6qmJZOXM3jjipIAH0wa/ceGCmdjq+Axvq0uschAB5HX6Nx2ENYHs17BVktqiHTbmPhCgh0qefq35H4D89l+bsr020ZJz7KNK5PLW6qPc3wr2oOhThm2wRTDTqi86rn0XoeFmEiK44MoYeYvWQ5uiSCtlrg4AjWuteLpFCEUIRQhFCEUIRQhFCFI7/4pofVpk4pIT46cPAi486voWh+m06ws7pB5ZoOGopXtnZIxU8E0JIjxdg5H2SurX77Jw+8p7afDN1THNfm3L58wKnmh62Rr2ZPz4f15haH2gJsdBhIRaCBuA4Exg3PgLWHfc9lcCPQgdI/tO9Uwy6dQ2JnZb6JpjNpRwbQZpWIHq6BbKzcZGJ9kG3AUlkTnwAN/2PIJ75Wx1JLv9RqJ1nYs2394MPIIArsQJ42b6Nx1VJPNddQNBrXcFPI3SJGo6xr4rioqY36IB/yGo6sdiYYverDdG+WRs2U2+ikGttOKaUltJJpC4/I9051ZFomxPkfZITtqD1LD4XM/WWNZgqsCFteQ6r1hfQ5eRNVdRJ1zpMNdt+pR9fH1DIschfDVr1Y7MFPwYuLDYwSRXaFWsL3uVZbNoQDexNr91VljpIbOzPNRh7Ip9JvZB/C47RwL4WRWQ3S4aGUahgNVIPDMOY/lXUcglaQc9YXMkZhcCMtRTPbe0PWMFHJkCETsGCk5SSmYsAfZuTe3bc86RDH1cxF74eqfPL1kANrfd6XX3t/Y8snRSRqHCwRBlUguLLxK8ba8r15BMxt2uwxO7zXVRA92i5ov9o3+SmKtUC17JgjeVRK+ROLHKzXt9kBNbnt5a+B4lc5rSWi54eqZE1rngONhxPJWeK2phVxOGljd+qzh7rKdGRtest2N7dpsByFZzYpTG5rgNVstq03zRCVjmk674HYdueNlr3i3gw0uFmjV2LNGwUdHINbaalbDXtpcFPKyVriNe0e6ZU1MT4XNBzB1H2W3D71YbIt5GvYX+ik421+xS3Ukt8B+R7prayK2JPkfZYdlr0+CxipqGkxGTQj2rldDqONNkOhMwnUG3SYh1kEgGsutxSfC4n+0MI0ba4nDjPG3NgP56WPflNPc36eW47Ls/nzWp2P+ph0T2m4j581Fc5H9TwFv+Pi9T2hP/wAPvc9ldAddP/6t5/OS5J6in/8AZ/L5+Srjd0EYXD349FH+UVmT967eea1abuWX2DkmFKTkUIRQhFCEUIRQhFCEUISHe/AeswNEv6VR0iDty6EDxBI8SKqpZOreHHLIqSsi62MtGeYUnuftoxRYiI/ZjeWO/JlU5h56H+Ltq6rg03NcNZAPz5qWfR1Ggx7TqBI+fNa07hYdYlbFycGZYY/3mAJ95A8mriucXkRt3ngF3QNDAZXeAHE+6pvZ2j+PDfFJP+j1HnT7ncx+ldlU728j+0b2dWOKTlHPEx8M+U/mopcXFu0HldFXg1rtjm87eq4b7ba9XhyL7ct1XTQAWzE+RAt391dUcHWPucguK2o6plhmUk3S270hGH6OziARxsDe5jB7R1bg/Dwqmqp9Ead8L3PFTUdRpWjtjo2HBapNgwzYqWKZSC6JJEwNmFgEcdhsVBsb+1SxUPZE1zTkSDzC7NNG+ZzXjMAjkfnissuypMCjFnEkF0zRSBSshZjcIOIcCx5XN+NMEzZ3Cws7HEat/guDC6nabm7cMDrvs8fVL9u9EcAjQoEDYglkDl8rZCLG4upsB1eVNh0+vIeb/bna2v5ikT6H04LBb7sr31Hy3L83nwkiNHiUYWWOJSUbroculwNQDyNe0z2kGM7TuK9qmOa4SN1AZZhY9qN6xh1xRAEofopSBbP1cyvYaA6WPbTIx1chj1WuPDwSZT1kYl13sfHYfRdd2t38TMVniKxhWGV2PGxN7AA3ta1jYHUdtc1FREz7HY+C6pqaV9nsw8VaYhGOKwcTPnZFklc2A+zkFgOAu5t4cTWc0jqnuAsDYDn6LUcCZY2k3IuT5W9Vp3vky4OftZcg7y5Cgf5q4pReZvzLFd1htA7xFvPBNYUyqF7AB7qQTc3VAFhZIN38UseGmxDHqtPM9/GQgfKqp2l0jWDOw5KOmeGxOectJ3Mqcw+FOD2qqjRHJy/hkB08mFv3RVjn9dSk6xzH6UTWGGrAGR5H9pbiM20sblT2Scq24LGvPu018WtTm2pobnP1SHXqp7DL0HzzK9SwrqVGT2RdR+6SpHvFYjgQcVvtIIwXWuV0ihCKEIoQihCKEIoQihClt95pIDBi4+MbMrDkQ4Gh7upbxIq6ja1+lG7X6LPrnOj0ZW6vX+ki25g0xER2hhdDZunj5i6kMbdtib9o18aYXujd1MvA/PmpSTsbKzr4v+w5/vbnv+t7pfV8LhMOvEASG3ao/mzE+VFKOsle87vP9L2sd1ULGDVj5ftVG3/o5sLiOSyGNvCUWBPcGC++oYPuY9nhfy/V1fUfa9knjY8f3ZQe09vYxkMM56rZgwKAXuSONtMrKbWtw1vWpHTwh2kzn84rJlqJy3Qk131fMtXqsm2Nty4rJ0pXqAhbC3G1ydTcmwpkUDIr6OtLmqHzW0tS57CxPRYiGS9gHW57ibN8Ca9mbpRuHgvIH6ErXeK9K3tVViXEBwksTXiNr5idDHYakONLDx5VjUty7QtcHP34LbqwA0SXsRl7cVj2DIMVM005tNGSEw5uOiH3rH2mP3vCmTjqmaLOyc3bfmxLpyJZC+TtDJuz3vtWTfLaODYdC5ZmV87LDYXYKVszEW4Gxtc6CmUkcw+4bNfngPgS62WnP2OxN74eWJ+FT2M2lNjvooILL1cwQZicosudzYWA4XsKrZEyD7nu8/QKJ80lR9rG4eHhtK+Npx9Dhhh1OciTPO63KK1sqR5uBPEnvr2M6cmmcMLAa968lHVxdWMcbuOoHK11b7lSkYNOkYaAnWwyrc5b9gtrryNZtYB1x0fhWrRE9QNL4NX4XTd4GZ5caRpJZIr/AOGl7HuzElvdXk/2NEQ1Z7z7ZL2m+9zpjrwG4e5xX7tw9LPh8MPvdNJ3LH7N+4uR7jXkP2MdJwG8/pE/3yMj8bncP3Zb9s43oIJZfuKSPH7I8zYUqFmm8N2p00nVxufsCmd4sKYNlJCeIEYbxuGb/NVtO/Tqi7eoamPq6MMPhdZNuZ8ThcFPGCZi3R6cSSCGPvjJvy1ruG0UsjHZZ/PNLn0pYo5G9rL5xC+MbOmy4TBEQ2KkH0jj7A7v5DzPIH1jXVT9N3ZGQ+fnyXkjm0kegztnM7PmrzVlsHCmHDxRniqDN42u3xJrPmfpyOcNq04GFkbWnUFvpSaihCKEIoQihCKEIoQihCybVwSzxPE/ssOPZzB8QRfyruOQseHBLljEjC12teX4WebZuJKsOGjr9mReRH8jyNx2ittzWVMdxw8CsFjn0stjx8R8y/tMt7JFxGIwrRm8ciIF85CCPEXsfCk0oMcbwcxfkn1ZEkkZbkbc1ZY4pixiMGTZlA/zKGR/Jvl31nM0oi2VacmjMHxa/lj5rNsfLioMkyXYl0lFh1HGji41XNcuD+tx4V3LeJ92nYRu1eyXDaaOzxjiD4HX55hQ+8m7cmEOb2o2YhSOIHFc3edfd31p09S2XDX8yWVU0rocdV/l0jVrajlVKlBV5uttRMXOHxLgzLpChFkGmrLrrIefZy7supidEy0Y+05nX/S1qWZs0l5D9wyGrePFVW0sCHBdVXplRhG9uspZSNDyGtQxyFuBOGFwtCSMOxA+6xsV5lg4Vgw8k7wh5ElEYSS+VeqSSVFsx0tY1tPJfIGNdYEXuN+1YTGiOJz3NuQbWOWWxbN8cZMsphzMkOVciqMqEZBmtYDMLk9tLpGMLNLM69ZzTa2SQP0bkN1DIZflT2HxLx3yOy3FjlJFx2G3EdxqtzWuzF1G1zm9k2TnYGbo2D3GFZ1E7L7VgNFOtxGbi5A4VPPbSFu3Y2+bdiogvokO7FxpH5q2q/2dt2JsO8+iRxFlPCwCcLW7Raw7wKypIHiQMzJ9VsR1LDGX5AX/AAvzd7DOc+KlFpJrEKfsIPYTxsbnvNE7gLRtyH5OsrynY43lfm78DUPfxXLbB9YxEWFHsqRNN4Kfo1P4m1t2LXUX8cbpNuA9fwvJv5JGxDIYnhkPPksm9uKWfCYlU16F0BPeCpb3A28Qa7pWlkrCdYPql1bxJC8N1EehSfAbbGF2dFYAys0nRA/Z6zAv4C5Hffxqh8HW1B2YX9lNHUCGmbbM3t5nFYtz9jtipunluY1bMzN9t73A79dT7udNq5hEzQbmfwEqjgMsmm7Ifk/M16dWKt1FCEUIRQhFCEUIRQhFCEUIX46ggg6g6GgGyCLqImmimZsDjTlljNopjoWB9kk8AxFrg6E99aQa9gE0ORzCyi5jyYZ8CMjy4/gpPidizYOaDpOtCsylXHDV1vf7p6o04dhOtUtnZMx2jgbHDgfNTPp5IXt0sQCMeI8kxxOPMO2GN+qxSNvB0S3uax8qS2PTo/M+RPonOlLK0+Nh5geqf7UBwk3ragmJ7LiFHK2iygd3A93hUkf8rOqOY7Pt7KyX+F/WjI9r39/Dct23MRB6uxms0TC1hqWv7IW3Fjyt40uFsnWDQz+Zps7o+rOnkfmHoo/D7NUOh2ijhWVVhcsABYmySstvpLW1OlaDpTY/TnePUX1LNbENIfUg+B9HEa/wrB9g4ZkMfQRhWsTlULqOBBFiD3is8VEodpaRutI00Jbo6IssgwGKg0hnWVOST3zDwkXU/vA131kT+22x2j29kvqpo+w642O9x6gpHvs8jYMmWFYm6VfZcPm6ra3AB7taqow0TWa6+Gyylri8wEvbY323WjeDDSI7PL9Lg5ModecPVC517LEXuO03HOuIHNcAG4PF7eOuy7qGPa4l+LDa/hqv6qE2lgzDK8TalGIv29h8xY+dakbw9ocNayZGGN5adSo9xBFH0+ImOVFULmYjLZvaUi92JsLCxqOt03aLGZq2g0G6Uj8gLeC04bDdEyzSROuB6QuqHirEALJItr9HpoCTbS/fw52kC1pBkta/oPFdtZoEPcCI73ts8SNnJWO1dqpBF0ntFrCNV1Ls3sqvbf5VnxRF7tHLb4LSlmbGzSz2eJ8EuiRsHhZsRIQZ2BeQ8s1rIg/VXRR59tOJE0rWN7IwG7aktBgidI7tHE79Q3alJ7Hmts7GFjcl115ktlHvuaulb/5DLbOSz4XWpZL7edl97M3YLKJ8a3RQooAUmzEam36oJJNvaJJ4V5JVAHQhFyfnHkvYqQkacxs0ef657lRbu44YmX6FMmGgGVBa2ZzztyAW+n6wJ14STx9U37jdzs9398lbTSda/wCwWY3Lf/XNU9RK5FCEUIRQhFCEUIRQhFCEUIRQhTO+W7nrSiSMDpkFrffX7t+R7PE9txZSVPVHRdkVDW0vWjSb2h+fmpReztvz4a8LjPGOq0MgOncL6r4cO6tKSnjl+4YHaFlx1MkX2HEbD8wX5vPtBJ5VxMVwSozKfaV0+YItY9xopo3Mb1bvgKKqVr3iRnwhXO1dvLBLF0msE6ceOUi2vepDC48+2syKnMjDo9ppWtNUiN7dLsuHzhisUuz1wcqTkNLhVByalvVy2pYL9pO/iBTBIZmFmTtfj++aSYhA8POLBl/68NnJVH0c8f2ZI3HcVYfI1F9zHbCFf9sjdoKUDZU+G+qyBo/8CUkqO5H9pfA3FUdcyTvRjtHqNam6mSLujh/qfQ5j8r6G8WTTEYeaE8zlMifxR3+IFefTaXYcD+D5Fe/VaPeNI4XHmLpPvrtOLE4JjDIHyut7X0vfjeqKOJ8cw0hbBTV0rJac6Bvinm0du4VC0EjgtbK0YVmOo4WUHkamjp5SA9o45KuSphaSxxx2Z/gKMx2wsRjcTJKkTIjEWaXqaBQt7e1ra/CtFk8cMYa43I2Y/pZj6eWeUvaLA7cPDeqfYW6EWHszkyuDcX9hT2qvbpxOunKopqx0mAwH581fBQsjxdifx5eqa7Y2lHAn0nWLdVYwLs5P2QvP5UiKJzz9urXsT5pmRt+7Xq1ngp7BYNMFH63idCt+hhDZhEH1yJfi55ngB3XNVveZndXHxOV7az4KNkbYG9bLwbna+oePzJZt4tpPJs1ZJNGnkFlHAKCSo79EBv2mu6eINqS1v+I+c1xUyudShzv8j++QSnZW3UwmGCKgkmZ+k19lNAFv942F7DhfiCKfLTumkuTYDDxKniqGwxWAu4m/gNixxLidpS2LFyOJOiIPAaD5mmHqqZmzmUoCaqfbPkPnmV6fsjZyYaJYU4LxPMk8Se81iyyGRxcVuwxCJgYFspaaihCKEIoQihCKEIoQihCKEIoQihCk9vYjDiTosdDof0cwB1HYSvWVhzAuDx0varoGyaOlCd4+YLOqHRaWjO3cf6xHJKzunhZtcNixf7pKt5WBDDzvT/rJWd4z0SPooZO6fyPstW3NiSnAKjgGTD8CuoZALac7hbadq99cQzsE5Iydz+c0yeneacA5t2ax/XJfvo72wXU4VzfKLx/h5r5XFu491eV8Nj1g15o6OnuOrOrLcnMuxGiYyYNxGTq0TC8LHwGsZ7191TicPGjKL+Ov98VSadzDpQm3hqPtw8kLvEI+riongP3iM0R8HXQfvWo+m0sYzpfg+Xsj6rRwlBb45jz97JthsWkozRurjtVgR8KQ5jmmzhZUte14u03SnfHAPPhyka3Yumndmsfde9PpJAyS7thU9ZGZItFu0c07AqZVLFj9sQQfpZUU9l+t5KNT7qayGR/ZBKVJPHH2nAJedp4jEaYaEov+NOCo8Vj9pu69hTeqjj7x1zsHqcuaT10smEbbDa70GZ42WrZmxUiYysxlmPtSv7Xgo4IvcKXJOXjRGDdg+YpkVO1h0ji7afmA3KA3gxz7QxYjj1UNkiHL9Z/O1/ACtWCNsEWk7efb5rWPUSOqJtFuWQ9/mpU+3d23nEUKusUEKABjqSbAXtoLADiSNSaihqWs0nEXcSr56R0miwGzWj58uln9j7Nw+s2I6Uj7Ia/+WPUeZp/XVMnYbb54pHUUkXbdfw/QVNu3iBKmeOLoYOEa2ALdrkDQDkO3U9lRVDdF1nG7tfsrqZ4e27W2bq905qdUooQihCKEIoQihCKEIoQihCKEIoQihCybU2bHiYzHKtweHaDyIPI0yOV0btJqXLE2Vui5eebW3HnjJMYEycrWDDxB0PkfIVrRV0bu1gVjTdHSN7P3D8rFhvXsOeouJS3LI5X3EFT7qY76eTPRPEf2lN+pjOGkOBt7L72d6xFiUxAw0os12CROAQdGsLaXBOnC/ZXknVujLNIeYXsZkbKJNA8AV6oZly5iQFte50+dYdjey+guLXS+feDCro2Ii7wGB+V6aKeU5NKSamEYFw80mnk2VKbkxBvvLeM+9bVSBVtFsealcaJxvhfbl+RZbMLsXDyC8OJmI/5eJcj8xpbp5G9po4tHsmNp4nC7HHg4+64YvZ2BjNp8QxP3ZMS5Puz3rpkk7sWN8mj2XL4qduD3Hi4+6+sBtHZsJ+iMKHtC6/xWv8a8fHVP7VyvY5KSPsWCcYfbGHk0SeNj2Bxf3XvSHQyNzafJUtnjd2XA8Vn3nxjR4d+jVmkcZUCKWNzxbQHgNb+HbXVMwOkGkbALiqkLIzogknK2K82wC4rD36KGVGOhfoWzW+6Lr1R4C/DWth/VSdpwPhcLDj66PstIO2xvyQdl4zEHrRTue2QN83sKOthjyIG79I6meXMOO+/qqXYO4liHxJBA4RqdD+I9ncPfyqOavwtH5+yug6OxvL5e6uVUAWAsBwFZi1l+0IRQhFCEUIRQhFCEUIRQhFCEUIRQhFCEUIXxMmYEAlTyItcd+oI94Neg2K8IuFNbTn2lDfo1hmXtCEP5rnA91/KrI20z+1cH8clDK6rZ2bOG7HmpnHbf2i2hEkfcsJX4lSfjVrKemGVjxUL6mqOdxwShsFiZzcxzyHtZXb4kaU8PiYMCB5KYxyyHEE+aa4DcnEye0FiH6xufILf4kUh9dE3LFUR9HzOzw+eC3YrdnD4cqjvLPO3sxR2W/eeJVe8nt42pbaqSS5ADW7Tj/aa+kiisCS5x1DD+hxW3AbiKTnkcxk8EiJ6t+Rd7lu/QClvrzk0X8T7BNj6OHacbeA9zmsmL3PXD3Yo08PPISsqDtA9mQeQNdtrDJhfRP4PqEt9CIsbaTfDAj0P4X4Ny4p4xLhMTmU8M4v5ErYqe4rR9a5jtGVuPggUDJG6UT7jx+eiS43dPFR8YS47UOb4e18KpZVxO123qV9FM3Nt92P7/AAuGFkxcGidPH3ZXA/hIt8K6cIX52PkuWGePs6Q8+Sf7P2/tNtFiMne8JA94yipX09KMSbcf7VcdTVnANvvH9BVWy48Y/WxLxoP8OJdT+JiTb9331DKYRhGCfE+3v5LQiE5xlIHgPU4/jzTmp1SihCKEIoQihCKEIoQihCKEIoQihCKEIoQihCKEIoQihCKEIoQuWKDlGEZAe3VLC4B7SOddNtf7sly69jo5pVu5sP1fPJI3STyHryd3IC/Af/eAFPqJ+ss1os0ZBT01N1V3ON3HMp1UyqRQhII9hPFijPA6pG+ssZBsTzItwPO/I35G1VGdr4tB4uRkVIKZzJdOM2BzCf1Kq0UIRQhFCEUIRQhFCEUIRQhFCEUIRQhFCEUIRQhFCEUIRQhFCEUIRQhFCEUIRQhFCEUIRQhFCEUIRQhFCEUIRQhFCEUIRQhFCEUIRQhFCFF7F3jnbHHDSlSuaRRZbG6Xtr4LWjNTMEPWN8PysyGrkM/Vuyx/Cc737VbDYfpEIDllVbi411OngDU9LEJZLOyVNZMYo9JuaTbm7zTYmcxSlSMhZbLbUEfyPwqirpWRs0m7VNR1b5ZNF+xM99NsvhYkaIgOz21F9ACT8bUmjhbK4h2Vk+tndCwFuZK37u4mSXDRySkF3GY2FhYk5dPC1Kna1sha3IJtM9z4g52ZTKkp6KEIoQlO9n1Of8Bp9L3zd6nqu5duU96MT1Z/FPk1V9I5t4qPozJ3BW9Zq1FFek09SH8TfIVo9HdpyzOk+y3enu6H1OH8P8zU1V3zlVSdy3cnFTqlRO+e8k+GnEcRUL0YbVb6ksP5CtKkpo5WaTtvssqtq5IpNFtsvdWcLXUHtArOOa1BkorC7zTtj/VyV6PpnS2XWylra+VaTqWMQaeuwWWyrkNR1eFrkc1cVmLVRQhFCEUIRQhR3pMP0MX7T+k1odHdt25ZvSfYbv8AQppuOf7lD+//AKjUms753DkE+h7hvHmV+YHemKbEDDxq5PWuxFh1ezmfcKH0r2R6bkMrGPk6tt96Weks/QxftP6Wp3R3bO71SOk+7bv9Cmm45/uUP7/+o1JrO+dw5BPoe4bx5lPalVa822wOg2qr8AZI28msrf1VsRffS28D+MViTfx1gPiPzh7ph6T8RpDGOZZvcAB+Y0ro1uLnJvSjsGt3n55rBhoPVNqRpwXqL45owv5qY53W0pO/nfkltb1NWBqw5W5rv6TJ7ywxDiFLW/GQB+Q1z0c2zXO+YLrpN13NaNnP+k33g3gGAjjw8YDSBABf2VUCwJ5m9tB3HzRBTmdxe7K6pqKkU7Qxudkmk2/tKJBO6Dozb2kFteF7HMt++qBT0zjoNOO/4FKamrYNNww3fCq7d3bS4yLOBlYGzrxsf5g8jUFRAYXWPBaNNUCZmkMDrUdgN+5grmQIzZR0YCkDMTz14Aa/DnWg+gZcBt/FZsfSL9El1r6kxj2hPPs/FNOCGFwt0y6ZVPDmLk60kxxsqGBnO6eJZJKZ5k5W1BfHox9mfxT5NXvSObeK86MydwXHaW92IlnMOEUWBIUhczPbiddAv8tb9nUdHG1mlKuJK2V8mhCP2le9G1ZpUSHEx5Jo2J4WDKw0PE8xy0+VPpomNJdGbgqeqme9oZILOHJXW5/1OH8P8zWZVd85a1J3LdycVOqV5l6SfrQ/Yr+Z62ej+64+yweku+4DmVdwbawwVR6xDwH/ABF7PGswwS37J8itcVEVu0PMLz/ZrhtqZlIIM7kEG4IJaxB5itWQEUtjsHoseIg1dx/sfVWe9m8YwagKA0rXyg8ABxY25d3PyrOpabrjjkFp1dUIBhmVOzbe2lAomljHRkjQqANeXVOZf3qrFPTPOi04/OB4KN1TVxjTe3D543HFWmx9pLiYVmTQNxB4gjQj31nSxmN5aVpwyiVgeFJPtraU7MYIQqAkAhRrY29pzZvIVeIKZgGm7H5sWeaireToNw+bV+7C3um6cYfFKAS2W+XKyseFxwIOnZxvrRNRs0NOMogrn9Z1co8OK7+kz9DF+0/pNcdHdt25d9J9hu/0K+Nm4nER7Nw5wyZ3LsCMubq5pNePaBXUjY3VLhIbC3suY3ytpmGIXNz5YqS2PiJ0xGeFc0vW6uW/H2tL1dK2Mx2ecFnwukEl2D7sVQ73TSvgcO065ZTK2YWtwzhdPC1SUrWNncGHC3srKtz3QMMgsb+/osmzdvYlcMkOGiYiMN0jhC2pZmsOQFjz192rJKeIyF0hzyF7JcVTMIw2IZZm19adbp73NMzR4jKCFzK4Fr6gEEduvLvqaqowwBzPJVUlaZCWyeaX+k2C0sMo4lSt/wABuPzmndHOu1zT8ukdJts5rhs5f2uW25/WtoYdRqLQ3HcfpG/ytXsLeqp3E+PtzXk7uuqWAeHvyXb0hjosTBOOOUHzja/9Qryg+6NzPmIXvSP2Stf8wN/Vctqn1jayKNQGjA7wgzn+dexfx0pO/wDOC8l/krAPEfjFZNvDpNplW1BliWx7OoCPiffTIPtprjYfVKqPuqrHaPReh7ciD4eZTwMb/lOtZEJtI0+IW1M0OjcDsKivRlIellXkUBPkdPzGtLpEfY0+Ky+jD97h4Jd6PoFfFrmF8qFh4iwB/wA1Or3ERG2spHRzQZRfUPZX29n1Of8AAayqXvm71sVfcu3KU3FkK4fGMOIW48larq0XkYPmpZ9AbRyH5kVz9GUQ6aVuaxgDzOv5RXXSJOgB4rnoxo03HwWz0nRC0D87svlof5fGl9HHtDcm9JtFmneqHc/6nD+H+ZqSq75yspO5buTip1SvMvSQf72P2K/metno/uuPssLpLvuA5lM4/R8pAPrB1F/YH/dST0if9fyqB0YP9vwkWw8P0W0UjvfJKy37cuYX+FVTO0qcu2gKSBujUhuwn1Xfe/En+0SSuYRmMBfvAANl4HiWI864pW/+Psvf2XVY/wD8m+dre637Y3pkxELwnBuucWvdjaxuDboxfUUqKlbG8O0xh82p01Y+RhYYzjv9lu9H0hiw85kuiq2YlgRYZRc68urS64aUjdHEpvR50I3aWAB17l+/7ZySuUwuFaS3Mn4kAWUeJo+iawXkfZH17nutEy6mtsTyvjY3mjEUl4+qDfg2h4n/AOiq4msEJDDcYqKZz3TgvFjhzVL6TP0MX7T+k1H0d23bld0n2G7/AEKa7j/UYf3/APUak1vfO4cgn0PcN48yo7c3/eH/AMn860Kv/j+SzqP/AJPmnvpM/QRftP6WqXo7tnd6qrpPu27/AEKY7iRgYKMgcS5Pec7D5ADypNabzHhyTqAWgHHmvN8Scs0oXSzuB4ZjWw3FgvsCxXG0jrbTzV76R8Pmwyv9yQE+DAj5kVl9HutIRtC1ukm3iB2H9Ka3DiMmMVjrkQn3KEHuDfCrK06MJA1n9qGgGlOCdQ/Sf+kzD3hik+69vJlP81FS9HOs8jwVnSbbsB8Ul9H8RkxZkbXIhN+82UfAmqa4hsWiNZU3R4L5i46gv3frBvBixiVHVcqwPIOltP8AKD369leUTw+LQOrkV5XMMc3WDXbzCa7a3zhkwzrHm6SRSuUgjLmFiSeBsL8L8qRDRPbIC7IKiavjdEQ3M/hHo22cyrJOwsHsqd4F7nwJIHkaOkJASGDVmjo2IgF515JL6N/rX/pN81qnpDuuPupeje94H0VzvZ9Tn/AazKXvm71rVfcu3Ka9HEQePEoeDZQfMMKs6QNnNKi6NF2vCUbtbQ/s/FOkwIFij2HAg3DW5j+RBqioj+ojBZvClpZfppSH7ivvfPbQxbKYg3RR6ZiLXZ9eHgnz7q8pIDEDpZnkF7W1AmILchzP9K33P+pw/h/mazarvnLVpO5buTip1SvMvST9aH7FfzPWz0f3XH2WD0n33Aeq9Jw/sr4D5VjnNboyXmWB/wB6/wDuJPm1bT/+L/1HosKP/mf9j6rfv5gnhxKYxR1SVN+QdDpfuIA9xpVE8PjMR8fIptfGWSiUZYeYTuHfnClQWLq3NchPxGhqY0EoNhZVt6RhIubjgv3aWO9d2fNJErC97A+0QjC+g5kA6d9EbOpqGh3y6JJOvpnOYPgKQ7jbwQYaORJTlJbMGykgiwFuqCdLX86qraeSRwLVHQ1McTSH7bpXtnaHrGNWYAhGZMlxYlQ1s3gSDToo+rhLdeN0maXrJw7VhbddU3pM/QxftP6TUXR3bduV3SfYbv8AQpruP9Rh/f8A9RqTW987hyCfQ9w3jzKhdk4wYTHM8oNleRWsNRe4vbny8q05WGWCzdgWVFIIagl20p5vzj0xGEgljvlaU2uLHqhlOniKloo3Ryua7O3sqq6VskLXNyv7hPdxvqMP7/8AqNU1Z37uHIKuh7hvHmV5pj/08v7R/wAxrZZ2G7hyWG/vHbzzXseLwqSoY5FDKbXB4GxuPiK+ea4tN2nFfSvY140XC4XDA7JhgJaKJUJFiQOVdPme8WcbrhkMcZu0ALtjMGky5JFDLxseGnCuWPcw3abLt7GvFnC4XLAbLhgJMUaoWtew424fOunyvf2jdcxwsj7AstGIgWRSjqGU8QwuD5GuGuLTcLpzQ4WcLhLE3YwgOYQJfvuR7ibU81UxFtIpApIQb6ITYC2gqdUrDgtjQQtniiVGta4HLs+FNfNI8WcbpLII2G7WgLXiIFkUo4DKwsQeBpbXFpuExzQ4WOS4YDZsUF+ijVM1r2HG3D510+V7+0brmOJkfZFlz2hsaCcgyxKxHPgfC41tXUc0kfZNl5JBHIbuF1+NsTDmMRGFMgOYLbS9rX8deNHXyaWlpG68+ni0dHRFlrwuHWNQiKFUcAOArhzi43OaY1oaLNyXWuV0sGO2NBM2eWJXa1rkctdPiaayaRgs02SnwRyG7mgrcotpSk1YU2LAJOmESCS5bNbW54nx1ppnkLdG+CSIIw7T0RfatksYYFWAIOhBFwfEGlgkG4TSARYpV/sthL36BPjb3XtT/qprW0lP9HB/qE0w8CxqERVVRwCgADyFIc4uNyU9rQ0WaLBLpd28KzZ2gQk6nTQ+IGh91OFTKBYOKSaWEm5aF2xOxoJGDPEhKgAG3ADgB3C9ctmkaLArt0EbjctC647Z8U4CyorgG4B5GuWSOYbtNl1JEyQWcLrphMMkSCONQqjgBwFzc/E145xcbuzXrGNYNFosFkx+w8PO2eSJWbt1B8yLX867ZPIwWaUuSnikN3NxX0+xoGjWIxIY0N1W2gJvc+Op99AmkDi4HEoMEZaGlosFpwmGSJBHGoVRewHAXNz8TXDnFxu7NMYxrBotFgsL7u4UksYEJJJJtxJ400VMoFtIpRpYSb6ISre7er1U9FEA0trknggPDxY9nn4upaTrfudkp6ys6o6Lc+SQtjdqqvTnPktfVI+HetswHlVWhSE6AtfeeeSj6ytA0ze24cs1SbpbzDFgxuAsqi+nBh2jstzHePKSqpeqxGSupKvrvtd2lR1GrUUIRQhFCEUIRQhFCEUIRQhFCFEb5bIxk0+aAOU6MDqyBRe7X0LDtGtaVJNCxln2vfZf0WVWwzvkvHe1tttvirVBoPCs0rVC+qEIoQihCKELJtXaC4eJpnvlW17C51IAt5mmRRmRwaEuWVsTC92Sybu7bGMR3VCgV8oubk6A304ceGtd1EBhIBN8EumqBOCQLWKR76bKxc0ythwxUJY5ZAutzyLDkRVVHLCxhD877L+ikrYZnvBjva223qqzCKRGgbiFAPjbWoHEFxstFoIaLrtXK6RQhFCEUIRQheWbFX1raIZtQZGc+C3Kjw0UeFbc38VPYbAFgQjraq52k+WXovU6xFvrywD1Xadl0CzAW7Fktp4AP8K3O9psdnL+lgdzVWG3n/af737wTYbEpHG4CFFYjKDxZgdSL8BUlLTskjJIxv6BWVdVJFKGtOFhzK+dlbw4nE4tCqsMNmYaR3FgpsWe2huBwI7K9lp4o4jc/dv5BcxVU0swsPsudXMrlvTvbKsxgw5AynKzZQzFvugG404cL3+PtNRsLNOReVVa8P0I9WvPHwXOfeDHYeFhiEIZgOikKrxuLqwXq+ze1wDpz5dCngkeDGcNYx+Zrk1NREwiQY6jh6YZKh3M2jJiMOZJWzNnIGgGgA7POpKuNscmi3YraOV0kek7akcuP2pOzGFMiBiAQqC9jbjJqeHEaVSI6VgGmbnj6KR0lZIToCw4eq+Njb04iPEDD4sXuwUkqAyk+z7PVKm48je9ezUkbo9OJeQ1krZBHL+/xgne++1JcNCjxMFJkym4B0ysefhU1HE2R5DtiqrpnxMBZt9Cp8byY2eNRh0YlB9LIqAkt2AEW4W0Av8Azr+mgjd/Ic8hdR/VVEjbRjLM21rduXvRJPJ0ExDEglGsAdOIIGnDXhyNKq6VrG6bPJOoqx8jtB/ArnvtvFiMNOI4nCr0YaxUHUlhzHcK6o6aORl3DX7LmuqpYpNFh1e6od45cQsIOGF5Mw5A6WN+OnZUdOIy/wDkyVtQZQy8WaksZtfacKl5BlUWuSsfPhWgyGlebNxPFZz56tg0nCw4J/uPtaXExyNK2YqwAIUDlc8PGpKyFkbgGquhnfK0l+1LcVj9pTSSCBMiI7KCFUXysRe8nHhypzY6VjQXm5IG30SHS1cjiGCwBOzVv9Fm2bvTiocQIMWLgkK11AZc3BgV6pXX/wA13JSRPj04vnmuIqyaOQMl/f4wXff2TFddQP7rZMxsvHMOftcbVzQiLA/5YrvpAzYi32YbNvmk+6s2MVbYZbxmQZzZTrYX9rX2bcKoqRAT/JnbDNTUjpwP4xhfHLw9FSb87bmwzQiJguYPmuoPDLbj4mo6KBkodpDK3qra6okiLdA539E4wu1AuDTEzH/hK7EDiSo4DtJNgO+p3RXmMbdpVLJrQCR+wEqRi2/tDGO3qwCqvJQml+F2k4nwt4VeaenhA6zHz9FnCpqZyerwHDmVs3f3slEww2LAzE5c1rENyDAaEHtHaOINwuekZodZEmU9a/rOrl+HxTTffasuGijeJgpL5TcA6ZSefhSaOJkjiHbFRXTPiYCzb6FIP9pMbPGow6Mci/SyKgJLcbAEW4W0AvVX00EbvvOeQuo/qqiRv8YyzNta1bp73s5aPEsDpmV7AcwLEDTncWHI0uqow0aUfkm0la5x0ZPNJdyepjlQ8euvmAf+2qaz7oCR4KWi+2oAPiF6lWIt5eWbc6+0yBzmjHuyA/KtuHCmx2H1WBPjVm20ei0eks/3pf2K/meueju7O/0C76T73h6leiYCBY40RRZVUADwFZD3FziStpjQ1oAXlu7nX2hGW5ysx8es3zFbdR9tObbB6LAp/uqRfafUq735jDYKW/LKR45h/wBbedZlEbTD5qWtXAGB3DmsO4Uyx4JnY2VXck9gAFzTK1pdMAPBKoHBsFzlisw3wnxDlMJhswHNz7ibEBfDNXf0ccYvK63z5qS/rpJCRCy/z5rU5tyWdsWjYhFSTqaLwtm0PtNr58qshEYiIjNxj81KKYyGYGQWOHPeVU+kz6vF+1H5HqHo7vDu9Qr+k+7bv9Ctu4KAYKMjmzk/xkfICl1x/mPDkm9H9wOPMqR2ALbVAH+LN8pKvn/4vAeizaf/AJfF3qvr0lfWh+xX8z0dH91x9l70n3v/AF9SvTE4CsUreC833o2i2PxK4aHVFay9hb7Tn9UC/kCedbFNGIIzI/P5gsOqlNRKI2Zeu1XmzsFHhIBGDZUBLMefNmPzrMke6V9zmVrxxthj0RkFMnfGadymDw+e3Nr8O0i4CjxarPomMbeV1lB9e+R1oWX+fNal97ZsQ0wbEoscnRiwThlu1j7Ta3vz5VbSiMMtGbi/zUFBVulL7yCxtq4+JV7v19Rl/c/1FrLou+HHkVr1/cO4cwl3oz+ry/tf6Fp3SPeDd6lJ6M7t2/0Cw+k/2sP4SfNKZ0dk7h6pXSnaZx9F03ikI2ThgPtCEH+C/wA1FeQC9U/jzXtQbUbB/wDzyTL0dRgYS44tIxPlYfIUmvN5eCf0cAIb7SVL+kMZMYWXQmNWv3i4B/yiraDGKx2lQdI/bNcbB6p/6STfDxH/AJg/I1S9H947d6hWdJ923f6FMdw0AwUZHMuT/Gw+QFJrT/MeHJOoB/AOPMrzTaOk0ttPpHH+Y1sx4sbuHJYcmEjt55qi3s2dJg8V63GOoz5weQb7SnuJv43I5VJSyNli6t2dvwrauJ0MvWtyvfj+02f0gR9HcRP0lvZNst/xXuR5XpA6OdpYkWVB6TZo4NN/wlu4+ynnnOMkByglgT9t2vcjuFyb9tuw06tlaxnVN/oJFDC6STrXZcyuHpL+sr+xH5nrro7u+PoFx0n3vD1K9Jh9lfAfKsc5rcGS8q2tC+Bxue3B+kj7GUm9r+eU1uRObPDbwsfn5Xz8odTz38bjd8wTXeXegYvDskUbhQVMrNbTrDKosTqWt7jp2Ip6XqpAXEX1Kipq+ujLWA2wvf5tXfYWHaTZUyICWLNYDibZSR4kC1czODappPgu4Gl1G4DPFZNyd4ocMkkctxmbMGAJ5AWNteXxNMrKZ8rgWpVDVRxNIftS3bu0DiMWs2UqjZOjzcSga2bzIamwx9XEW68b70meXrJg+2GFt1/7VV6TPq8X7Ufkeoeju8O71Cv6T7tu/wBCt+4f1GLxf/UalVvfnhyCdQdwOPMqQ2D/AL1/9ab5SVoT/wDF4D0WZB/zP+zvVfvpK+tD9iv5no6P7rj7L3pPvf8Ar6lVe++0XgwvU0MjBL8wCpJI77LbzqGjjD5cdWK0a6V0cX268FIbpbZw+EzPIkjSHQFQtlXsF2BuTx8BV9VDJLYNIt88Fm0k8UNy4Enhl5qt/tddoYXEpCjhghFmAFywNgLMeNredQdSaeVheRmtHrxUxPDActamdydvxYXpElBGYghgpPDQqQNR/wDtW1lO+WxaoaKpZFcPS7e7aXrM3TBSsZTLGTxZVJu38RNNpYurZoXxvikVkvWv07YWw4L0HfOEvgpgoubBvJWDH4A1lUjgJm3WzWtLoHAfLG6ktyt4o8MjROrEu4KlQDxAWxuRbgKvrKZ0hDhqCzqGpZEC12s/pavSf7WH8JPmlL6Oydw9UzpTtM4+iaYnZpxGy4kUXcRRso7SqjTxIuPOktlEdUScrlPdEZKNrRnYJDudvKmFV4ZgwGYsCBex4MpHEcPnVVXSulIcxSUVW2IFj/ngskpbaeOuqkISL3+zGvEnsJ18zauxamgxOPqlm9VPgMPRUfpM/QRftf6GqTo7tnd6hW9J923f6FMtxfqMX7/+o1Jre+dw5BOoO4bx5leZbU/TzftH/Ma2Y+w3cOSw5e8dvPNe0yIGBBAIPEEXBr50G2IX05AOBS0buYW+b1eP+EW93CnfUy2tpFI+lh/0HkmarYWGgFIVCy4vZcMpzSQxu1rXZATbs1HDU++mNlewWa4jilPhjebuaDvC1AUtNSDF7ewbu8E+W6MQRIl1JHMGxHvsaqbTzNAezXsUb6iBxMcmraMPZTm+G2cOYRhsMEsWDNkWyi3LQAEk24dlWUkMmn1kn5zUVZPF1fVxW4ZKl3IwhiwceYWLXe34j1fhao6x4dKbK6hYWwi+vFbpth4d3ztBGWOpJUa957T40oTyAWDj5prqeJx0i0X3LpidlwyENJDG5AABZASAOAFxw1rxsr2izXEcV66GN5u5oPBdcXg45QFkRXANwGUEX7deetcte5hu02XT42vFnAHevrDYdI1CIqoo4KoAAvqdB30OcXG7jcr1rGsFmiwXCPZUCv0qwxh7k5wgDXPE3te5uffXRleW6JcbbLrgQxh2kGi+2yMXsuGU5pIY3a1rsgJt2XI4a0NlewWa4jih8MbzdzQd4XXF4OOUBZEV1BuAygi/C9jz1rlr3MN2my6fGx4s4A71k/sDC/8A80P/AMa/9KZ9RL/sfNL+lh/0HkFpweAihv0UaJfjlUC9uF7ca4fI5/aJKYyJjOwANy4YnYmHkbO8EbMeJKjXx7fOumzyNFg4rh1PE43c0E7l0xOy4ZLdJDG+UWXMgNh2C40FeNle3suI4rp8Mb+00HgtYFLTEuGwcNmz9BHmve+Qce23C9O+oltbSPmkfTQ3vojyWnGbPimt0sSPa9syg2vxtcacK4ZI9nZJC7fEx/bAO8LtFGFUKoAUCwAFgAOAA5CuSSTcrsAAWCyYzY0EpzSQozfeKi/v4mmMmkYLNcUt8EbzdzQSu+EwccQyxoqDsUAfLjXDnuebuN10yNrBZosjF4KOUBZI1cA3AZQRft1560Ne5hu02Q+NjxZwB3r6w2HSNQiKqqOCqAALm50Hea8c4uN3G5XrWNYLNFgsj7DwzEk4eIkm5JjW5J4nhTBPKMA4+aWaaEm5YPIJhSk5FCEUIRQhFCFB787JiQmVUs76sczanttewrUopnn7ScAsqugYLuAxKybi7LimYtIgYrqLk28xex867rZXsFmmyVQwsebuF16PWQtpFCEUIRQhFCEUIRQhFCEUIRQhFCEUIRQhFCEUIRQhFCEUIRQhFCEUIX//2Q=="/>
          <p:cNvSpPr>
            <a:spLocks noChangeAspect="1" noChangeArrowheads="1"/>
          </p:cNvSpPr>
          <p:nvPr/>
        </p:nvSpPr>
        <p:spPr bwMode="auto">
          <a:xfrm>
            <a:off x="307975" y="79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pic>
        <p:nvPicPr>
          <p:cNvPr id="21511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4569" y="5301210"/>
            <a:ext cx="1395905" cy="1427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2492898"/>
            <a:ext cx="2484453" cy="3731262"/>
          </a:xfrm>
          <a:prstGeom prst="rect">
            <a:avLst/>
          </a:prstGeom>
          <a:effectLst>
            <a:outerShdw blurRad="355600" dist="38100" dir="2700000" sx="102000" sy="102000" algn="tl" rotWithShape="0">
              <a:schemeClr val="bg1">
                <a:lumMod val="50000"/>
                <a:alpha val="62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50390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 txBox="1">
            <a:spLocks/>
          </p:cNvSpPr>
          <p:nvPr/>
        </p:nvSpPr>
        <p:spPr>
          <a:xfrm>
            <a:off x="1016" y="340380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“Pre-elimination” </a:t>
            </a:r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is an attempt to specifically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recognize </a:t>
            </a:r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this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progress in HIV PMTCT in high burden countries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284566"/>
              </p:ext>
            </p:extLst>
          </p:nvPr>
        </p:nvGraphicFramePr>
        <p:xfrm>
          <a:off x="217611" y="1628800"/>
          <a:ext cx="5866557" cy="41044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9129"/>
                <a:gridCol w="2419156"/>
                <a:gridCol w="2448272"/>
              </a:tblGrid>
              <a:tr h="234376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GB" sz="12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/>
                        </a:rPr>
                        <a:t>ELIMINATION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72066">
                <a:tc vMerge="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n-GB" sz="11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effectLst/>
                        </a:rPr>
                        <a:t>HIV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11760" indent="-90170"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Syphilis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3634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IMPACT</a:t>
                      </a:r>
                      <a:endParaRPr lang="en-GB" sz="1800" b="1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effectLst/>
                        </a:rPr>
                        <a:t>criteria</a:t>
                      </a:r>
                      <a:endParaRPr lang="en-GB" sz="1800" b="1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rtl="0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dirty="0">
                          <a:effectLst/>
                        </a:rPr>
                        <a:t>MTCT </a:t>
                      </a:r>
                      <a:r>
                        <a:rPr lang="en-US" sz="1700" dirty="0" smtClean="0">
                          <a:effectLst/>
                        </a:rPr>
                        <a:t>&lt; 2% 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OR </a:t>
                      </a:r>
                      <a:r>
                        <a:rPr lang="en-US" sz="1700" dirty="0">
                          <a:effectLst/>
                        </a:rPr>
                        <a:t>&lt; </a:t>
                      </a:r>
                      <a:r>
                        <a:rPr lang="en-US" sz="1700" dirty="0" smtClean="0">
                          <a:effectLst/>
                        </a:rPr>
                        <a:t>5%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in BF populations</a:t>
                      </a:r>
                      <a:endParaRPr lang="en-GB" sz="1700" dirty="0">
                        <a:effectLst/>
                      </a:endParaRPr>
                    </a:p>
                    <a:p>
                      <a:pPr marL="176213" lvl="0" indent="-176213" algn="l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dirty="0" smtClean="0">
                          <a:effectLst/>
                        </a:rPr>
                        <a:t>Case rate  ≤ 50 per 100,000 live births</a:t>
                      </a:r>
                      <a:endParaRPr lang="en-GB" sz="17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e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≤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per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,000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ve births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1760" indent="-90170"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61998">
                <a:tc rowSpan="2">
                  <a:txBody>
                    <a:bodyPr/>
                    <a:lstStyle/>
                    <a:p>
                      <a:r>
                        <a:rPr lang="en-US" sz="1800" b="1" dirty="0" smtClean="0">
                          <a:effectLst/>
                        </a:rPr>
                        <a:t>PROCESS criteria</a:t>
                      </a:r>
                      <a:endParaRPr lang="en-GB" b="1" dirty="0"/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coverage ≥ 95%</a:t>
                      </a:r>
                      <a:endParaRPr lang="en-GB" sz="1700" dirty="0" smtClean="0">
                        <a:effectLst/>
                        <a:latin typeface="+mn-lt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 coverage 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≥ 95% 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 coverage ≥95%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coverage ≥ 95%</a:t>
                      </a:r>
                      <a:endParaRPr lang="en-GB" sz="1700" dirty="0" smtClean="0">
                        <a:effectLst/>
                        <a:latin typeface="+mn-lt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  <a:r>
                        <a:rPr lang="en-US" sz="17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age ≥ 95%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eatment coverage &gt;95% 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48072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01295"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1360" y="14118"/>
            <a:ext cx="873957" cy="400110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FF0000"/>
                </a:solidFill>
              </a:rPr>
              <a:t>DRAFT</a:t>
            </a:r>
            <a:endParaRPr lang="en-GB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963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881133"/>
              </p:ext>
            </p:extLst>
          </p:nvPr>
        </p:nvGraphicFramePr>
        <p:xfrm>
          <a:off x="217611" y="1628800"/>
          <a:ext cx="8386837" cy="41044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9129"/>
                <a:gridCol w="2419156"/>
                <a:gridCol w="2448272"/>
                <a:gridCol w="2520280"/>
              </a:tblGrid>
              <a:tr h="234376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GB" sz="12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/>
                        </a:rPr>
                        <a:t>ELIMINATION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</a:rPr>
                        <a:t>PRE-ELIMINATION 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72066">
                <a:tc vMerge="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n-GB" sz="11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effectLst/>
                        </a:rPr>
                        <a:t>HIV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11760" indent="-90170"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Syphilis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HIV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  <a:tr h="13634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IMPACT</a:t>
                      </a:r>
                      <a:endParaRPr lang="en-GB" sz="1800" b="1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effectLst/>
                        </a:rPr>
                        <a:t>criteria</a:t>
                      </a:r>
                      <a:endParaRPr lang="en-GB" sz="1800" b="1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rtl="0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dirty="0">
                          <a:effectLst/>
                        </a:rPr>
                        <a:t>MTCT </a:t>
                      </a:r>
                      <a:r>
                        <a:rPr lang="en-US" sz="1700" dirty="0" smtClean="0">
                          <a:effectLst/>
                        </a:rPr>
                        <a:t>&lt; 2% 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OR </a:t>
                      </a:r>
                      <a:r>
                        <a:rPr lang="en-US" sz="1700" dirty="0">
                          <a:effectLst/>
                        </a:rPr>
                        <a:t>&lt; </a:t>
                      </a:r>
                      <a:r>
                        <a:rPr lang="en-US" sz="1700" dirty="0" smtClean="0">
                          <a:effectLst/>
                        </a:rPr>
                        <a:t>5%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in BF populations</a:t>
                      </a:r>
                      <a:endParaRPr lang="en-GB" sz="1700" dirty="0">
                        <a:effectLst/>
                      </a:endParaRPr>
                    </a:p>
                    <a:p>
                      <a:pPr marL="176213" lvl="0" indent="-176213" algn="l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dirty="0" smtClean="0">
                          <a:effectLst/>
                        </a:rPr>
                        <a:t>Case rate  ≤ 50 per 100,000 live births</a:t>
                      </a:r>
                      <a:endParaRPr lang="en-GB" sz="17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e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≤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per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,000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ve births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1760" indent="-90170"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rtl="0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dirty="0" smtClean="0">
                          <a:effectLst/>
                        </a:rPr>
                        <a:t>MTCT &lt; 2% 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OR &lt; 5%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in BF populations</a:t>
                      </a:r>
                      <a:endParaRPr lang="en-GB" sz="1700" dirty="0" smtClean="0">
                        <a:effectLst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</a:t>
                      </a:r>
                      <a:r>
                        <a:rPr lang="en-US" sz="17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e rate minimum</a:t>
                      </a:r>
                      <a:endParaRPr lang="en-GB" sz="17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01295" algn="l">
                        <a:lnSpc>
                          <a:spcPct val="115000"/>
                        </a:lnSpc>
                      </a:pPr>
                      <a:r>
                        <a:rPr lang="en-US" sz="1700" dirty="0">
                          <a:effectLst/>
                        </a:rPr>
                        <a:t> </a:t>
                      </a:r>
                      <a:endParaRPr lang="en-GB" sz="17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  <a:tr h="1461998">
                <a:tc rowSpan="2">
                  <a:txBody>
                    <a:bodyPr/>
                    <a:lstStyle/>
                    <a:p>
                      <a:r>
                        <a:rPr lang="en-US" sz="1800" b="1" dirty="0" smtClean="0">
                          <a:effectLst/>
                        </a:rPr>
                        <a:t>PROCESS criteria</a:t>
                      </a:r>
                      <a:endParaRPr lang="en-GB" b="1" dirty="0"/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coverage ≥ 95%</a:t>
                      </a:r>
                      <a:endParaRPr lang="en-GB" sz="1700" dirty="0" smtClean="0">
                        <a:effectLst/>
                        <a:latin typeface="+mn-lt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 coverage 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≥ 95% 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 coverage ≥95%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coverage ≥ 95%</a:t>
                      </a:r>
                      <a:endParaRPr lang="en-GB" sz="1700" dirty="0" smtClean="0">
                        <a:effectLst/>
                        <a:latin typeface="+mn-lt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  <a:r>
                        <a:rPr lang="en-US" sz="17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age ≥ 95%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eatment coverage &gt;95% 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●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</a:t>
                      </a:r>
                      <a:r>
                        <a:rPr lang="en-US" sz="1700" dirty="0" smtClean="0">
                          <a:solidFill>
                            <a:srgbClr val="FF0000"/>
                          </a:solidFill>
                          <a:effectLst/>
                        </a:rPr>
                        <a:t>≥ 90%</a:t>
                      </a:r>
                      <a:endParaRPr lang="en-GB" sz="170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Arial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Arial"/>
                        <a:buChar char="●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C </a:t>
                      </a:r>
                      <a:r>
                        <a:rPr lang="en-US" sz="17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≥ 90</a:t>
                      </a:r>
                      <a:r>
                        <a:rPr lang="en-US" sz="17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GB" sz="17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Arial"/>
                        <a:buChar char="●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 coverage </a:t>
                      </a:r>
                      <a:r>
                        <a:rPr lang="en-US" sz="17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≥90%</a:t>
                      </a:r>
                      <a:endParaRPr lang="en-GB" sz="17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  <a:tr h="648072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01295"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15000"/>
                        </a:lnSpc>
                      </a:pPr>
                      <a:endParaRPr lang="en-GB" sz="1700" b="1" dirty="0">
                        <a:solidFill>
                          <a:srgbClr val="FF0000"/>
                        </a:solidFill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5961418" y="5042652"/>
            <a:ext cx="2736304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algn="ctr">
              <a:lnSpc>
                <a:spcPct val="115000"/>
              </a:lnSpc>
            </a:pPr>
            <a:r>
              <a:rPr lang="en-US" b="1" dirty="0">
                <a:solidFill>
                  <a:srgbClr val="FF0000"/>
                </a:solidFill>
              </a:rPr>
              <a:t>Plan to get to Elimination for </a:t>
            </a:r>
            <a:r>
              <a:rPr lang="en-US" b="1" dirty="0" smtClean="0">
                <a:solidFill>
                  <a:srgbClr val="FF0000"/>
                </a:solidFill>
              </a:rPr>
              <a:t>HIV and syphilis</a:t>
            </a:r>
            <a:endParaRPr lang="en-GB" b="1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360" y="14118"/>
            <a:ext cx="873957" cy="400110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FF0000"/>
                </a:solidFill>
              </a:rPr>
              <a:t>DRAFT</a:t>
            </a:r>
            <a:endParaRPr lang="en-GB" sz="2000" dirty="0">
              <a:solidFill>
                <a:srgbClr val="FF0000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016" y="340380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“Pre-elimination” </a:t>
            </a:r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is an attempt to specifically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recognize </a:t>
            </a:r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this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progress in HIV PMTCT in high burden countries</a:t>
            </a:r>
            <a:endParaRPr lang="en-GB" sz="3000" cap="none" dirty="0">
              <a:solidFill>
                <a:srgbClr val="285E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681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572508" y="150102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endParaRPr lang="en-GB" sz="3000" cap="none" dirty="0">
              <a:solidFill>
                <a:srgbClr val="285EA0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The 95:95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  <a:sym typeface="Wingdings" panose="05000000000000000000" pitchFamily="2" charset="2"/>
              </a:rPr>
              <a:t>:95 and 90:90:90 process indicators are not the same as the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Fast Track 90:90:90 </a:t>
            </a:r>
            <a:r>
              <a:rPr lang="en-US" sz="3000" u="sng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cascade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 targets 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3727116"/>
              </p:ext>
            </p:extLst>
          </p:nvPr>
        </p:nvGraphicFramePr>
        <p:xfrm>
          <a:off x="5292080" y="1985233"/>
          <a:ext cx="3456384" cy="3384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Left Brace 12"/>
          <p:cNvSpPr/>
          <p:nvPr/>
        </p:nvSpPr>
        <p:spPr>
          <a:xfrm rot="16200000">
            <a:off x="7412075" y="4468438"/>
            <a:ext cx="288033" cy="207975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6918788" y="5759371"/>
            <a:ext cx="1309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Of all PLHIV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4968044" y="3170738"/>
            <a:ext cx="324036" cy="762318"/>
          </a:xfrm>
          <a:prstGeom prst="rightArrow">
            <a:avLst/>
          </a:prstGeom>
          <a:solidFill>
            <a:srgbClr val="CCE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1746663657"/>
              </p:ext>
            </p:extLst>
          </p:nvPr>
        </p:nvGraphicFramePr>
        <p:xfrm>
          <a:off x="575066" y="2037312"/>
          <a:ext cx="4536504" cy="3589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7" name="Straight Arrow Connector 16"/>
          <p:cNvCxnSpPr/>
          <p:nvPr/>
        </p:nvCxnSpPr>
        <p:spPr>
          <a:xfrm>
            <a:off x="1686759" y="5517232"/>
            <a:ext cx="0" cy="382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2622863" y="5517232"/>
            <a:ext cx="0" cy="382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3558967" y="5517232"/>
            <a:ext cx="0" cy="382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382801" y="5972599"/>
            <a:ext cx="6238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>
                <a:solidFill>
                  <a:srgbClr val="FF0000"/>
                </a:solidFill>
              </a:rPr>
              <a:t>Of all </a:t>
            </a:r>
          </a:p>
          <a:p>
            <a:r>
              <a:rPr lang="en-GB" sz="1400" b="1" dirty="0" smtClean="0">
                <a:solidFill>
                  <a:srgbClr val="FF0000"/>
                </a:solidFill>
              </a:rPr>
              <a:t>PLHIV</a:t>
            </a:r>
            <a:endParaRPr lang="en-GB" sz="1400" b="1" dirty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58511" y="5972199"/>
            <a:ext cx="9492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Of those </a:t>
            </a:r>
          </a:p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diagnosed</a:t>
            </a:r>
            <a:endParaRPr lang="en-GB" sz="1400" b="1" dirty="0">
              <a:solidFill>
                <a:srgbClr val="FF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136405" y="5971799"/>
            <a:ext cx="8595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Of those </a:t>
            </a:r>
          </a:p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treated</a:t>
            </a:r>
            <a:endParaRPr lang="en-GB" sz="1400" b="1" dirty="0">
              <a:solidFill>
                <a:srgbClr val="FF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51046" y="6021288"/>
            <a:ext cx="1454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Denominator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65023" y="2202441"/>
            <a:ext cx="22640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rgbClr val="FF0000"/>
                </a:solidFill>
              </a:rPr>
              <a:t>90	90	90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030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P spid="13" grpId="0" animBg="1"/>
      <p:bldP spid="14" grpId="0"/>
      <p:bldP spid="15" grpId="0" animBg="1"/>
      <p:bldGraphic spid="16" grpId="0">
        <p:bldAsOne/>
      </p:bldGraphic>
      <p:bldP spid="20" grpId="0"/>
      <p:bldP spid="21" grpId="0"/>
      <p:bldP spid="22" grpId="0"/>
      <p:bldP spid="24" grpId="0"/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For Elimination and Pre-elimination the denominators are distinct from the Fast Track targets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510306167"/>
              </p:ext>
            </p:extLst>
          </p:nvPr>
        </p:nvGraphicFramePr>
        <p:xfrm>
          <a:off x="1384442" y="1916832"/>
          <a:ext cx="5419806" cy="3087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2379927" y="1916832"/>
            <a:ext cx="27930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rgbClr val="FF0000"/>
                </a:solidFill>
              </a:rPr>
              <a:t>95                  95	          95</a:t>
            </a:r>
            <a:endParaRPr lang="en-GB" dirty="0">
              <a:solidFill>
                <a:srgbClr val="FF0000"/>
              </a:solidFill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2627784" y="5013176"/>
            <a:ext cx="0" cy="382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3779912" y="5013176"/>
            <a:ext cx="0" cy="382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4932040" y="5013176"/>
            <a:ext cx="0" cy="382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980639" y="5468543"/>
            <a:ext cx="9965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Of all </a:t>
            </a:r>
          </a:p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pregnant women</a:t>
            </a:r>
            <a:endParaRPr lang="en-GB" sz="1400" b="1" dirty="0">
              <a:solidFill>
                <a:srgbClr val="FF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041806" y="5468143"/>
            <a:ext cx="15089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Of all pregnant women </a:t>
            </a:r>
          </a:p>
          <a:p>
            <a:pPr algn="ctr"/>
            <a:r>
              <a:rPr lang="en-GB" sz="1400" b="1" dirty="0" smtClean="0">
                <a:solidFill>
                  <a:schemeClr val="tx2"/>
                </a:solidFill>
              </a:rPr>
              <a:t>OR</a:t>
            </a:r>
          </a:p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Of all PW with HIV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423204" y="5467743"/>
            <a:ext cx="10211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FF0000"/>
                </a:solidFill>
              </a:rPr>
              <a:t>Of all PW with HIV</a:t>
            </a:r>
            <a:endParaRPr lang="en-GB" sz="1400" b="1" dirty="0">
              <a:solidFill>
                <a:srgbClr val="FF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95536" y="5517232"/>
            <a:ext cx="1454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Denominator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868144" y="1916832"/>
            <a:ext cx="3096344" cy="3416320"/>
          </a:xfrm>
          <a:prstGeom prst="rect">
            <a:avLst/>
          </a:prstGeom>
          <a:solidFill>
            <a:srgbClr val="CCEC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Aligned with GARPR for PMTCT coverage indicators </a:t>
            </a:r>
          </a:p>
          <a:p>
            <a:endParaRPr lang="en-GB" dirty="0"/>
          </a:p>
          <a:p>
            <a:r>
              <a:rPr lang="en-GB" dirty="0" smtClean="0"/>
              <a:t>Allows countries a choice for reporting testing coverage which might be especially important for countries with concentrated epidemics</a:t>
            </a:r>
          </a:p>
          <a:p>
            <a:endParaRPr lang="en-GB" dirty="0"/>
          </a:p>
          <a:p>
            <a:r>
              <a:rPr lang="en-GB" dirty="0" smtClean="0"/>
              <a:t>Indicators are intended to be independent measures of programme efficacy</a:t>
            </a:r>
            <a:endParaRPr lang="en-GB" dirty="0"/>
          </a:p>
        </p:txBody>
      </p:sp>
      <p:sp>
        <p:nvSpPr>
          <p:cNvPr id="34" name="TextBox 33"/>
          <p:cNvSpPr txBox="1"/>
          <p:nvPr/>
        </p:nvSpPr>
        <p:spPr>
          <a:xfrm>
            <a:off x="11360" y="14118"/>
            <a:ext cx="873957" cy="400110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FF0000"/>
                </a:solidFill>
              </a:rPr>
              <a:t>DRAFT</a:t>
            </a:r>
            <a:endParaRPr lang="en-GB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74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9" grpId="0"/>
      <p:bldP spid="30" grpId="0"/>
      <p:bldP spid="31" grpId="0"/>
      <p:bldP spid="32" grpId="0"/>
      <p:bldP spid="3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Content Placeholder 2"/>
          <p:cNvSpPr>
            <a:spLocks noGrp="1"/>
          </p:cNvSpPr>
          <p:nvPr>
            <p:ph sz="half" idx="1"/>
          </p:nvPr>
        </p:nvSpPr>
        <p:spPr>
          <a:xfrm>
            <a:off x="1331640" y="1700287"/>
            <a:ext cx="7560840" cy="5545137"/>
          </a:xfrm>
        </p:spPr>
        <p:txBody>
          <a:bodyPr/>
          <a:lstStyle/>
          <a:p>
            <a:pPr marL="457200" indent="-457200">
              <a:lnSpc>
                <a:spcPct val="80000"/>
              </a:lnSpc>
              <a:buFontTx/>
              <a:buAutoNum type="arabicPeriod"/>
            </a:pPr>
            <a:endParaRPr lang="en-AU" altLang="en-US" sz="1200" dirty="0" smtClean="0"/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r>
              <a:rPr lang="en-AU" altLang="en-US" sz="2400" dirty="0" smtClean="0"/>
              <a:t>National-level evidence of achievement of the </a:t>
            </a:r>
            <a:r>
              <a:rPr lang="en-AU" altLang="en-US" sz="2400" dirty="0" smtClean="0">
                <a:solidFill>
                  <a:srgbClr val="FF0000"/>
                </a:solidFill>
              </a:rPr>
              <a:t>process indicators for 2 years </a:t>
            </a:r>
            <a:r>
              <a:rPr lang="en-AU" altLang="en-US" sz="2400" dirty="0" smtClean="0"/>
              <a:t>and </a:t>
            </a:r>
            <a:r>
              <a:rPr lang="en-AU" altLang="en-US" sz="2400" dirty="0" smtClean="0">
                <a:solidFill>
                  <a:srgbClr val="FF0000"/>
                </a:solidFill>
              </a:rPr>
              <a:t>impact indicators for 1 year  </a:t>
            </a:r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endParaRPr lang="en-AU" altLang="en-US" sz="800" dirty="0" smtClean="0"/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endParaRPr lang="en-AU" altLang="en-US" sz="1400" dirty="0" smtClean="0"/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endParaRPr lang="en-AU" altLang="en-US" sz="500" dirty="0"/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r>
              <a:rPr lang="en-AU" altLang="en-US" sz="2400" dirty="0" smtClean="0"/>
              <a:t>Evidence that EMTCT of HIV (and syphilis for Elimination) has been achieved in at least one of the </a:t>
            </a:r>
            <a:r>
              <a:rPr lang="en-AU" altLang="en-US" sz="2400" dirty="0" smtClean="0">
                <a:solidFill>
                  <a:srgbClr val="FF0000"/>
                </a:solidFill>
              </a:rPr>
              <a:t>lowest-performing sub-national administrative units (</a:t>
            </a:r>
            <a:r>
              <a:rPr lang="en-AU" altLang="en-US" sz="2400" dirty="0" err="1" smtClean="0">
                <a:solidFill>
                  <a:srgbClr val="FF0000"/>
                </a:solidFill>
              </a:rPr>
              <a:t>ie</a:t>
            </a:r>
            <a:r>
              <a:rPr lang="en-AU" altLang="en-US" sz="2400" dirty="0" smtClean="0">
                <a:solidFill>
                  <a:srgbClr val="FF0000"/>
                </a:solidFill>
              </a:rPr>
              <a:t> there are no “</a:t>
            </a:r>
            <a:r>
              <a:rPr lang="en-AU" altLang="en-US" sz="2400" dirty="0" err="1" smtClean="0">
                <a:solidFill>
                  <a:srgbClr val="FF0000"/>
                </a:solidFill>
              </a:rPr>
              <a:t>hotspots”where</a:t>
            </a:r>
            <a:r>
              <a:rPr lang="en-AU" altLang="en-US" sz="2400" dirty="0" smtClean="0">
                <a:solidFill>
                  <a:srgbClr val="FF0000"/>
                </a:solidFill>
              </a:rPr>
              <a:t> services are lacking)</a:t>
            </a:r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endParaRPr lang="en-US" altLang="en-US" sz="1100" dirty="0" smtClean="0"/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r>
              <a:rPr lang="en-AU" altLang="en-US" sz="2400" dirty="0" smtClean="0"/>
              <a:t>Existence of an </a:t>
            </a:r>
            <a:r>
              <a:rPr lang="en-AU" altLang="en-US" sz="2400" dirty="0" smtClean="0">
                <a:solidFill>
                  <a:srgbClr val="FF0000"/>
                </a:solidFill>
              </a:rPr>
              <a:t>adequate national M&amp;E system</a:t>
            </a:r>
            <a:r>
              <a:rPr lang="en-AU" altLang="en-US" sz="2400" dirty="0" smtClean="0"/>
              <a:t> that can capture data and </a:t>
            </a:r>
            <a:r>
              <a:rPr lang="en-AU" altLang="en-US" sz="2400" dirty="0" smtClean="0">
                <a:solidFill>
                  <a:srgbClr val="FF0000"/>
                </a:solidFill>
              </a:rPr>
              <a:t>detect the majority of cases of MTCT from both the public and private </a:t>
            </a:r>
            <a:r>
              <a:rPr lang="en-AU" altLang="en-US" sz="2400" dirty="0" smtClean="0"/>
              <a:t>health sectors</a:t>
            </a:r>
            <a:endParaRPr lang="en-US" altLang="en-US" sz="2400" dirty="0" smtClean="0"/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endParaRPr lang="en-US" altLang="en-US" dirty="0" smtClean="0"/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r>
              <a:rPr lang="en-AU" altLang="en-US" sz="2400" dirty="0" smtClean="0"/>
              <a:t>Criteria must have been met in a manner consistent with </a:t>
            </a:r>
            <a:r>
              <a:rPr lang="en-AU" altLang="en-US" sz="2400" dirty="0" smtClean="0">
                <a:solidFill>
                  <a:srgbClr val="FF0000"/>
                </a:solidFill>
              </a:rPr>
              <a:t>basic human rights </a:t>
            </a:r>
            <a:r>
              <a:rPr lang="en-AU" altLang="en-US" sz="2400" dirty="0" smtClean="0"/>
              <a:t>considerations</a:t>
            </a:r>
            <a:endParaRPr lang="en-US" altLang="en-US" sz="2400" dirty="0" smtClean="0"/>
          </a:p>
          <a:p>
            <a:pPr marL="457200" indent="-457200">
              <a:lnSpc>
                <a:spcPct val="80000"/>
              </a:lnSpc>
              <a:buFontTx/>
              <a:buAutoNum type="arabicPeriod"/>
            </a:pPr>
            <a:endParaRPr lang="en-US" altLang="en-US" sz="2000" dirty="0" smtClean="0"/>
          </a:p>
          <a:p>
            <a:pPr marL="457200" indent="-457200">
              <a:lnSpc>
                <a:spcPct val="80000"/>
              </a:lnSpc>
            </a:pPr>
            <a:endParaRPr lang="en-US" altLang="en-US" sz="2400" dirty="0" smtClean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508" y="150102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endParaRPr lang="en-GB" sz="3000" cap="none" dirty="0">
              <a:solidFill>
                <a:srgbClr val="285EA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81008" y="1889321"/>
            <a:ext cx="838691" cy="461665"/>
          </a:xfrm>
          <a:prstGeom prst="rect">
            <a:avLst/>
          </a:prstGeom>
          <a:solidFill>
            <a:srgbClr val="33CCCC"/>
          </a:solidFill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GB" sz="2400" b="1" dirty="0" smtClean="0"/>
              <a:t>TIME</a:t>
            </a:r>
            <a:endParaRPr lang="en-GB" sz="2400" b="1" dirty="0"/>
          </a:p>
        </p:txBody>
      </p:sp>
      <p:sp>
        <p:nvSpPr>
          <p:cNvPr id="7" name="TextBox 6"/>
          <p:cNvSpPr txBox="1"/>
          <p:nvPr/>
        </p:nvSpPr>
        <p:spPr>
          <a:xfrm rot="16200000">
            <a:off x="125571" y="3303051"/>
            <a:ext cx="1806457" cy="461665"/>
          </a:xfrm>
          <a:prstGeom prst="rect">
            <a:avLst/>
          </a:prstGeom>
          <a:solidFill>
            <a:srgbClr val="33CCCC"/>
          </a:solidFill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GB" sz="2400" b="1" dirty="0" smtClean="0"/>
              <a:t>GEOGRAPHY</a:t>
            </a:r>
            <a:endParaRPr lang="en-GB" sz="2400" b="1" dirty="0"/>
          </a:p>
        </p:txBody>
      </p:sp>
      <p:sp>
        <p:nvSpPr>
          <p:cNvPr id="8" name="TextBox 7"/>
          <p:cNvSpPr txBox="1"/>
          <p:nvPr/>
        </p:nvSpPr>
        <p:spPr>
          <a:xfrm rot="16200000">
            <a:off x="-310911" y="4565143"/>
            <a:ext cx="1298497" cy="461665"/>
          </a:xfrm>
          <a:prstGeom prst="rect">
            <a:avLst/>
          </a:prstGeom>
          <a:solidFill>
            <a:srgbClr val="33CCCC"/>
          </a:solidFill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GB" sz="2400" b="1" dirty="0" smtClean="0"/>
              <a:t>QUALITY</a:t>
            </a:r>
            <a:endParaRPr lang="en-GB" sz="2400" b="1" dirty="0"/>
          </a:p>
        </p:txBody>
      </p:sp>
      <p:sp>
        <p:nvSpPr>
          <p:cNvPr id="9" name="TextBox 8"/>
          <p:cNvSpPr txBox="1"/>
          <p:nvPr/>
        </p:nvSpPr>
        <p:spPr>
          <a:xfrm rot="16200000">
            <a:off x="460599" y="5654303"/>
            <a:ext cx="1136401" cy="461665"/>
          </a:xfrm>
          <a:prstGeom prst="rect">
            <a:avLst/>
          </a:prstGeom>
          <a:solidFill>
            <a:srgbClr val="33CCCC"/>
          </a:solidFill>
          <a:ln>
            <a:solidFill>
              <a:srgbClr val="000000"/>
            </a:solidFill>
          </a:ln>
        </p:spPr>
        <p:txBody>
          <a:bodyPr wrap="none" rtlCol="0">
            <a:spAutoFit/>
          </a:bodyPr>
          <a:lstStyle/>
          <a:p>
            <a:r>
              <a:rPr lang="en-GB" sz="2400" b="1" dirty="0" smtClean="0"/>
              <a:t>EQUITY</a:t>
            </a:r>
            <a:endParaRPr lang="en-GB" sz="2400" b="1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Additional Requirements to qualify for Validation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72" y="44624"/>
            <a:ext cx="1120619" cy="15381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4110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7" name="Picture 6" descr="http://gamapserver.who.int/mapLibrary/Files/Maps/gho_sti_anc_syphilis_positiv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6" t="5984" r="2599" b="10612"/>
          <a:stretch>
            <a:fillRect/>
          </a:stretch>
        </p:blipFill>
        <p:spPr bwMode="auto">
          <a:xfrm>
            <a:off x="1588" y="1223963"/>
            <a:ext cx="9178925" cy="566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Syphilis infects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&gt;1</a:t>
            </a:r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%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of </a:t>
            </a:r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ANC attendees in 1 in 3 countries</a:t>
            </a:r>
            <a:b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</a:br>
            <a:endParaRPr lang="en-GB" sz="3000" cap="none" dirty="0">
              <a:solidFill>
                <a:srgbClr val="285E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557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250825" y="1673374"/>
            <a:ext cx="8713788" cy="4779962"/>
          </a:xfrm>
        </p:spPr>
        <p:txBody>
          <a:bodyPr/>
          <a:lstStyle/>
          <a:p>
            <a:pPr marL="0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GB" sz="1100" b="1" dirty="0" smtClean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GB" sz="2800" b="1" dirty="0" smtClean="0"/>
              <a:t>MTCT transmission: </a:t>
            </a:r>
          </a:p>
          <a:p>
            <a:pPr>
              <a:defRPr/>
            </a:pPr>
            <a:r>
              <a:rPr lang="en-GB" sz="2400" u="sng" dirty="0" smtClean="0">
                <a:solidFill>
                  <a:srgbClr val="FF0000"/>
                </a:solidFill>
              </a:rPr>
              <a:t>HIV: </a:t>
            </a:r>
            <a:r>
              <a:rPr lang="en-GB" sz="2400" dirty="0" smtClean="0"/>
              <a:t>around 1/3 (15-45%)</a:t>
            </a:r>
          </a:p>
          <a:p>
            <a:pPr>
              <a:defRPr/>
            </a:pPr>
            <a:r>
              <a:rPr lang="en-GB" sz="2400" u="sng" dirty="0" smtClean="0">
                <a:solidFill>
                  <a:srgbClr val="00B050"/>
                </a:solidFill>
              </a:rPr>
              <a:t>Syphilis:</a:t>
            </a:r>
            <a:r>
              <a:rPr lang="en-GB" sz="2400" dirty="0" smtClean="0">
                <a:solidFill>
                  <a:srgbClr val="00B050"/>
                </a:solidFill>
              </a:rPr>
              <a:t>  </a:t>
            </a:r>
            <a:r>
              <a:rPr lang="en-US" sz="2400" dirty="0" smtClean="0"/>
              <a:t>&gt;1/2 (</a:t>
            </a:r>
            <a:r>
              <a:rPr lang="en-US" sz="2400" dirty="0"/>
              <a:t>52-90%, depending on maternal stage)</a:t>
            </a:r>
            <a:endParaRPr lang="en-GB" sz="2400" dirty="0" smtClean="0"/>
          </a:p>
          <a:p>
            <a:pPr marL="0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GB" sz="1600" dirty="0" smtClean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2800" b="1" dirty="0" smtClean="0"/>
              <a:t>Mortality and morbidity </a:t>
            </a:r>
            <a:r>
              <a:rPr lang="en-US" sz="2800" b="1" dirty="0"/>
              <a:t>w</a:t>
            </a:r>
            <a:r>
              <a:rPr lang="en-US" sz="2800" b="1" dirty="0" smtClean="0"/>
              <a:t>ithout treatment:</a:t>
            </a:r>
          </a:p>
          <a:p>
            <a:pPr>
              <a:defRPr/>
            </a:pPr>
            <a:r>
              <a:rPr lang="en-GB" sz="2400" u="sng" dirty="0" smtClean="0">
                <a:solidFill>
                  <a:srgbClr val="FF0000"/>
                </a:solidFill>
              </a:rPr>
              <a:t>HIV</a:t>
            </a:r>
            <a:r>
              <a:rPr lang="en-GB" sz="2400" u="sng" dirty="0">
                <a:solidFill>
                  <a:srgbClr val="FF0000"/>
                </a:solidFill>
              </a:rPr>
              <a:t>:</a:t>
            </a:r>
            <a:r>
              <a:rPr lang="en-US" sz="2400" dirty="0" smtClean="0"/>
              <a:t> </a:t>
            </a:r>
            <a:r>
              <a:rPr lang="en-US" sz="2400" dirty="0"/>
              <a:t>~1/3 </a:t>
            </a:r>
            <a:r>
              <a:rPr lang="en-US" sz="2400" dirty="0" smtClean="0"/>
              <a:t>with </a:t>
            </a:r>
            <a:r>
              <a:rPr lang="en-US" sz="2400" dirty="0"/>
              <a:t>HIV die </a:t>
            </a:r>
            <a:r>
              <a:rPr lang="en-US" sz="2400" dirty="0" smtClean="0"/>
              <a:t>&lt;12 months</a:t>
            </a:r>
          </a:p>
          <a:p>
            <a:pPr marL="0" indent="0" eaLnBrk="1" fontAlgn="auto" hangingPunct="1">
              <a:spcAft>
                <a:spcPts val="0"/>
              </a:spcAft>
              <a:buFont typeface="Arial" charset="0"/>
              <a:buNone/>
              <a:defRPr/>
            </a:pPr>
            <a:r>
              <a:rPr lang="en-US" sz="2400" dirty="0"/>
              <a:t>	</a:t>
            </a:r>
            <a:r>
              <a:rPr lang="en-US" sz="2400" dirty="0" smtClean="0"/>
              <a:t> ~1/2  </a:t>
            </a:r>
            <a:r>
              <a:rPr lang="en-US" sz="2400" dirty="0"/>
              <a:t>die by </a:t>
            </a:r>
            <a:r>
              <a:rPr lang="en-US" sz="2400" dirty="0" smtClean="0"/>
              <a:t>&lt;24 months</a:t>
            </a:r>
          </a:p>
          <a:p>
            <a:pPr>
              <a:defRPr/>
            </a:pPr>
            <a:r>
              <a:rPr lang="en-GB" sz="2400" u="sng" dirty="0">
                <a:solidFill>
                  <a:srgbClr val="00B050"/>
                </a:solidFill>
              </a:rPr>
              <a:t>Syphilis:</a:t>
            </a:r>
            <a:r>
              <a:rPr lang="en-GB" sz="2400" dirty="0">
                <a:solidFill>
                  <a:srgbClr val="00B050"/>
                </a:solidFill>
              </a:rPr>
              <a:t>  </a:t>
            </a:r>
            <a:r>
              <a:rPr lang="en-GB" sz="2400" dirty="0" smtClean="0"/>
              <a:t>52% perinatal deaths, 31% congenital disease, 12 </a:t>
            </a:r>
            <a:r>
              <a:rPr lang="en-US" sz="2400" dirty="0" smtClean="0"/>
              <a:t>% preterm or low </a:t>
            </a:r>
            <a:r>
              <a:rPr lang="en-US" sz="2400" dirty="0" err="1" smtClean="0"/>
              <a:t>birthweight</a:t>
            </a:r>
            <a:r>
              <a:rPr lang="en-US" sz="2400" dirty="0" smtClean="0"/>
              <a:t> (at risk for infant death)</a:t>
            </a:r>
            <a:endParaRPr lang="en-GB" sz="2400" dirty="0"/>
          </a:p>
          <a:p>
            <a:pPr marL="0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GB" sz="3600" dirty="0"/>
          </a:p>
          <a:p>
            <a:pPr marL="0" indent="0" eaLnBrk="1" fontAlgn="auto" hangingPunct="1">
              <a:spcAft>
                <a:spcPts val="0"/>
              </a:spcAft>
              <a:buFont typeface="Arial" charset="0"/>
              <a:buNone/>
              <a:defRPr/>
            </a:pPr>
            <a:endParaRPr lang="en-US" sz="2800" dirty="0" smtClean="0"/>
          </a:p>
          <a:p>
            <a:pPr marL="0" indent="0" eaLnBrk="1" fontAlgn="auto" hangingPunct="1">
              <a:spcAft>
                <a:spcPts val="0"/>
              </a:spcAft>
              <a:buFont typeface="Arial" charset="0"/>
              <a:buNone/>
              <a:defRPr/>
            </a:pPr>
            <a:endParaRPr lang="en-US" sz="2800" dirty="0"/>
          </a:p>
          <a:p>
            <a:pPr marL="0" indent="0" eaLnBrk="1" fontAlgn="auto" hangingPunct="1">
              <a:spcAft>
                <a:spcPts val="0"/>
              </a:spcAft>
              <a:buFont typeface="Arial"/>
              <a:buNone/>
              <a:defRPr/>
            </a:pPr>
            <a:endParaRPr lang="en-GB" sz="2800" b="1" dirty="0" smtClean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MTCT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rates of </a:t>
            </a:r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HIV and Syphilis 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and morbidity/mortality of congenital infection without treatment</a:t>
            </a:r>
            <a:endParaRPr lang="en-GB" sz="3000" cap="none" dirty="0">
              <a:solidFill>
                <a:srgbClr val="285E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8070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1296491"/>
            <a:ext cx="8578850" cy="5876925"/>
          </a:xfrm>
        </p:spPr>
        <p:txBody>
          <a:bodyPr/>
          <a:lstStyle/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GB" sz="2800" dirty="0" smtClean="0">
                <a:solidFill>
                  <a:srgbClr val="000099"/>
                </a:solidFill>
              </a:rPr>
              <a:t>Burden</a:t>
            </a:r>
          </a:p>
          <a:p>
            <a:pPr>
              <a:defRPr/>
            </a:pPr>
            <a:r>
              <a:rPr lang="en-GB" sz="2400" u="sng" dirty="0" smtClean="0">
                <a:solidFill>
                  <a:srgbClr val="FF0000"/>
                </a:solidFill>
              </a:rPr>
              <a:t>HIV</a:t>
            </a:r>
            <a:r>
              <a:rPr lang="en-GB" sz="2400" dirty="0" smtClean="0">
                <a:solidFill>
                  <a:srgbClr val="FF0000"/>
                </a:solidFill>
              </a:rPr>
              <a:t>: </a:t>
            </a:r>
            <a:r>
              <a:rPr lang="en-GB" sz="2400" dirty="0" smtClean="0"/>
              <a:t>estimated 220,000 MTCT infections in 2014</a:t>
            </a:r>
          </a:p>
          <a:p>
            <a:pPr>
              <a:defRPr/>
            </a:pPr>
            <a:r>
              <a:rPr lang="en-GB" sz="2400" u="sng" dirty="0" smtClean="0">
                <a:solidFill>
                  <a:srgbClr val="00B050"/>
                </a:solidFill>
              </a:rPr>
              <a:t>Syphilis</a:t>
            </a:r>
            <a:r>
              <a:rPr lang="en-GB" sz="2400" dirty="0" smtClean="0">
                <a:solidFill>
                  <a:srgbClr val="00B050"/>
                </a:solidFill>
              </a:rPr>
              <a:t>: </a:t>
            </a:r>
            <a:r>
              <a:rPr lang="en-GB" sz="2400" dirty="0" smtClean="0"/>
              <a:t>estimated 350,000 adverse outcomes in 2012 (including 143,000 perinatal deaths)</a:t>
            </a:r>
            <a:endParaRPr lang="en-GB" sz="1200" dirty="0" smtClean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GB" sz="2800" dirty="0" smtClean="0">
              <a:solidFill>
                <a:srgbClr val="000099"/>
              </a:solidFill>
            </a:endParaRP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GB" sz="2800" dirty="0" smtClean="0">
                <a:solidFill>
                  <a:srgbClr val="000099"/>
                </a:solidFill>
              </a:rPr>
              <a:t>Impact of treatment interventions</a:t>
            </a:r>
          </a:p>
          <a:p>
            <a:pPr>
              <a:defRPr/>
            </a:pPr>
            <a:r>
              <a:rPr lang="en-GB" sz="2400" u="sng" dirty="0" smtClean="0">
                <a:solidFill>
                  <a:srgbClr val="FF0000"/>
                </a:solidFill>
              </a:rPr>
              <a:t>HIV: </a:t>
            </a:r>
            <a:r>
              <a:rPr lang="en-GB" sz="2400" dirty="0" smtClean="0"/>
              <a:t>early and continued ART can reduce transmission from 15-45%  to  &lt;2% or &lt;5%</a:t>
            </a:r>
            <a:endParaRPr lang="en-GB" sz="2400" dirty="0">
              <a:solidFill>
                <a:srgbClr val="FF0000"/>
              </a:solidFill>
            </a:endParaRPr>
          </a:p>
          <a:p>
            <a:pPr>
              <a:defRPr/>
            </a:pPr>
            <a:r>
              <a:rPr lang="en-GB" sz="2400" u="sng" dirty="0">
                <a:solidFill>
                  <a:srgbClr val="00B050"/>
                </a:solidFill>
              </a:rPr>
              <a:t>Syphilis</a:t>
            </a:r>
            <a:r>
              <a:rPr lang="en-GB" sz="2400" u="sng" dirty="0" smtClean="0">
                <a:solidFill>
                  <a:srgbClr val="00B050"/>
                </a:solidFill>
              </a:rPr>
              <a:t>:</a:t>
            </a:r>
            <a:r>
              <a:rPr lang="en-GB" sz="2400" dirty="0" smtClean="0">
                <a:solidFill>
                  <a:srgbClr val="00B050"/>
                </a:solidFill>
              </a:rPr>
              <a:t> </a:t>
            </a:r>
            <a:r>
              <a:rPr lang="en-US" sz="2400" dirty="0"/>
              <a:t>Screening and treatment of syphilis-infected mothers </a:t>
            </a:r>
            <a:r>
              <a:rPr lang="en-US" sz="2400" u="sng" dirty="0"/>
              <a:t>&lt;</a:t>
            </a:r>
            <a:r>
              <a:rPr lang="en-US" sz="2400" dirty="0"/>
              <a:t> 30 days before delivery can </a:t>
            </a:r>
            <a:r>
              <a:rPr lang="en-US" sz="2400" dirty="0" smtClean="0"/>
              <a:t>dramatically reduce transmission and thus prevent </a:t>
            </a:r>
            <a:r>
              <a:rPr lang="en-US" sz="2400" dirty="0"/>
              <a:t>perinatal morbidity and </a:t>
            </a:r>
            <a:r>
              <a:rPr lang="en-US" sz="2400" dirty="0" smtClean="0"/>
              <a:t>mortality</a:t>
            </a:r>
            <a:endParaRPr lang="en-GB" sz="1600" dirty="0" smtClean="0">
              <a:solidFill>
                <a:srgbClr val="00B05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This large burden of disease is preventable!</a:t>
            </a:r>
            <a:endParaRPr lang="en-GB" sz="3000" cap="none" dirty="0">
              <a:solidFill>
                <a:srgbClr val="285E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115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 txBox="1">
            <a:spLocks/>
          </p:cNvSpPr>
          <p:nvPr/>
        </p:nvSpPr>
        <p:spPr>
          <a:xfrm>
            <a:off x="1016" y="340380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In addition to meeting criteria, an Elimination Plan is needed for a country to be certified for pre-elimination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0192108"/>
              </p:ext>
            </p:extLst>
          </p:nvPr>
        </p:nvGraphicFramePr>
        <p:xfrm>
          <a:off x="755576" y="2053810"/>
          <a:ext cx="7488832" cy="33914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4527"/>
                <a:gridCol w="6954305"/>
              </a:tblGrid>
              <a:tr h="297509">
                <a:tc grid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Proposed elements in the Elimination Plan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4188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GB" sz="200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5725" indent="0"/>
                      <a:r>
                        <a:rPr lang="en-GB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dressing</a:t>
                      </a:r>
                      <a:r>
                        <a:rPr lang="en-GB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racking, control and prevention of </a:t>
                      </a:r>
                      <a:r>
                        <a:rPr lang="en-GB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gential</a:t>
                      </a:r>
                      <a:r>
                        <a:rPr lang="en-GB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yphilis</a:t>
                      </a:r>
                      <a:endParaRPr lang="en-GB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</a:tr>
              <a:tr h="38532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2</a:t>
                      </a:r>
                      <a:endParaRPr lang="en-GB" sz="200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5725" lvl="2" indent="0" defTabSz="85725">
                        <a:lnSpc>
                          <a:spcPct val="115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GB" sz="1600" dirty="0" smtClean="0"/>
                        <a:t>Retention both antepartum and post partum </a:t>
                      </a:r>
                    </a:p>
                  </a:txBody>
                  <a:tcPr marL="0" marR="0" marT="0" marB="0"/>
                </a:tc>
              </a:tr>
              <a:tr h="38532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3</a:t>
                      </a:r>
                      <a:endParaRPr lang="en-GB" sz="200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5725" lvl="2" indent="0" defTabSz="85725">
                        <a:lnSpc>
                          <a:spcPct val="115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GB" sz="1600" dirty="0" smtClean="0"/>
                        <a:t>Prongs 1 and 2</a:t>
                      </a:r>
                    </a:p>
                  </a:txBody>
                  <a:tcPr marL="0" marR="0" marT="0" marB="0"/>
                </a:tc>
              </a:tr>
              <a:tr h="24537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4</a:t>
                      </a:r>
                      <a:endParaRPr lang="en-GB" sz="200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5725" lvl="2" indent="0" defTabSz="85725">
                        <a:lnSpc>
                          <a:spcPct val="115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GB" sz="1600" dirty="0" smtClean="0"/>
                        <a:t>Incident HIV reduction through partner testing and treatment,</a:t>
                      </a:r>
                      <a:r>
                        <a:rPr lang="en-GB" sz="1600" baseline="0" dirty="0" smtClean="0"/>
                        <a:t> </a:t>
                      </a:r>
                      <a:r>
                        <a:rPr lang="en-GB" sz="1600" dirty="0" err="1" smtClean="0"/>
                        <a:t>PrEP</a:t>
                      </a:r>
                      <a:r>
                        <a:rPr lang="en-GB" sz="1600" dirty="0" smtClean="0"/>
                        <a:t> for negative women during pregnancy</a:t>
                      </a:r>
                      <a:r>
                        <a:rPr lang="en-GB" sz="1600" baseline="0" dirty="0" smtClean="0"/>
                        <a:t> and breastfeeding and other interventions</a:t>
                      </a:r>
                      <a:endParaRPr lang="en-GB" sz="1800" dirty="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0" marR="0" marT="0" marB="0"/>
                </a:tc>
              </a:tr>
              <a:tr h="27234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5</a:t>
                      </a:r>
                      <a:endParaRPr lang="en-GB" sz="200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5725" marR="0" lvl="2" indent="0" algn="l" defTabSz="8572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dirty="0" smtClean="0"/>
                        <a:t>Re-testing for negatives to identify incident HIV and prevent</a:t>
                      </a:r>
                      <a:endParaRPr lang="en-GB" sz="1800" dirty="0" smtClean="0">
                        <a:effectLst/>
                        <a:latin typeface="+mn-lt"/>
                        <a:ea typeface="Calibri"/>
                        <a:cs typeface="Arial"/>
                      </a:endParaRPr>
                    </a:p>
                  </a:txBody>
                  <a:tcPr marL="0" marR="0" marT="0" marB="0"/>
                </a:tc>
              </a:tr>
              <a:tr h="34967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6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5725" marR="0" lvl="2" indent="0" algn="l" defTabSz="85725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dirty="0" smtClean="0"/>
                        <a:t>MTCT </a:t>
                      </a:r>
                      <a:r>
                        <a:rPr lang="en-GB" sz="1600" dirty="0" smtClean="0">
                          <a:effectLst/>
                          <a:latin typeface="+mn-lt"/>
                          <a:ea typeface="Calibri"/>
                          <a:cs typeface="Arial"/>
                        </a:rPr>
                        <a:t>Infant prophylaxis strengthening</a:t>
                      </a:r>
                    </a:p>
                  </a:txBody>
                  <a:tcPr marL="0" marR="0" marT="0" marB="0"/>
                </a:tc>
              </a:tr>
              <a:tr h="71348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  <a:latin typeface="Calibri"/>
                          <a:ea typeface="Calibri"/>
                          <a:cs typeface="Arial"/>
                        </a:rPr>
                        <a:t>7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2" indent="0" algn="l" defTabSz="91407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/>
                        <a:t>Uptake of Treat All to ensure that more and more women are on ART pre-conception</a:t>
                      </a:r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389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83568" y="2060848"/>
            <a:ext cx="28295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 smtClean="0"/>
              <a:t>Maternal Prevalence</a:t>
            </a:r>
            <a:endParaRPr lang="en-GB" sz="24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737772" y="2060848"/>
            <a:ext cx="15673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 smtClean="0"/>
              <a:t>MTCT Rate</a:t>
            </a:r>
            <a:endParaRPr lang="en-GB" sz="2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683569" y="2807057"/>
            <a:ext cx="345638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Time </a:t>
            </a:r>
            <a:r>
              <a:rPr lang="en-GB" sz="1700" dirty="0" smtClean="0">
                <a:solidFill>
                  <a:srgbClr val="FF0000"/>
                </a:solidFill>
              </a:rPr>
              <a:t>(epidemic decli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FP access </a:t>
            </a:r>
            <a:r>
              <a:rPr lang="en-GB" sz="1700" dirty="0" smtClean="0">
                <a:solidFill>
                  <a:srgbClr val="FF0000"/>
                </a:solidFill>
              </a:rPr>
              <a:t>(fewer pregnanci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Men on ART </a:t>
            </a:r>
            <a:r>
              <a:rPr lang="en-GB" sz="1700" dirty="0" smtClean="0">
                <a:solidFill>
                  <a:srgbClr val="FF0000"/>
                </a:solidFill>
              </a:rPr>
              <a:t>(fewer transmission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Women focused prevention </a:t>
            </a:r>
            <a:r>
              <a:rPr lang="en-GB" sz="1700" dirty="0" err="1" smtClean="0"/>
              <a:t>eg</a:t>
            </a:r>
            <a:r>
              <a:rPr lang="en-GB" sz="1700" dirty="0" smtClean="0"/>
              <a:t> education awareness, PREP, condoms </a:t>
            </a:r>
            <a:r>
              <a:rPr lang="en-GB" sz="1700" dirty="0" smtClean="0">
                <a:solidFill>
                  <a:srgbClr val="FF0000"/>
                </a:solidFill>
              </a:rPr>
              <a:t>(fewer infections among women)</a:t>
            </a:r>
            <a:endParaRPr lang="en-GB" sz="1700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499992" y="2807057"/>
            <a:ext cx="4392488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Coverage of testing and ART </a:t>
            </a:r>
            <a:r>
              <a:rPr lang="en-GB" sz="1700" dirty="0" smtClean="0">
                <a:solidFill>
                  <a:srgbClr val="FF0000"/>
                </a:solidFill>
              </a:rPr>
              <a:t>(even small gaps in coverage result in lots of MTCT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Timing of ART start relative to pregnancy </a:t>
            </a:r>
            <a:r>
              <a:rPr lang="en-GB" sz="1700" dirty="0" smtClean="0">
                <a:solidFill>
                  <a:srgbClr val="FF0000"/>
                </a:solidFill>
              </a:rPr>
              <a:t>(early ART and preconception AR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Incident HIV </a:t>
            </a:r>
            <a:r>
              <a:rPr lang="en-GB" sz="1700" dirty="0" smtClean="0">
                <a:solidFill>
                  <a:srgbClr val="FF0000"/>
                </a:solidFill>
              </a:rPr>
              <a:t>(reduce very high risk events)</a:t>
            </a:r>
          </a:p>
          <a:p>
            <a:pPr marL="742950" lvl="1" indent="-285750">
              <a:buFont typeface="Calibri" panose="020F0502020204030204" pitchFamily="34" charset="0"/>
              <a:buChar char="–"/>
            </a:pPr>
            <a:r>
              <a:rPr lang="en-GB" sz="1700" dirty="0" smtClean="0"/>
              <a:t>Partner testing</a:t>
            </a:r>
          </a:p>
          <a:p>
            <a:pPr marL="742950" lvl="1" indent="-285750">
              <a:buFont typeface="Calibri" panose="020F0502020204030204" pitchFamily="34" charset="0"/>
              <a:buChar char="–"/>
            </a:pPr>
            <a:r>
              <a:rPr lang="en-GB" sz="1700" dirty="0" smtClean="0"/>
              <a:t>PREP for </a:t>
            </a:r>
            <a:r>
              <a:rPr lang="en-GB" sz="1700" dirty="0" err="1" smtClean="0"/>
              <a:t>neg</a:t>
            </a:r>
            <a:r>
              <a:rPr lang="en-GB" sz="1700" dirty="0" smtClean="0"/>
              <a:t> PW</a:t>
            </a:r>
          </a:p>
          <a:p>
            <a:pPr marL="742950" lvl="1" indent="-285750">
              <a:buFont typeface="Calibri" panose="020F0502020204030204" pitchFamily="34" charset="0"/>
              <a:buChar char="–"/>
            </a:pPr>
            <a:r>
              <a:rPr lang="en-GB" sz="1700" dirty="0" smtClean="0"/>
              <a:t>Retesting of P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dirty="0" smtClean="0"/>
              <a:t>Retention on ART </a:t>
            </a:r>
            <a:r>
              <a:rPr lang="en-GB" sz="1700" dirty="0" smtClean="0">
                <a:solidFill>
                  <a:srgbClr val="FF0000"/>
                </a:solidFill>
              </a:rPr>
              <a:t>(less transmission in BF)</a:t>
            </a: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1016" y="340380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C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ase rate is a function of ANC prevalence and MTCT rate so to get below 50 these factors must be addressed 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00970" y="2060848"/>
            <a:ext cx="504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/>
              <a:t>X</a:t>
            </a:r>
            <a:endParaRPr lang="en-GB" sz="24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6515708" y="2060848"/>
            <a:ext cx="504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/>
              <a:t>=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042028" y="2067621"/>
            <a:ext cx="14299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 smtClean="0"/>
              <a:t>Case Rate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15100680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170" name="Picture 9" descr="P501987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40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-15974" y="25400"/>
            <a:ext cx="91599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WHO announces Cuba as the first country to eliminate MTCT of HIV and </a:t>
            </a:r>
            <a:r>
              <a:rPr lang="en-US" sz="2800" b="1" dirty="0" smtClean="0">
                <a:solidFill>
                  <a:schemeClr val="bg1"/>
                </a:solidFill>
              </a:rPr>
              <a:t>syphilis</a:t>
            </a:r>
            <a:endParaRPr lang="en-GB" sz="28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36512" y="5949280"/>
            <a:ext cx="91599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June </a:t>
            </a:r>
            <a:r>
              <a:rPr lang="en-US" sz="2800" b="1" dirty="0">
                <a:solidFill>
                  <a:schemeClr val="bg1"/>
                </a:solidFill>
              </a:rPr>
              <a:t>30, </a:t>
            </a:r>
            <a:r>
              <a:rPr lang="en-US" sz="2800" b="1" dirty="0" smtClean="0">
                <a:solidFill>
                  <a:schemeClr val="bg1"/>
                </a:solidFill>
              </a:rPr>
              <a:t>2015</a:t>
            </a:r>
            <a:endParaRPr lang="en-GB" sz="2800" b="1" dirty="0">
              <a:solidFill>
                <a:schemeClr val="bg1"/>
              </a:solidFill>
            </a:endParaRPr>
          </a:p>
        </p:txBody>
      </p:sp>
      <p:pic>
        <p:nvPicPr>
          <p:cNvPr id="7" name="Picture 1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086" b="55650"/>
          <a:stretch/>
        </p:blipFill>
        <p:spPr bwMode="auto">
          <a:xfrm>
            <a:off x="2155106" y="2766255"/>
            <a:ext cx="889868" cy="321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0492" y="3075573"/>
            <a:ext cx="4499740" cy="47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272" y="4174704"/>
            <a:ext cx="4648200" cy="807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695" y="4077072"/>
            <a:ext cx="792710" cy="1056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40" y="5006503"/>
            <a:ext cx="3000375" cy="71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00" y="4586986"/>
            <a:ext cx="1644572" cy="346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805444"/>
            <a:ext cx="3419475" cy="6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738" y="1628800"/>
            <a:ext cx="965742" cy="217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7991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687503" y="6357565"/>
            <a:ext cx="33337" cy="57150"/>
          </a:xfrm>
          <a:custGeom>
            <a:avLst/>
            <a:gdLst>
              <a:gd name="T0" fmla="*/ 0 w 73"/>
              <a:gd name="T1" fmla="*/ 0 h 20"/>
              <a:gd name="T2" fmla="*/ 2147483647 w 73"/>
              <a:gd name="T3" fmla="*/ 2147483647 h 20"/>
              <a:gd name="T4" fmla="*/ 2147483647 w 73"/>
              <a:gd name="T5" fmla="*/ 2147483647 h 20"/>
              <a:gd name="T6" fmla="*/ 2147483647 w 73"/>
              <a:gd name="T7" fmla="*/ 2147483647 h 20"/>
              <a:gd name="T8" fmla="*/ 2147483647 w 73"/>
              <a:gd name="T9" fmla="*/ 2147483647 h 20"/>
              <a:gd name="T10" fmla="*/ 2147483647 w 73"/>
              <a:gd name="T11" fmla="*/ 2147483647 h 20"/>
              <a:gd name="T12" fmla="*/ 2147483647 w 73"/>
              <a:gd name="T13" fmla="*/ 2147483647 h 20"/>
              <a:gd name="T14" fmla="*/ 2147483647 w 73"/>
              <a:gd name="T15" fmla="*/ 2147483647 h 20"/>
              <a:gd name="T16" fmla="*/ 2147483647 w 73"/>
              <a:gd name="T17" fmla="*/ 2147483647 h 20"/>
              <a:gd name="T18" fmla="*/ 2147483647 w 73"/>
              <a:gd name="T19" fmla="*/ 2147483647 h 20"/>
              <a:gd name="T20" fmla="*/ 2147483647 w 73"/>
              <a:gd name="T21" fmla="*/ 2147483647 h 20"/>
              <a:gd name="T22" fmla="*/ 2147483647 w 73"/>
              <a:gd name="T23" fmla="*/ 2147483647 h 20"/>
              <a:gd name="T24" fmla="*/ 2147483647 w 73"/>
              <a:gd name="T25" fmla="*/ 2147483647 h 20"/>
              <a:gd name="T26" fmla="*/ 2147483647 w 73"/>
              <a:gd name="T27" fmla="*/ 2147483647 h 20"/>
              <a:gd name="T28" fmla="*/ 2147483647 w 73"/>
              <a:gd name="T29" fmla="*/ 2147483647 h 20"/>
              <a:gd name="T30" fmla="*/ 2147483647 w 73"/>
              <a:gd name="T31" fmla="*/ 2147483647 h 20"/>
              <a:gd name="T32" fmla="*/ 214748364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1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46003" y="2458665"/>
            <a:ext cx="784225" cy="446088"/>
          </a:xfrm>
          <a:custGeom>
            <a:avLst/>
            <a:gdLst>
              <a:gd name="T0" fmla="*/ 2147483647 w 1808"/>
              <a:gd name="T1" fmla="*/ 2147483647 h 850"/>
              <a:gd name="T2" fmla="*/ 2147483647 w 1808"/>
              <a:gd name="T3" fmla="*/ 2147483647 h 850"/>
              <a:gd name="T4" fmla="*/ 2147483647 w 1808"/>
              <a:gd name="T5" fmla="*/ 2147483647 h 850"/>
              <a:gd name="T6" fmla="*/ 2147483647 w 1808"/>
              <a:gd name="T7" fmla="*/ 2147483647 h 850"/>
              <a:gd name="T8" fmla="*/ 2147483647 w 1808"/>
              <a:gd name="T9" fmla="*/ 2147483647 h 850"/>
              <a:gd name="T10" fmla="*/ 2147483647 w 1808"/>
              <a:gd name="T11" fmla="*/ 2147483647 h 850"/>
              <a:gd name="T12" fmla="*/ 2147483647 w 1808"/>
              <a:gd name="T13" fmla="*/ 2147483647 h 850"/>
              <a:gd name="T14" fmla="*/ 2147483647 w 1808"/>
              <a:gd name="T15" fmla="*/ 2147483647 h 850"/>
              <a:gd name="T16" fmla="*/ 2147483647 w 1808"/>
              <a:gd name="T17" fmla="*/ 2147483647 h 850"/>
              <a:gd name="T18" fmla="*/ 2147483647 w 1808"/>
              <a:gd name="T19" fmla="*/ 2147483647 h 850"/>
              <a:gd name="T20" fmla="*/ 2147483647 w 1808"/>
              <a:gd name="T21" fmla="*/ 2147483647 h 850"/>
              <a:gd name="T22" fmla="*/ 2147483647 w 1808"/>
              <a:gd name="T23" fmla="*/ 2147483647 h 850"/>
              <a:gd name="T24" fmla="*/ 2147483647 w 1808"/>
              <a:gd name="T25" fmla="*/ 2147483647 h 850"/>
              <a:gd name="T26" fmla="*/ 2147483647 w 1808"/>
              <a:gd name="T27" fmla="*/ 2147483647 h 850"/>
              <a:gd name="T28" fmla="*/ 2147483647 w 1808"/>
              <a:gd name="T29" fmla="*/ 2147483647 h 850"/>
              <a:gd name="T30" fmla="*/ 2147483647 w 1808"/>
              <a:gd name="T31" fmla="*/ 2147483647 h 850"/>
              <a:gd name="T32" fmla="*/ 2147483647 w 1808"/>
              <a:gd name="T33" fmla="*/ 2147483647 h 850"/>
              <a:gd name="T34" fmla="*/ 2147483647 w 1808"/>
              <a:gd name="T35" fmla="*/ 2147483647 h 850"/>
              <a:gd name="T36" fmla="*/ 2147483647 w 1808"/>
              <a:gd name="T37" fmla="*/ 2147483647 h 850"/>
              <a:gd name="T38" fmla="*/ 2147483647 w 1808"/>
              <a:gd name="T39" fmla="*/ 2147483647 h 850"/>
              <a:gd name="T40" fmla="*/ 2147483647 w 1808"/>
              <a:gd name="T41" fmla="*/ 2147483647 h 850"/>
              <a:gd name="T42" fmla="*/ 2147483647 w 1808"/>
              <a:gd name="T43" fmla="*/ 2147483647 h 850"/>
              <a:gd name="T44" fmla="*/ 2147483647 w 1808"/>
              <a:gd name="T45" fmla="*/ 2147483647 h 850"/>
              <a:gd name="T46" fmla="*/ 2147483647 w 1808"/>
              <a:gd name="T47" fmla="*/ 2147483647 h 850"/>
              <a:gd name="T48" fmla="*/ 2147483647 w 1808"/>
              <a:gd name="T49" fmla="*/ 2147483647 h 850"/>
              <a:gd name="T50" fmla="*/ 2147483647 w 1808"/>
              <a:gd name="T51" fmla="*/ 2147483647 h 850"/>
              <a:gd name="T52" fmla="*/ 2147483647 w 1808"/>
              <a:gd name="T53" fmla="*/ 2147483647 h 850"/>
              <a:gd name="T54" fmla="*/ 2147483647 w 1808"/>
              <a:gd name="T55" fmla="*/ 2147483647 h 850"/>
              <a:gd name="T56" fmla="*/ 2147483647 w 1808"/>
              <a:gd name="T57" fmla="*/ 2147483647 h 850"/>
              <a:gd name="T58" fmla="*/ 2147483647 w 1808"/>
              <a:gd name="T59" fmla="*/ 2147483647 h 850"/>
              <a:gd name="T60" fmla="*/ 2147483647 w 1808"/>
              <a:gd name="T61" fmla="*/ 2147483647 h 850"/>
              <a:gd name="T62" fmla="*/ 2147483647 w 1808"/>
              <a:gd name="T63" fmla="*/ 2147483647 h 850"/>
              <a:gd name="T64" fmla="*/ 2147483647 w 1808"/>
              <a:gd name="T65" fmla="*/ 2147483647 h 850"/>
              <a:gd name="T66" fmla="*/ 2147483647 w 1808"/>
              <a:gd name="T67" fmla="*/ 2147483647 h 850"/>
              <a:gd name="T68" fmla="*/ 2147483647 w 1808"/>
              <a:gd name="T69" fmla="*/ 2147483647 h 850"/>
              <a:gd name="T70" fmla="*/ 2147483647 w 1808"/>
              <a:gd name="T71" fmla="*/ 2147483647 h 850"/>
              <a:gd name="T72" fmla="*/ 2147483647 w 1808"/>
              <a:gd name="T73" fmla="*/ 2147483647 h 850"/>
              <a:gd name="T74" fmla="*/ 2147483647 w 1808"/>
              <a:gd name="T75" fmla="*/ 2147483647 h 850"/>
              <a:gd name="T76" fmla="*/ 2147483647 w 1808"/>
              <a:gd name="T77" fmla="*/ 2147483647 h 850"/>
              <a:gd name="T78" fmla="*/ 2147483647 w 1808"/>
              <a:gd name="T79" fmla="*/ 2147483647 h 850"/>
              <a:gd name="T80" fmla="*/ 2147483647 w 1808"/>
              <a:gd name="T81" fmla="*/ 2147483647 h 850"/>
              <a:gd name="T82" fmla="*/ 2147483647 w 1808"/>
              <a:gd name="T83" fmla="*/ 2147483647 h 850"/>
              <a:gd name="T84" fmla="*/ 2147483647 w 1808"/>
              <a:gd name="T85" fmla="*/ 2147483647 h 850"/>
              <a:gd name="T86" fmla="*/ 2147483647 w 1808"/>
              <a:gd name="T87" fmla="*/ 2147483647 h 850"/>
              <a:gd name="T88" fmla="*/ 2147483647 w 1808"/>
              <a:gd name="T89" fmla="*/ 2147483647 h 850"/>
              <a:gd name="T90" fmla="*/ 2147483647 w 1808"/>
              <a:gd name="T91" fmla="*/ 2147483647 h 850"/>
              <a:gd name="T92" fmla="*/ 2147483647 w 1808"/>
              <a:gd name="T93" fmla="*/ 2147483647 h 850"/>
              <a:gd name="T94" fmla="*/ 2147483647 w 1808"/>
              <a:gd name="T95" fmla="*/ 2147483647 h 850"/>
              <a:gd name="T96" fmla="*/ 2147483647 w 1808"/>
              <a:gd name="T97" fmla="*/ 2147483647 h 850"/>
              <a:gd name="T98" fmla="*/ 2147483647 w 1808"/>
              <a:gd name="T99" fmla="*/ 2147483647 h 850"/>
              <a:gd name="T100" fmla="*/ 2147483647 w 1808"/>
              <a:gd name="T101" fmla="*/ 2147483647 h 850"/>
              <a:gd name="T102" fmla="*/ 2147483647 w 1808"/>
              <a:gd name="T103" fmla="*/ 2147483647 h 850"/>
              <a:gd name="T104" fmla="*/ 2147483647 w 1808"/>
              <a:gd name="T105" fmla="*/ 2147483647 h 850"/>
              <a:gd name="T106" fmla="*/ 2147483647 w 1808"/>
              <a:gd name="T107" fmla="*/ 2147483647 h 850"/>
              <a:gd name="T108" fmla="*/ 2147483647 w 1808"/>
              <a:gd name="T109" fmla="*/ 2147483647 h 850"/>
              <a:gd name="T110" fmla="*/ 2147483647 w 1808"/>
              <a:gd name="T111" fmla="*/ 2147483647 h 850"/>
              <a:gd name="T112" fmla="*/ 2147483647 w 1808"/>
              <a:gd name="T113" fmla="*/ 2147483647 h 850"/>
              <a:gd name="T114" fmla="*/ 2147483647 w 1808"/>
              <a:gd name="T115" fmla="*/ 2147483647 h 850"/>
              <a:gd name="T116" fmla="*/ 2147483647 w 1808"/>
              <a:gd name="T117" fmla="*/ 2147483647 h 850"/>
              <a:gd name="T118" fmla="*/ 2147483647 w 1808"/>
              <a:gd name="T119" fmla="*/ 2147483647 h 850"/>
              <a:gd name="T120" fmla="*/ 2147483647 w 1808"/>
              <a:gd name="T121" fmla="*/ 2147483647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52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306378" y="3074615"/>
            <a:ext cx="1381125" cy="769938"/>
          </a:xfrm>
          <a:custGeom>
            <a:avLst/>
            <a:gdLst>
              <a:gd name="T0" fmla="*/ 2147483647 w 3175"/>
              <a:gd name="T1" fmla="*/ 2147483647 h 1472"/>
              <a:gd name="T2" fmla="*/ 2147483647 w 3175"/>
              <a:gd name="T3" fmla="*/ 2147483647 h 1472"/>
              <a:gd name="T4" fmla="*/ 2147483647 w 3175"/>
              <a:gd name="T5" fmla="*/ 2147483647 h 1472"/>
              <a:gd name="T6" fmla="*/ 2147483647 w 3175"/>
              <a:gd name="T7" fmla="*/ 2147483647 h 1472"/>
              <a:gd name="T8" fmla="*/ 2147483647 w 3175"/>
              <a:gd name="T9" fmla="*/ 2147483647 h 1472"/>
              <a:gd name="T10" fmla="*/ 2147483647 w 3175"/>
              <a:gd name="T11" fmla="*/ 2147483647 h 1472"/>
              <a:gd name="T12" fmla="*/ 2147483647 w 3175"/>
              <a:gd name="T13" fmla="*/ 2147483647 h 1472"/>
              <a:gd name="T14" fmla="*/ 2147483647 w 3175"/>
              <a:gd name="T15" fmla="*/ 2147483647 h 1472"/>
              <a:gd name="T16" fmla="*/ 2147483647 w 3175"/>
              <a:gd name="T17" fmla="*/ 2147483647 h 1472"/>
              <a:gd name="T18" fmla="*/ 2147483647 w 3175"/>
              <a:gd name="T19" fmla="*/ 2147483647 h 1472"/>
              <a:gd name="T20" fmla="*/ 2147483647 w 3175"/>
              <a:gd name="T21" fmla="*/ 2147483647 h 1472"/>
              <a:gd name="T22" fmla="*/ 2147483647 w 3175"/>
              <a:gd name="T23" fmla="*/ 2147483647 h 1472"/>
              <a:gd name="T24" fmla="*/ 2147483647 w 3175"/>
              <a:gd name="T25" fmla="*/ 2147483647 h 1472"/>
              <a:gd name="T26" fmla="*/ 2147483647 w 3175"/>
              <a:gd name="T27" fmla="*/ 2147483647 h 1472"/>
              <a:gd name="T28" fmla="*/ 2147483647 w 3175"/>
              <a:gd name="T29" fmla="*/ 2147483647 h 1472"/>
              <a:gd name="T30" fmla="*/ 2147483647 w 3175"/>
              <a:gd name="T31" fmla="*/ 2147483647 h 1472"/>
              <a:gd name="T32" fmla="*/ 2147483647 w 3175"/>
              <a:gd name="T33" fmla="*/ 2147483647 h 1472"/>
              <a:gd name="T34" fmla="*/ 2147483647 w 3175"/>
              <a:gd name="T35" fmla="*/ 2147483647 h 1472"/>
              <a:gd name="T36" fmla="*/ 2147483647 w 3175"/>
              <a:gd name="T37" fmla="*/ 2147483647 h 1472"/>
              <a:gd name="T38" fmla="*/ 2147483647 w 3175"/>
              <a:gd name="T39" fmla="*/ 2147483647 h 1472"/>
              <a:gd name="T40" fmla="*/ 2147483647 w 3175"/>
              <a:gd name="T41" fmla="*/ 2147483647 h 1472"/>
              <a:gd name="T42" fmla="*/ 2147483647 w 3175"/>
              <a:gd name="T43" fmla="*/ 2147483647 h 1472"/>
              <a:gd name="T44" fmla="*/ 2147483647 w 3175"/>
              <a:gd name="T45" fmla="*/ 2147483647 h 1472"/>
              <a:gd name="T46" fmla="*/ 2147483647 w 3175"/>
              <a:gd name="T47" fmla="*/ 2147483647 h 1472"/>
              <a:gd name="T48" fmla="*/ 2147483647 w 3175"/>
              <a:gd name="T49" fmla="*/ 2147483647 h 1472"/>
              <a:gd name="T50" fmla="*/ 2147483647 w 3175"/>
              <a:gd name="T51" fmla="*/ 2147483647 h 1472"/>
              <a:gd name="T52" fmla="*/ 2147483647 w 3175"/>
              <a:gd name="T53" fmla="*/ 2147483647 h 1472"/>
              <a:gd name="T54" fmla="*/ 2147483647 w 3175"/>
              <a:gd name="T55" fmla="*/ 2147483647 h 1472"/>
              <a:gd name="T56" fmla="*/ 2147483647 w 3175"/>
              <a:gd name="T57" fmla="*/ 2147483647 h 1472"/>
              <a:gd name="T58" fmla="*/ 2147483647 w 3175"/>
              <a:gd name="T59" fmla="*/ 2147483647 h 1472"/>
              <a:gd name="T60" fmla="*/ 2147483647 w 3175"/>
              <a:gd name="T61" fmla="*/ 2147483647 h 1472"/>
              <a:gd name="T62" fmla="*/ 2147483647 w 3175"/>
              <a:gd name="T63" fmla="*/ 2147483647 h 1472"/>
              <a:gd name="T64" fmla="*/ 2147483647 w 3175"/>
              <a:gd name="T65" fmla="*/ 2147483647 h 1472"/>
              <a:gd name="T66" fmla="*/ 2147483647 w 3175"/>
              <a:gd name="T67" fmla="*/ 2147483647 h 1472"/>
              <a:gd name="T68" fmla="*/ 2147483647 w 3175"/>
              <a:gd name="T69" fmla="*/ 2147483647 h 1472"/>
              <a:gd name="T70" fmla="*/ 0 w 3175"/>
              <a:gd name="T71" fmla="*/ 2147483647 h 1472"/>
              <a:gd name="T72" fmla="*/ 2147483647 w 3175"/>
              <a:gd name="T73" fmla="*/ 2147483647 h 1472"/>
              <a:gd name="T74" fmla="*/ 2147483647 w 3175"/>
              <a:gd name="T75" fmla="*/ 2147483647 h 1472"/>
              <a:gd name="T76" fmla="*/ 2147483647 w 3175"/>
              <a:gd name="T77" fmla="*/ 2147483647 h 1472"/>
              <a:gd name="T78" fmla="*/ 2147483647 w 3175"/>
              <a:gd name="T79" fmla="*/ 2147483647 h 1472"/>
              <a:gd name="T80" fmla="*/ 2147483647 w 3175"/>
              <a:gd name="T81" fmla="*/ 0 h 1472"/>
              <a:gd name="T82" fmla="*/ 2147483647 w 3175"/>
              <a:gd name="T83" fmla="*/ 2147483647 h 1472"/>
              <a:gd name="T84" fmla="*/ 2147483647 w 3175"/>
              <a:gd name="T85" fmla="*/ 2147483647 h 1472"/>
              <a:gd name="T86" fmla="*/ 2147483647 w 3175"/>
              <a:gd name="T87" fmla="*/ 2147483647 h 1472"/>
              <a:gd name="T88" fmla="*/ 2147483647 w 3175"/>
              <a:gd name="T89" fmla="*/ 2147483647 h 1472"/>
              <a:gd name="T90" fmla="*/ 2147483647 w 3175"/>
              <a:gd name="T91" fmla="*/ 2147483647 h 1472"/>
              <a:gd name="T92" fmla="*/ 2147483647 w 3175"/>
              <a:gd name="T93" fmla="*/ 2147483647 h 1472"/>
              <a:gd name="T94" fmla="*/ 2147483647 w 3175"/>
              <a:gd name="T95" fmla="*/ 2147483647 h 1472"/>
              <a:gd name="T96" fmla="*/ 2147483647 w 3175"/>
              <a:gd name="T97" fmla="*/ 2147483647 h 1472"/>
              <a:gd name="T98" fmla="*/ 2147483647 w 3175"/>
              <a:gd name="T99" fmla="*/ 2147483647 h 1472"/>
              <a:gd name="T100" fmla="*/ 2147483647 w 3175"/>
              <a:gd name="T101" fmla="*/ 2147483647 h 1472"/>
              <a:gd name="T102" fmla="*/ 2147483647 w 3175"/>
              <a:gd name="T103" fmla="*/ 2147483647 h 1472"/>
              <a:gd name="T104" fmla="*/ 2147483647 w 3175"/>
              <a:gd name="T105" fmla="*/ 2147483647 h 1472"/>
              <a:gd name="T106" fmla="*/ 2147483647 w 3175"/>
              <a:gd name="T107" fmla="*/ 2147483647 h 1472"/>
              <a:gd name="T108" fmla="*/ 2147483647 w 3175"/>
              <a:gd name="T109" fmla="*/ 2147483647 h 1472"/>
              <a:gd name="T110" fmla="*/ 2147483647 w 3175"/>
              <a:gd name="T111" fmla="*/ 2147483647 h 1472"/>
              <a:gd name="T112" fmla="*/ 2147483647 w 3175"/>
              <a:gd name="T113" fmla="*/ 2147483647 h 1472"/>
              <a:gd name="T114" fmla="*/ 2147483647 w 3175"/>
              <a:gd name="T115" fmla="*/ 2147483647 h 1472"/>
              <a:gd name="T116" fmla="*/ 2147483647 w 3175"/>
              <a:gd name="T117" fmla="*/ 2147483647 h 1472"/>
              <a:gd name="T118" fmla="*/ 2147483647 w 3175"/>
              <a:gd name="T119" fmla="*/ 2147483647 h 1472"/>
              <a:gd name="T120" fmla="*/ 2147483647 w 3175"/>
              <a:gd name="T121" fmla="*/ 2147483647 h 1472"/>
              <a:gd name="T122" fmla="*/ 2147483647 w 3175"/>
              <a:gd name="T123" fmla="*/ 214748364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3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139815" y="4625603"/>
            <a:ext cx="339725" cy="590550"/>
          </a:xfrm>
          <a:custGeom>
            <a:avLst/>
            <a:gdLst>
              <a:gd name="T0" fmla="*/ 2147483647 w 784"/>
              <a:gd name="T1" fmla="*/ 2147483647 h 1128"/>
              <a:gd name="T2" fmla="*/ 2147483647 w 784"/>
              <a:gd name="T3" fmla="*/ 2147483647 h 1128"/>
              <a:gd name="T4" fmla="*/ 2147483647 w 784"/>
              <a:gd name="T5" fmla="*/ 2147483647 h 1128"/>
              <a:gd name="T6" fmla="*/ 2147483647 w 784"/>
              <a:gd name="T7" fmla="*/ 2147483647 h 1128"/>
              <a:gd name="T8" fmla="*/ 2147483647 w 784"/>
              <a:gd name="T9" fmla="*/ 2147483647 h 1128"/>
              <a:gd name="T10" fmla="*/ 2147483647 w 784"/>
              <a:gd name="T11" fmla="*/ 2147483647 h 1128"/>
              <a:gd name="T12" fmla="*/ 2147483647 w 784"/>
              <a:gd name="T13" fmla="*/ 2147483647 h 1128"/>
              <a:gd name="T14" fmla="*/ 2147483647 w 784"/>
              <a:gd name="T15" fmla="*/ 2147483647 h 1128"/>
              <a:gd name="T16" fmla="*/ 2147483647 w 784"/>
              <a:gd name="T17" fmla="*/ 2147483647 h 1128"/>
              <a:gd name="T18" fmla="*/ 2147483647 w 784"/>
              <a:gd name="T19" fmla="*/ 2147483647 h 1128"/>
              <a:gd name="T20" fmla="*/ 2147483647 w 784"/>
              <a:gd name="T21" fmla="*/ 2147483647 h 1128"/>
              <a:gd name="T22" fmla="*/ 2147483647 w 784"/>
              <a:gd name="T23" fmla="*/ 2147483647 h 1128"/>
              <a:gd name="T24" fmla="*/ 2147483647 w 784"/>
              <a:gd name="T25" fmla="*/ 2147483647 h 1128"/>
              <a:gd name="T26" fmla="*/ 2147483647 w 784"/>
              <a:gd name="T27" fmla="*/ 2147483647 h 1128"/>
              <a:gd name="T28" fmla="*/ 2147483647 w 784"/>
              <a:gd name="T29" fmla="*/ 2147483647 h 1128"/>
              <a:gd name="T30" fmla="*/ 2147483647 w 784"/>
              <a:gd name="T31" fmla="*/ 2147483647 h 1128"/>
              <a:gd name="T32" fmla="*/ 2147483647 w 784"/>
              <a:gd name="T33" fmla="*/ 2147483647 h 1128"/>
              <a:gd name="T34" fmla="*/ 2147483647 w 784"/>
              <a:gd name="T35" fmla="*/ 2147483647 h 1128"/>
              <a:gd name="T36" fmla="*/ 2147483647 w 784"/>
              <a:gd name="T37" fmla="*/ 2147483647 h 1128"/>
              <a:gd name="T38" fmla="*/ 2147483647 w 784"/>
              <a:gd name="T39" fmla="*/ 2147483647 h 1128"/>
              <a:gd name="T40" fmla="*/ 2147483647 w 784"/>
              <a:gd name="T41" fmla="*/ 2147483647 h 1128"/>
              <a:gd name="T42" fmla="*/ 2147483647 w 784"/>
              <a:gd name="T43" fmla="*/ 2147483647 h 1128"/>
              <a:gd name="T44" fmla="*/ 2147483647 w 784"/>
              <a:gd name="T45" fmla="*/ 2147483647 h 1128"/>
              <a:gd name="T46" fmla="*/ 2147483647 w 784"/>
              <a:gd name="T47" fmla="*/ 2147483647 h 1128"/>
              <a:gd name="T48" fmla="*/ 2147483647 w 784"/>
              <a:gd name="T49" fmla="*/ 2147483647 h 1128"/>
              <a:gd name="T50" fmla="*/ 2147483647 w 784"/>
              <a:gd name="T51" fmla="*/ 2147483647 h 1128"/>
              <a:gd name="T52" fmla="*/ 2147483647 w 784"/>
              <a:gd name="T53" fmla="*/ 2147483647 h 1128"/>
              <a:gd name="T54" fmla="*/ 2147483647 w 784"/>
              <a:gd name="T55" fmla="*/ 2147483647 h 1128"/>
              <a:gd name="T56" fmla="*/ 2147483647 w 784"/>
              <a:gd name="T57" fmla="*/ 2147483647 h 1128"/>
              <a:gd name="T58" fmla="*/ 2147483647 w 784"/>
              <a:gd name="T59" fmla="*/ 2147483647 h 1128"/>
              <a:gd name="T60" fmla="*/ 2147483647 w 784"/>
              <a:gd name="T61" fmla="*/ 2147483647 h 1128"/>
              <a:gd name="T62" fmla="*/ 2147483647 w 784"/>
              <a:gd name="T63" fmla="*/ 2147483647 h 1128"/>
              <a:gd name="T64" fmla="*/ 2147483647 w 784"/>
              <a:gd name="T65" fmla="*/ 2147483647 h 1128"/>
              <a:gd name="T66" fmla="*/ 2147483647 w 784"/>
              <a:gd name="T67" fmla="*/ 2147483647 h 1128"/>
              <a:gd name="T68" fmla="*/ 0 w 784"/>
              <a:gd name="T69" fmla="*/ 2147483647 h 1128"/>
              <a:gd name="T70" fmla="*/ 2147483647 w 784"/>
              <a:gd name="T71" fmla="*/ 2147483647 h 1128"/>
              <a:gd name="T72" fmla="*/ 2147483647 w 784"/>
              <a:gd name="T73" fmla="*/ 2147483647 h 1128"/>
              <a:gd name="T74" fmla="*/ 2147483647 w 784"/>
              <a:gd name="T75" fmla="*/ 2147483647 h 1128"/>
              <a:gd name="T76" fmla="*/ 2147483647 w 784"/>
              <a:gd name="T77" fmla="*/ 2147483647 h 1128"/>
              <a:gd name="T78" fmla="*/ 2147483647 w 784"/>
              <a:gd name="T79" fmla="*/ 2147483647 h 1128"/>
              <a:gd name="T80" fmla="*/ 2147483647 w 784"/>
              <a:gd name="T81" fmla="*/ 2147483647 h 1128"/>
              <a:gd name="T82" fmla="*/ 2147483647 w 784"/>
              <a:gd name="T83" fmla="*/ 2147483647 h 1128"/>
              <a:gd name="T84" fmla="*/ 2147483647 w 784"/>
              <a:gd name="T85" fmla="*/ 2147483647 h 1128"/>
              <a:gd name="T86" fmla="*/ 2147483647 w 784"/>
              <a:gd name="T87" fmla="*/ 2147483647 h 1128"/>
              <a:gd name="T88" fmla="*/ 2147483647 w 784"/>
              <a:gd name="T89" fmla="*/ 2147483647 h 1128"/>
              <a:gd name="T90" fmla="*/ 2147483647 w 784"/>
              <a:gd name="T91" fmla="*/ 2147483647 h 1128"/>
              <a:gd name="T92" fmla="*/ 2147483647 w 784"/>
              <a:gd name="T93" fmla="*/ 2147483647 h 1128"/>
              <a:gd name="T94" fmla="*/ 2147483647 w 784"/>
              <a:gd name="T95" fmla="*/ 2147483647 h 1128"/>
              <a:gd name="T96" fmla="*/ 2147483647 w 784"/>
              <a:gd name="T97" fmla="*/ 2147483647 h 1128"/>
              <a:gd name="T98" fmla="*/ 2147483647 w 784"/>
              <a:gd name="T99" fmla="*/ 2147483647 h 1128"/>
              <a:gd name="T100" fmla="*/ 2147483647 w 784"/>
              <a:gd name="T101" fmla="*/ 2147483647 h 1128"/>
              <a:gd name="T102" fmla="*/ 2147483647 w 784"/>
              <a:gd name="T103" fmla="*/ 2147483647 h 1128"/>
              <a:gd name="T104" fmla="*/ 2147483647 w 784"/>
              <a:gd name="T105" fmla="*/ 2147483647 h 1128"/>
              <a:gd name="T106" fmla="*/ 2147483647 w 784"/>
              <a:gd name="T107" fmla="*/ 2147483647 h 1128"/>
              <a:gd name="T108" fmla="*/ 2147483647 w 784"/>
              <a:gd name="T109" fmla="*/ 2147483647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4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439853" y="5189165"/>
            <a:ext cx="261937" cy="1130300"/>
          </a:xfrm>
          <a:custGeom>
            <a:avLst/>
            <a:gdLst>
              <a:gd name="T0" fmla="*/ 2147483647 w 598"/>
              <a:gd name="T1" fmla="*/ 2147483647 h 2158"/>
              <a:gd name="T2" fmla="*/ 2147483647 w 598"/>
              <a:gd name="T3" fmla="*/ 2147483647 h 2158"/>
              <a:gd name="T4" fmla="*/ 2147483647 w 598"/>
              <a:gd name="T5" fmla="*/ 2147483647 h 2158"/>
              <a:gd name="T6" fmla="*/ 2147483647 w 598"/>
              <a:gd name="T7" fmla="*/ 2147483647 h 2158"/>
              <a:gd name="T8" fmla="*/ 2147483647 w 598"/>
              <a:gd name="T9" fmla="*/ 2147483647 h 2158"/>
              <a:gd name="T10" fmla="*/ 2147483647 w 598"/>
              <a:gd name="T11" fmla="*/ 2147483647 h 2158"/>
              <a:gd name="T12" fmla="*/ 2147483647 w 598"/>
              <a:gd name="T13" fmla="*/ 2147483647 h 2158"/>
              <a:gd name="T14" fmla="*/ 2147483647 w 598"/>
              <a:gd name="T15" fmla="*/ 2147483647 h 2158"/>
              <a:gd name="T16" fmla="*/ 2147483647 w 598"/>
              <a:gd name="T17" fmla="*/ 2147483647 h 2158"/>
              <a:gd name="T18" fmla="*/ 2147483647 w 598"/>
              <a:gd name="T19" fmla="*/ 2147483647 h 2158"/>
              <a:gd name="T20" fmla="*/ 2147483647 w 598"/>
              <a:gd name="T21" fmla="*/ 2147483647 h 2158"/>
              <a:gd name="T22" fmla="*/ 2147483647 w 598"/>
              <a:gd name="T23" fmla="*/ 2147483647 h 2158"/>
              <a:gd name="T24" fmla="*/ 2147483647 w 598"/>
              <a:gd name="T25" fmla="*/ 2147483647 h 2158"/>
              <a:gd name="T26" fmla="*/ 2147483647 w 598"/>
              <a:gd name="T27" fmla="*/ 2147483647 h 2158"/>
              <a:gd name="T28" fmla="*/ 2147483647 w 598"/>
              <a:gd name="T29" fmla="*/ 2147483647 h 2158"/>
              <a:gd name="T30" fmla="*/ 2147483647 w 598"/>
              <a:gd name="T31" fmla="*/ 2147483647 h 2158"/>
              <a:gd name="T32" fmla="*/ 2147483647 w 598"/>
              <a:gd name="T33" fmla="*/ 2147483647 h 2158"/>
              <a:gd name="T34" fmla="*/ 2147483647 w 598"/>
              <a:gd name="T35" fmla="*/ 2147483647 h 2158"/>
              <a:gd name="T36" fmla="*/ 2147483647 w 598"/>
              <a:gd name="T37" fmla="*/ 2147483647 h 2158"/>
              <a:gd name="T38" fmla="*/ 2147483647 w 598"/>
              <a:gd name="T39" fmla="*/ 2147483647 h 2158"/>
              <a:gd name="T40" fmla="*/ 2147483647 w 598"/>
              <a:gd name="T41" fmla="*/ 2147483647 h 2158"/>
              <a:gd name="T42" fmla="*/ 2147483647 w 598"/>
              <a:gd name="T43" fmla="*/ 2147483647 h 2158"/>
              <a:gd name="T44" fmla="*/ 2147483647 w 598"/>
              <a:gd name="T45" fmla="*/ 2147483647 h 2158"/>
              <a:gd name="T46" fmla="*/ 2147483647 w 598"/>
              <a:gd name="T47" fmla="*/ 2147483647 h 2158"/>
              <a:gd name="T48" fmla="*/ 2147483647 w 598"/>
              <a:gd name="T49" fmla="*/ 2147483647 h 2158"/>
              <a:gd name="T50" fmla="*/ 2147483647 w 598"/>
              <a:gd name="T51" fmla="*/ 2147483647 h 2158"/>
              <a:gd name="T52" fmla="*/ 2147483647 w 598"/>
              <a:gd name="T53" fmla="*/ 2147483647 h 2158"/>
              <a:gd name="T54" fmla="*/ 2147483647 w 598"/>
              <a:gd name="T55" fmla="*/ 2147483647 h 2158"/>
              <a:gd name="T56" fmla="*/ 2147483647 w 598"/>
              <a:gd name="T57" fmla="*/ 2147483647 h 2158"/>
              <a:gd name="T58" fmla="*/ 0 w 598"/>
              <a:gd name="T59" fmla="*/ 2147483647 h 2158"/>
              <a:gd name="T60" fmla="*/ 2147483647 w 598"/>
              <a:gd name="T61" fmla="*/ 2147483647 h 2158"/>
              <a:gd name="T62" fmla="*/ 2147483647 w 598"/>
              <a:gd name="T63" fmla="*/ 2147483647 h 2158"/>
              <a:gd name="T64" fmla="*/ 2147483647 w 598"/>
              <a:gd name="T65" fmla="*/ 2147483647 h 2158"/>
              <a:gd name="T66" fmla="*/ 2147483647 w 598"/>
              <a:gd name="T67" fmla="*/ 2147483647 h 2158"/>
              <a:gd name="T68" fmla="*/ 2147483647 w 598"/>
              <a:gd name="T69" fmla="*/ 2147483647 h 2158"/>
              <a:gd name="T70" fmla="*/ 2147483647 w 598"/>
              <a:gd name="T71" fmla="*/ 2147483647 h 2158"/>
              <a:gd name="T72" fmla="*/ 2147483647 w 598"/>
              <a:gd name="T73" fmla="*/ 2147483647 h 2158"/>
              <a:gd name="T74" fmla="*/ 2147483647 w 598"/>
              <a:gd name="T75" fmla="*/ 2147483647 h 2158"/>
              <a:gd name="T76" fmla="*/ 2147483647 w 598"/>
              <a:gd name="T77" fmla="*/ 2147483647 h 2158"/>
              <a:gd name="T78" fmla="*/ 2147483647 w 598"/>
              <a:gd name="T79" fmla="*/ 2147483647 h 2158"/>
              <a:gd name="T80" fmla="*/ 2147483647 w 598"/>
              <a:gd name="T81" fmla="*/ 2147483647 h 2158"/>
              <a:gd name="T82" fmla="*/ 2147483647 w 598"/>
              <a:gd name="T83" fmla="*/ 2147483647 h 2158"/>
              <a:gd name="T84" fmla="*/ 2147483647 w 598"/>
              <a:gd name="T85" fmla="*/ 2147483647 h 2158"/>
              <a:gd name="T86" fmla="*/ 2147483647 w 598"/>
              <a:gd name="T87" fmla="*/ 2147483647 h 2158"/>
              <a:gd name="T88" fmla="*/ 2147483647 w 598"/>
              <a:gd name="T89" fmla="*/ 2147483647 h 2158"/>
              <a:gd name="T90" fmla="*/ 2147483647 w 598"/>
              <a:gd name="T91" fmla="*/ 2147483647 h 2158"/>
              <a:gd name="T92" fmla="*/ 2147483647 w 598"/>
              <a:gd name="T93" fmla="*/ 2147483647 h 2158"/>
              <a:gd name="T94" fmla="*/ 2147483647 w 598"/>
              <a:gd name="T95" fmla="*/ 2147483647 h 2158"/>
              <a:gd name="T96" fmla="*/ 2147483647 w 598"/>
              <a:gd name="T97" fmla="*/ 2147483647 h 2158"/>
              <a:gd name="T98" fmla="*/ 2147483647 w 598"/>
              <a:gd name="T99" fmla="*/ 2147483647 h 2158"/>
              <a:gd name="T100" fmla="*/ 2147483647 w 598"/>
              <a:gd name="T101" fmla="*/ 2147483647 h 2158"/>
              <a:gd name="T102" fmla="*/ 2147483647 w 598"/>
              <a:gd name="T103" fmla="*/ 2147483647 h 2158"/>
              <a:gd name="T104" fmla="*/ 2147483647 w 598"/>
              <a:gd name="T105" fmla="*/ 2147483647 h 2158"/>
              <a:gd name="T106" fmla="*/ 2147483647 w 598"/>
              <a:gd name="T107" fmla="*/ 2147483647 h 2158"/>
              <a:gd name="T108" fmla="*/ 2147483647 w 598"/>
              <a:gd name="T109" fmla="*/ 2147483647 h 2158"/>
              <a:gd name="T110" fmla="*/ 2147483647 w 598"/>
              <a:gd name="T111" fmla="*/ 2147483647 h 2158"/>
              <a:gd name="T112" fmla="*/ 2147483647 w 598"/>
              <a:gd name="T113" fmla="*/ 2147483647 h 2158"/>
              <a:gd name="T114" fmla="*/ 2147483647 w 598"/>
              <a:gd name="T115" fmla="*/ 2147483647 h 2158"/>
              <a:gd name="T116" fmla="*/ 2147483647 w 598"/>
              <a:gd name="T117" fmla="*/ 2147483647 h 2158"/>
              <a:gd name="T118" fmla="*/ 2147483647 w 598"/>
              <a:gd name="T119" fmla="*/ 2147483647 h 2158"/>
              <a:gd name="T120" fmla="*/ 2147483647 w 598"/>
              <a:gd name="T121" fmla="*/ 2147483647 h 2158"/>
              <a:gd name="T122" fmla="*/ 2147483647 w 598"/>
              <a:gd name="T123" fmla="*/ 2147483647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5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344603" y="4471615"/>
            <a:ext cx="966787" cy="1203325"/>
          </a:xfrm>
          <a:custGeom>
            <a:avLst/>
            <a:gdLst>
              <a:gd name="T0" fmla="*/ 2147483647 w 2226"/>
              <a:gd name="T1" fmla="*/ 2147483647 h 2292"/>
              <a:gd name="T2" fmla="*/ 2147483647 w 2226"/>
              <a:gd name="T3" fmla="*/ 2147483647 h 2292"/>
              <a:gd name="T4" fmla="*/ 2147483647 w 2226"/>
              <a:gd name="T5" fmla="*/ 2147483647 h 2292"/>
              <a:gd name="T6" fmla="*/ 2147483647 w 2226"/>
              <a:gd name="T7" fmla="*/ 2147483647 h 2292"/>
              <a:gd name="T8" fmla="*/ 2147483647 w 2226"/>
              <a:gd name="T9" fmla="*/ 2147483647 h 2292"/>
              <a:gd name="T10" fmla="*/ 2147483647 w 2226"/>
              <a:gd name="T11" fmla="*/ 2147483647 h 2292"/>
              <a:gd name="T12" fmla="*/ 2147483647 w 2226"/>
              <a:gd name="T13" fmla="*/ 2147483647 h 2292"/>
              <a:gd name="T14" fmla="*/ 2147483647 w 2226"/>
              <a:gd name="T15" fmla="*/ 2147483647 h 2292"/>
              <a:gd name="T16" fmla="*/ 2147483647 w 2226"/>
              <a:gd name="T17" fmla="*/ 2147483647 h 2292"/>
              <a:gd name="T18" fmla="*/ 2147483647 w 2226"/>
              <a:gd name="T19" fmla="*/ 2147483647 h 2292"/>
              <a:gd name="T20" fmla="*/ 2147483647 w 2226"/>
              <a:gd name="T21" fmla="*/ 2147483647 h 2292"/>
              <a:gd name="T22" fmla="*/ 2147483647 w 2226"/>
              <a:gd name="T23" fmla="*/ 2147483647 h 2292"/>
              <a:gd name="T24" fmla="*/ 2147483647 w 2226"/>
              <a:gd name="T25" fmla="*/ 2147483647 h 2292"/>
              <a:gd name="T26" fmla="*/ 2147483647 w 2226"/>
              <a:gd name="T27" fmla="*/ 2147483647 h 2292"/>
              <a:gd name="T28" fmla="*/ 2147483647 w 2226"/>
              <a:gd name="T29" fmla="*/ 2147483647 h 2292"/>
              <a:gd name="T30" fmla="*/ 2147483647 w 2226"/>
              <a:gd name="T31" fmla="*/ 2147483647 h 2292"/>
              <a:gd name="T32" fmla="*/ 2147483647 w 2226"/>
              <a:gd name="T33" fmla="*/ 2147483647 h 2292"/>
              <a:gd name="T34" fmla="*/ 2147483647 w 2226"/>
              <a:gd name="T35" fmla="*/ 2147483647 h 2292"/>
              <a:gd name="T36" fmla="*/ 2147483647 w 2226"/>
              <a:gd name="T37" fmla="*/ 2147483647 h 2292"/>
              <a:gd name="T38" fmla="*/ 2147483647 w 2226"/>
              <a:gd name="T39" fmla="*/ 2147483647 h 2292"/>
              <a:gd name="T40" fmla="*/ 2147483647 w 2226"/>
              <a:gd name="T41" fmla="*/ 2147483647 h 2292"/>
              <a:gd name="T42" fmla="*/ 2147483647 w 2226"/>
              <a:gd name="T43" fmla="*/ 2147483647 h 2292"/>
              <a:gd name="T44" fmla="*/ 2147483647 w 2226"/>
              <a:gd name="T45" fmla="*/ 2147483647 h 2292"/>
              <a:gd name="T46" fmla="*/ 2147483647 w 2226"/>
              <a:gd name="T47" fmla="*/ 2147483647 h 2292"/>
              <a:gd name="T48" fmla="*/ 2147483647 w 2226"/>
              <a:gd name="T49" fmla="*/ 2147483647 h 2292"/>
              <a:gd name="T50" fmla="*/ 2147483647 w 2226"/>
              <a:gd name="T51" fmla="*/ 2147483647 h 2292"/>
              <a:gd name="T52" fmla="*/ 2147483647 w 2226"/>
              <a:gd name="T53" fmla="*/ 2147483647 h 2292"/>
              <a:gd name="T54" fmla="*/ 2147483647 w 2226"/>
              <a:gd name="T55" fmla="*/ 2147483647 h 2292"/>
              <a:gd name="T56" fmla="*/ 2147483647 w 2226"/>
              <a:gd name="T57" fmla="*/ 2147483647 h 2292"/>
              <a:gd name="T58" fmla="*/ 2147483647 w 2226"/>
              <a:gd name="T59" fmla="*/ 2147483647 h 2292"/>
              <a:gd name="T60" fmla="*/ 2147483647 w 2226"/>
              <a:gd name="T61" fmla="*/ 2147483647 h 2292"/>
              <a:gd name="T62" fmla="*/ 2147483647 w 2226"/>
              <a:gd name="T63" fmla="*/ 2147483647 h 2292"/>
              <a:gd name="T64" fmla="*/ 2147483647 w 2226"/>
              <a:gd name="T65" fmla="*/ 2147483647 h 2292"/>
              <a:gd name="T66" fmla="*/ 2147483647 w 2226"/>
              <a:gd name="T67" fmla="*/ 2147483647 h 2292"/>
              <a:gd name="T68" fmla="*/ 2147483647 w 2226"/>
              <a:gd name="T69" fmla="*/ 2147483647 h 2292"/>
              <a:gd name="T70" fmla="*/ 2147483647 w 2226"/>
              <a:gd name="T71" fmla="*/ 2147483647 h 2292"/>
              <a:gd name="T72" fmla="*/ 2147483647 w 2226"/>
              <a:gd name="T73" fmla="*/ 2147483647 h 2292"/>
              <a:gd name="T74" fmla="*/ 2147483647 w 2226"/>
              <a:gd name="T75" fmla="*/ 2147483647 h 2292"/>
              <a:gd name="T76" fmla="*/ 2147483647 w 2226"/>
              <a:gd name="T77" fmla="*/ 2147483647 h 2292"/>
              <a:gd name="T78" fmla="*/ 2147483647 w 2226"/>
              <a:gd name="T79" fmla="*/ 2147483647 h 2292"/>
              <a:gd name="T80" fmla="*/ 2147483647 w 2226"/>
              <a:gd name="T81" fmla="*/ 2147483647 h 2292"/>
              <a:gd name="T82" fmla="*/ 2147483647 w 2226"/>
              <a:gd name="T83" fmla="*/ 2147483647 h 2292"/>
              <a:gd name="T84" fmla="*/ 2147483647 w 2226"/>
              <a:gd name="T85" fmla="*/ 2147483647 h 2292"/>
              <a:gd name="T86" fmla="*/ 2147483647 w 2226"/>
              <a:gd name="T87" fmla="*/ 2147483647 h 2292"/>
              <a:gd name="T88" fmla="*/ 2147483647 w 2226"/>
              <a:gd name="T89" fmla="*/ 2147483647 h 2292"/>
              <a:gd name="T90" fmla="*/ 2147483647 w 2226"/>
              <a:gd name="T91" fmla="*/ 2147483647 h 2292"/>
              <a:gd name="T92" fmla="*/ 2147483647 w 2226"/>
              <a:gd name="T93" fmla="*/ 2147483647 h 2292"/>
              <a:gd name="T94" fmla="*/ 2147483647 w 2226"/>
              <a:gd name="T95" fmla="*/ 2147483647 h 2292"/>
              <a:gd name="T96" fmla="*/ 2147483647 w 2226"/>
              <a:gd name="T97" fmla="*/ 0 h 2292"/>
              <a:gd name="T98" fmla="*/ 2147483647 w 2226"/>
              <a:gd name="T99" fmla="*/ 2147483647 h 2292"/>
              <a:gd name="T100" fmla="*/ 2147483647 w 2226"/>
              <a:gd name="T101" fmla="*/ 2147483647 h 2292"/>
              <a:gd name="T102" fmla="*/ 2147483647 w 2226"/>
              <a:gd name="T103" fmla="*/ 2147483647 h 2292"/>
              <a:gd name="T104" fmla="*/ 2147483647 w 2226"/>
              <a:gd name="T105" fmla="*/ 2147483647 h 2292"/>
              <a:gd name="T106" fmla="*/ 2147483647 w 2226"/>
              <a:gd name="T107" fmla="*/ 2147483647 h 2292"/>
              <a:gd name="T108" fmla="*/ 2147483647 w 2226"/>
              <a:gd name="T109" fmla="*/ 2147483647 h 2292"/>
              <a:gd name="T110" fmla="*/ 2147483647 w 2226"/>
              <a:gd name="T111" fmla="*/ 2147483647 h 2292"/>
              <a:gd name="T112" fmla="*/ 2147483647 w 2226"/>
              <a:gd name="T113" fmla="*/ 2147483647 h 2292"/>
              <a:gd name="T114" fmla="*/ 2147483647 w 2226"/>
              <a:gd name="T115" fmla="*/ 2147483647 h 2292"/>
              <a:gd name="T116" fmla="*/ 2147483647 w 2226"/>
              <a:gd name="T117" fmla="*/ 2147483647 h 2292"/>
              <a:gd name="T118" fmla="*/ 2147483647 w 2226"/>
              <a:gd name="T119" fmla="*/ 2147483647 h 2292"/>
              <a:gd name="T120" fmla="*/ 2147483647 w 2226"/>
              <a:gd name="T121" fmla="*/ 2147483647 h 2292"/>
              <a:gd name="T122" fmla="*/ 2147483647 w 2226"/>
              <a:gd name="T123" fmla="*/ 2147483647 h 2292"/>
              <a:gd name="T124" fmla="*/ 2147483647 w 2226"/>
              <a:gd name="T125" fmla="*/ 2147483647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6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457565" y="3417515"/>
            <a:ext cx="69850" cy="49213"/>
          </a:xfrm>
          <a:custGeom>
            <a:avLst/>
            <a:gdLst>
              <a:gd name="T0" fmla="*/ 2147483647 w 161"/>
              <a:gd name="T1" fmla="*/ 0 h 93"/>
              <a:gd name="T2" fmla="*/ 2147483647 w 161"/>
              <a:gd name="T3" fmla="*/ 2147483647 h 93"/>
              <a:gd name="T4" fmla="*/ 2147483647 w 161"/>
              <a:gd name="T5" fmla="*/ 2147483647 h 93"/>
              <a:gd name="T6" fmla="*/ 2147483647 w 161"/>
              <a:gd name="T7" fmla="*/ 2147483647 h 93"/>
              <a:gd name="T8" fmla="*/ 2147483647 w 161"/>
              <a:gd name="T9" fmla="*/ 2147483647 h 93"/>
              <a:gd name="T10" fmla="*/ 2147483647 w 161"/>
              <a:gd name="T11" fmla="*/ 2147483647 h 93"/>
              <a:gd name="T12" fmla="*/ 2147483647 w 161"/>
              <a:gd name="T13" fmla="*/ 2147483647 h 93"/>
              <a:gd name="T14" fmla="*/ 2147483647 w 161"/>
              <a:gd name="T15" fmla="*/ 0 h 93"/>
              <a:gd name="T16" fmla="*/ 2147483647 w 161"/>
              <a:gd name="T17" fmla="*/ 0 h 93"/>
              <a:gd name="T18" fmla="*/ 2147483647 w 161"/>
              <a:gd name="T19" fmla="*/ 0 h 93"/>
              <a:gd name="T20" fmla="*/ 2147483647 w 161"/>
              <a:gd name="T21" fmla="*/ 2147483647 h 93"/>
              <a:gd name="T22" fmla="*/ 2147483647 w 161"/>
              <a:gd name="T23" fmla="*/ 2147483647 h 93"/>
              <a:gd name="T24" fmla="*/ 2147483647 w 161"/>
              <a:gd name="T25" fmla="*/ 2147483647 h 93"/>
              <a:gd name="T26" fmla="*/ 2147483647 w 161"/>
              <a:gd name="T27" fmla="*/ 2147483647 h 93"/>
              <a:gd name="T28" fmla="*/ 2147483647 w 161"/>
              <a:gd name="T29" fmla="*/ 2147483647 h 93"/>
              <a:gd name="T30" fmla="*/ 2147483647 w 161"/>
              <a:gd name="T31" fmla="*/ 2147483647 h 93"/>
              <a:gd name="T32" fmla="*/ 2147483647 w 161"/>
              <a:gd name="T33" fmla="*/ 2147483647 h 93"/>
              <a:gd name="T34" fmla="*/ 2147483647 w 161"/>
              <a:gd name="T35" fmla="*/ 2147483647 h 93"/>
              <a:gd name="T36" fmla="*/ 2147483647 w 161"/>
              <a:gd name="T37" fmla="*/ 2147483647 h 93"/>
              <a:gd name="T38" fmla="*/ 2147483647 w 161"/>
              <a:gd name="T39" fmla="*/ 2147483647 h 93"/>
              <a:gd name="T40" fmla="*/ 2147483647 w 161"/>
              <a:gd name="T41" fmla="*/ 2147483647 h 93"/>
              <a:gd name="T42" fmla="*/ 2147483647 w 161"/>
              <a:gd name="T43" fmla="*/ 2147483647 h 93"/>
              <a:gd name="T44" fmla="*/ 2147483647 w 161"/>
              <a:gd name="T45" fmla="*/ 2147483647 h 93"/>
              <a:gd name="T46" fmla="*/ 2147483647 w 161"/>
              <a:gd name="T47" fmla="*/ 2147483647 h 93"/>
              <a:gd name="T48" fmla="*/ 2147483647 w 161"/>
              <a:gd name="T49" fmla="*/ 2147483647 h 93"/>
              <a:gd name="T50" fmla="*/ 2147483647 w 161"/>
              <a:gd name="T51" fmla="*/ 2147483647 h 93"/>
              <a:gd name="T52" fmla="*/ 2147483647 w 161"/>
              <a:gd name="T53" fmla="*/ 2147483647 h 93"/>
              <a:gd name="T54" fmla="*/ 2147483647 w 161"/>
              <a:gd name="T55" fmla="*/ 2147483647 h 93"/>
              <a:gd name="T56" fmla="*/ 2147483647 w 161"/>
              <a:gd name="T57" fmla="*/ 2147483647 h 93"/>
              <a:gd name="T58" fmla="*/ 2147483647 w 161"/>
              <a:gd name="T59" fmla="*/ 2147483647 h 93"/>
              <a:gd name="T60" fmla="*/ 2147483647 w 161"/>
              <a:gd name="T61" fmla="*/ 2147483647 h 93"/>
              <a:gd name="T62" fmla="*/ 2147483647 w 161"/>
              <a:gd name="T63" fmla="*/ 2147483647 h 93"/>
              <a:gd name="T64" fmla="*/ 2147483647 w 161"/>
              <a:gd name="T65" fmla="*/ 2147483647 h 93"/>
              <a:gd name="T66" fmla="*/ 2147483647 w 161"/>
              <a:gd name="T67" fmla="*/ 2147483647 h 93"/>
              <a:gd name="T68" fmla="*/ 2147483647 w 161"/>
              <a:gd name="T69" fmla="*/ 2147483647 h 93"/>
              <a:gd name="T70" fmla="*/ 2147483647 w 161"/>
              <a:gd name="T71" fmla="*/ 2147483647 h 93"/>
              <a:gd name="T72" fmla="*/ 0 w 161"/>
              <a:gd name="T73" fmla="*/ 0 h 93"/>
              <a:gd name="T74" fmla="*/ 2147483647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57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955915" y="3292103"/>
            <a:ext cx="82550" cy="160337"/>
          </a:xfrm>
          <a:custGeom>
            <a:avLst/>
            <a:gdLst>
              <a:gd name="T0" fmla="*/ 2147483647 w 192"/>
              <a:gd name="T1" fmla="*/ 2147483647 h 307"/>
              <a:gd name="T2" fmla="*/ 2147483647 w 192"/>
              <a:gd name="T3" fmla="*/ 0 h 307"/>
              <a:gd name="T4" fmla="*/ 2147483647 w 192"/>
              <a:gd name="T5" fmla="*/ 2147483647 h 307"/>
              <a:gd name="T6" fmla="*/ 2147483647 w 192"/>
              <a:gd name="T7" fmla="*/ 2147483647 h 307"/>
              <a:gd name="T8" fmla="*/ 2147483647 w 192"/>
              <a:gd name="T9" fmla="*/ 2147483647 h 307"/>
              <a:gd name="T10" fmla="*/ 2147483647 w 192"/>
              <a:gd name="T11" fmla="*/ 2147483647 h 307"/>
              <a:gd name="T12" fmla="*/ 2147483647 w 192"/>
              <a:gd name="T13" fmla="*/ 2147483647 h 307"/>
              <a:gd name="T14" fmla="*/ 2147483647 w 192"/>
              <a:gd name="T15" fmla="*/ 2147483647 h 307"/>
              <a:gd name="T16" fmla="*/ 2147483647 w 192"/>
              <a:gd name="T17" fmla="*/ 2147483647 h 307"/>
              <a:gd name="T18" fmla="*/ 2147483647 w 192"/>
              <a:gd name="T19" fmla="*/ 2147483647 h 307"/>
              <a:gd name="T20" fmla="*/ 2147483647 w 192"/>
              <a:gd name="T21" fmla="*/ 2147483647 h 307"/>
              <a:gd name="T22" fmla="*/ 2147483647 w 192"/>
              <a:gd name="T23" fmla="*/ 2147483647 h 307"/>
              <a:gd name="T24" fmla="*/ 2147483647 w 192"/>
              <a:gd name="T25" fmla="*/ 2147483647 h 307"/>
              <a:gd name="T26" fmla="*/ 2147483647 w 192"/>
              <a:gd name="T27" fmla="*/ 2147483647 h 307"/>
              <a:gd name="T28" fmla="*/ 2147483647 w 192"/>
              <a:gd name="T29" fmla="*/ 2147483647 h 307"/>
              <a:gd name="T30" fmla="*/ 2147483647 w 192"/>
              <a:gd name="T31" fmla="*/ 2147483647 h 307"/>
              <a:gd name="T32" fmla="*/ 2147483647 w 192"/>
              <a:gd name="T33" fmla="*/ 2147483647 h 307"/>
              <a:gd name="T34" fmla="*/ 2147483647 w 192"/>
              <a:gd name="T35" fmla="*/ 2147483647 h 307"/>
              <a:gd name="T36" fmla="*/ 2147483647 w 192"/>
              <a:gd name="T37" fmla="*/ 2147483647 h 307"/>
              <a:gd name="T38" fmla="*/ 2147483647 w 192"/>
              <a:gd name="T39" fmla="*/ 2147483647 h 307"/>
              <a:gd name="T40" fmla="*/ 2147483647 w 192"/>
              <a:gd name="T41" fmla="*/ 2147483647 h 307"/>
              <a:gd name="T42" fmla="*/ 2147483647 w 192"/>
              <a:gd name="T43" fmla="*/ 2147483647 h 307"/>
              <a:gd name="T44" fmla="*/ 2147483647 w 192"/>
              <a:gd name="T45" fmla="*/ 2147483647 h 307"/>
              <a:gd name="T46" fmla="*/ 0 w 192"/>
              <a:gd name="T47" fmla="*/ 2147483647 h 307"/>
              <a:gd name="T48" fmla="*/ 0 w 192"/>
              <a:gd name="T49" fmla="*/ 2147483647 h 307"/>
              <a:gd name="T50" fmla="*/ 2147483647 w 192"/>
              <a:gd name="T51" fmla="*/ 2147483647 h 307"/>
              <a:gd name="T52" fmla="*/ 2147483647 w 192"/>
              <a:gd name="T53" fmla="*/ 2147483647 h 307"/>
              <a:gd name="T54" fmla="*/ 2147483647 w 192"/>
              <a:gd name="T55" fmla="*/ 2147483647 h 307"/>
              <a:gd name="T56" fmla="*/ 2147483647 w 192"/>
              <a:gd name="T57" fmla="*/ 2147483647 h 307"/>
              <a:gd name="T58" fmla="*/ 2147483647 w 192"/>
              <a:gd name="T59" fmla="*/ 2147483647 h 307"/>
              <a:gd name="T60" fmla="*/ 2147483647 w 192"/>
              <a:gd name="T61" fmla="*/ 2147483647 h 307"/>
              <a:gd name="T62" fmla="*/ 2147483647 w 192"/>
              <a:gd name="T63" fmla="*/ 2147483647 h 307"/>
              <a:gd name="T64" fmla="*/ 2147483647 w 192"/>
              <a:gd name="T65" fmla="*/ 2147483647 h 307"/>
              <a:gd name="T66" fmla="*/ 2147483647 w 192"/>
              <a:gd name="T67" fmla="*/ 2147483647 h 307"/>
              <a:gd name="T68" fmla="*/ 2147483647 w 192"/>
              <a:gd name="T69" fmla="*/ 2147483647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58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036878" y="2777753"/>
            <a:ext cx="171450" cy="269875"/>
          </a:xfrm>
          <a:custGeom>
            <a:avLst/>
            <a:gdLst>
              <a:gd name="T0" fmla="*/ 2147483647 w 398"/>
              <a:gd name="T1" fmla="*/ 2147483647 h 518"/>
              <a:gd name="T2" fmla="*/ 2147483647 w 398"/>
              <a:gd name="T3" fmla="*/ 2147483647 h 518"/>
              <a:gd name="T4" fmla="*/ 2147483647 w 398"/>
              <a:gd name="T5" fmla="*/ 2147483647 h 518"/>
              <a:gd name="T6" fmla="*/ 2147483647 w 398"/>
              <a:gd name="T7" fmla="*/ 2147483647 h 518"/>
              <a:gd name="T8" fmla="*/ 2147483647 w 398"/>
              <a:gd name="T9" fmla="*/ 2147483647 h 518"/>
              <a:gd name="T10" fmla="*/ 2147483647 w 398"/>
              <a:gd name="T11" fmla="*/ 2147483647 h 518"/>
              <a:gd name="T12" fmla="*/ 2147483647 w 398"/>
              <a:gd name="T13" fmla="*/ 2147483647 h 518"/>
              <a:gd name="T14" fmla="*/ 2147483647 w 398"/>
              <a:gd name="T15" fmla="*/ 2147483647 h 518"/>
              <a:gd name="T16" fmla="*/ 2147483647 w 398"/>
              <a:gd name="T17" fmla="*/ 2147483647 h 518"/>
              <a:gd name="T18" fmla="*/ 2147483647 w 398"/>
              <a:gd name="T19" fmla="*/ 2147483647 h 518"/>
              <a:gd name="T20" fmla="*/ 2147483647 w 398"/>
              <a:gd name="T21" fmla="*/ 2147483647 h 518"/>
              <a:gd name="T22" fmla="*/ 2147483647 w 398"/>
              <a:gd name="T23" fmla="*/ 2147483647 h 518"/>
              <a:gd name="T24" fmla="*/ 2147483647 w 398"/>
              <a:gd name="T25" fmla="*/ 2147483647 h 518"/>
              <a:gd name="T26" fmla="*/ 2147483647 w 398"/>
              <a:gd name="T27" fmla="*/ 2147483647 h 518"/>
              <a:gd name="T28" fmla="*/ 2147483647 w 398"/>
              <a:gd name="T29" fmla="*/ 2147483647 h 518"/>
              <a:gd name="T30" fmla="*/ 2147483647 w 398"/>
              <a:gd name="T31" fmla="*/ 2147483647 h 518"/>
              <a:gd name="T32" fmla="*/ 2147483647 w 398"/>
              <a:gd name="T33" fmla="*/ 2147483647 h 518"/>
              <a:gd name="T34" fmla="*/ 2147483647 w 398"/>
              <a:gd name="T35" fmla="*/ 2147483647 h 518"/>
              <a:gd name="T36" fmla="*/ 2147483647 w 398"/>
              <a:gd name="T37" fmla="*/ 2147483647 h 518"/>
              <a:gd name="T38" fmla="*/ 2147483647 w 398"/>
              <a:gd name="T39" fmla="*/ 2147483647 h 518"/>
              <a:gd name="T40" fmla="*/ 2147483647 w 398"/>
              <a:gd name="T41" fmla="*/ 2147483647 h 518"/>
              <a:gd name="T42" fmla="*/ 2147483647 w 398"/>
              <a:gd name="T43" fmla="*/ 2147483647 h 518"/>
              <a:gd name="T44" fmla="*/ 2147483647 w 398"/>
              <a:gd name="T45" fmla="*/ 2147483647 h 518"/>
              <a:gd name="T46" fmla="*/ 2147483647 w 398"/>
              <a:gd name="T47" fmla="*/ 2147483647 h 518"/>
              <a:gd name="T48" fmla="*/ 2147483647 w 398"/>
              <a:gd name="T49" fmla="*/ 2147483647 h 518"/>
              <a:gd name="T50" fmla="*/ 2147483647 w 398"/>
              <a:gd name="T51" fmla="*/ 2147483647 h 518"/>
              <a:gd name="T52" fmla="*/ 2147483647 w 398"/>
              <a:gd name="T53" fmla="*/ 2147483647 h 518"/>
              <a:gd name="T54" fmla="*/ 2147483647 w 398"/>
              <a:gd name="T55" fmla="*/ 2147483647 h 518"/>
              <a:gd name="T56" fmla="*/ 2147483647 w 398"/>
              <a:gd name="T57" fmla="*/ 2147483647 h 518"/>
              <a:gd name="T58" fmla="*/ 2147483647 w 398"/>
              <a:gd name="T59" fmla="*/ 2147483647 h 518"/>
              <a:gd name="T60" fmla="*/ 2147483647 w 398"/>
              <a:gd name="T61" fmla="*/ 2147483647 h 518"/>
              <a:gd name="T62" fmla="*/ 2147483647 w 398"/>
              <a:gd name="T63" fmla="*/ 2147483647 h 518"/>
              <a:gd name="T64" fmla="*/ 2147483647 w 398"/>
              <a:gd name="T65" fmla="*/ 2147483647 h 518"/>
              <a:gd name="T66" fmla="*/ 2147483647 w 398"/>
              <a:gd name="T67" fmla="*/ 2147483647 h 518"/>
              <a:gd name="T68" fmla="*/ 2147483647 w 398"/>
              <a:gd name="T69" fmla="*/ 2147483647 h 518"/>
              <a:gd name="T70" fmla="*/ 2147483647 w 398"/>
              <a:gd name="T71" fmla="*/ 2147483647 h 518"/>
              <a:gd name="T72" fmla="*/ 2147483647 w 398"/>
              <a:gd name="T73" fmla="*/ 2147483647 h 518"/>
              <a:gd name="T74" fmla="*/ 2147483647 w 398"/>
              <a:gd name="T75" fmla="*/ 2147483647 h 518"/>
              <a:gd name="T76" fmla="*/ 2147483647 w 398"/>
              <a:gd name="T77" fmla="*/ 2147483647 h 518"/>
              <a:gd name="T78" fmla="*/ 2147483647 w 398"/>
              <a:gd name="T79" fmla="*/ 2147483647 h 518"/>
              <a:gd name="T80" fmla="*/ 2147483647 w 398"/>
              <a:gd name="T81" fmla="*/ 2147483647 h 518"/>
              <a:gd name="T82" fmla="*/ 2147483647 w 398"/>
              <a:gd name="T83" fmla="*/ 2147483647 h 518"/>
              <a:gd name="T84" fmla="*/ 2147483647 w 398"/>
              <a:gd name="T85" fmla="*/ 2147483647 h 518"/>
              <a:gd name="T86" fmla="*/ 2147483647 w 398"/>
              <a:gd name="T87" fmla="*/ 2147483647 h 518"/>
              <a:gd name="T88" fmla="*/ 2147483647 w 398"/>
              <a:gd name="T89" fmla="*/ 2147483647 h 518"/>
              <a:gd name="T90" fmla="*/ 2147483647 w 398"/>
              <a:gd name="T91" fmla="*/ 2147483647 h 518"/>
              <a:gd name="T92" fmla="*/ 2147483647 w 398"/>
              <a:gd name="T93" fmla="*/ 2147483647 h 518"/>
              <a:gd name="T94" fmla="*/ 2147483647 w 398"/>
              <a:gd name="T95" fmla="*/ 2147483647 h 518"/>
              <a:gd name="T96" fmla="*/ 2147483647 w 398"/>
              <a:gd name="T97" fmla="*/ 2147483647 h 518"/>
              <a:gd name="T98" fmla="*/ 2147483647 w 398"/>
              <a:gd name="T99" fmla="*/ 2147483647 h 518"/>
              <a:gd name="T100" fmla="*/ 2147483647 w 398"/>
              <a:gd name="T101" fmla="*/ 2147483647 h 518"/>
              <a:gd name="T102" fmla="*/ 2147483647 w 398"/>
              <a:gd name="T103" fmla="*/ 2147483647 h 518"/>
              <a:gd name="T104" fmla="*/ 2147483647 w 398"/>
              <a:gd name="T105" fmla="*/ 2147483647 h 518"/>
              <a:gd name="T106" fmla="*/ 2147483647 w 398"/>
              <a:gd name="T107" fmla="*/ 2147483647 h 518"/>
              <a:gd name="T108" fmla="*/ 2147483647 w 398"/>
              <a:gd name="T109" fmla="*/ 2147483647 h 518"/>
              <a:gd name="T110" fmla="*/ 2147483647 w 398"/>
              <a:gd name="T111" fmla="*/ 2147483647 h 518"/>
              <a:gd name="T112" fmla="*/ 2147483647 w 398"/>
              <a:gd name="T113" fmla="*/ 2147483647 h 518"/>
              <a:gd name="T114" fmla="*/ 2147483647 w 398"/>
              <a:gd name="T115" fmla="*/ 2147483647 h 518"/>
              <a:gd name="T116" fmla="*/ 2147483647 w 398"/>
              <a:gd name="T117" fmla="*/ 2147483647 h 518"/>
              <a:gd name="T118" fmla="*/ 2147483647 w 398"/>
              <a:gd name="T119" fmla="*/ 2147483647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9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395653" y="3080965"/>
            <a:ext cx="169862" cy="76200"/>
          </a:xfrm>
          <a:custGeom>
            <a:avLst/>
            <a:gdLst>
              <a:gd name="T0" fmla="*/ 2147483647 w 382"/>
              <a:gd name="T1" fmla="*/ 2147483647 h 148"/>
              <a:gd name="T2" fmla="*/ 2147483647 w 382"/>
              <a:gd name="T3" fmla="*/ 2147483647 h 148"/>
              <a:gd name="T4" fmla="*/ 2147483647 w 382"/>
              <a:gd name="T5" fmla="*/ 2147483647 h 148"/>
              <a:gd name="T6" fmla="*/ 2147483647 w 382"/>
              <a:gd name="T7" fmla="*/ 2147483647 h 148"/>
              <a:gd name="T8" fmla="*/ 2147483647 w 382"/>
              <a:gd name="T9" fmla="*/ 2147483647 h 148"/>
              <a:gd name="T10" fmla="*/ 2147483647 w 382"/>
              <a:gd name="T11" fmla="*/ 2147483647 h 148"/>
              <a:gd name="T12" fmla="*/ 2147483647 w 382"/>
              <a:gd name="T13" fmla="*/ 2147483647 h 148"/>
              <a:gd name="T14" fmla="*/ 2147483647 w 382"/>
              <a:gd name="T15" fmla="*/ 2147483647 h 148"/>
              <a:gd name="T16" fmla="*/ 2147483647 w 382"/>
              <a:gd name="T17" fmla="*/ 2147483647 h 148"/>
              <a:gd name="T18" fmla="*/ 2147483647 w 382"/>
              <a:gd name="T19" fmla="*/ 2147483647 h 148"/>
              <a:gd name="T20" fmla="*/ 2147483647 w 382"/>
              <a:gd name="T21" fmla="*/ 2147483647 h 148"/>
              <a:gd name="T22" fmla="*/ 0 w 382"/>
              <a:gd name="T23" fmla="*/ 2147483647 h 148"/>
              <a:gd name="T24" fmla="*/ 2147483647 w 382"/>
              <a:gd name="T25" fmla="*/ 2147483647 h 148"/>
              <a:gd name="T26" fmla="*/ 2147483647 w 382"/>
              <a:gd name="T27" fmla="*/ 2147483647 h 148"/>
              <a:gd name="T28" fmla="*/ 2147483647 w 382"/>
              <a:gd name="T29" fmla="*/ 2147483647 h 148"/>
              <a:gd name="T30" fmla="*/ 2147483647 w 382"/>
              <a:gd name="T31" fmla="*/ 2147483647 h 148"/>
              <a:gd name="T32" fmla="*/ 2147483647 w 382"/>
              <a:gd name="T33" fmla="*/ 2147483647 h 148"/>
              <a:gd name="T34" fmla="*/ 2147483647 w 382"/>
              <a:gd name="T35" fmla="*/ 2147483647 h 148"/>
              <a:gd name="T36" fmla="*/ 2147483647 w 382"/>
              <a:gd name="T37" fmla="*/ 2147483647 h 148"/>
              <a:gd name="T38" fmla="*/ 2147483647 w 382"/>
              <a:gd name="T39" fmla="*/ 2147483647 h 148"/>
              <a:gd name="T40" fmla="*/ 2147483647 w 382"/>
              <a:gd name="T41" fmla="*/ 2147483647 h 148"/>
              <a:gd name="T42" fmla="*/ 2147483647 w 382"/>
              <a:gd name="T43" fmla="*/ 2147483647 h 148"/>
              <a:gd name="T44" fmla="*/ 2147483647 w 382"/>
              <a:gd name="T45" fmla="*/ 2147483647 h 148"/>
              <a:gd name="T46" fmla="*/ 2147483647 w 382"/>
              <a:gd name="T47" fmla="*/ 2147483647 h 148"/>
              <a:gd name="T48" fmla="*/ 2147483647 w 382"/>
              <a:gd name="T49" fmla="*/ 2147483647 h 148"/>
              <a:gd name="T50" fmla="*/ 2147483647 w 382"/>
              <a:gd name="T51" fmla="*/ 2147483647 h 148"/>
              <a:gd name="T52" fmla="*/ 2147483647 w 382"/>
              <a:gd name="T53" fmla="*/ 2147483647 h 148"/>
              <a:gd name="T54" fmla="*/ 2147483647 w 382"/>
              <a:gd name="T55" fmla="*/ 2147483647 h 148"/>
              <a:gd name="T56" fmla="*/ 2147483647 w 382"/>
              <a:gd name="T57" fmla="*/ 2147483647 h 148"/>
              <a:gd name="T58" fmla="*/ 2147483647 w 382"/>
              <a:gd name="T59" fmla="*/ 2147483647 h 148"/>
              <a:gd name="T60" fmla="*/ 2147483647 w 382"/>
              <a:gd name="T61" fmla="*/ 2147483647 h 148"/>
              <a:gd name="T62" fmla="*/ 2147483647 w 382"/>
              <a:gd name="T63" fmla="*/ 2147483647 h 148"/>
              <a:gd name="T64" fmla="*/ 2147483647 w 382"/>
              <a:gd name="T65" fmla="*/ 2147483647 h 148"/>
              <a:gd name="T66" fmla="*/ 2147483647 w 382"/>
              <a:gd name="T67" fmla="*/ 2147483647 h 148"/>
              <a:gd name="T68" fmla="*/ 2147483647 w 382"/>
              <a:gd name="T69" fmla="*/ 2147483647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60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887903" y="2930153"/>
            <a:ext cx="1281112" cy="1038225"/>
          </a:xfrm>
          <a:custGeom>
            <a:avLst/>
            <a:gdLst>
              <a:gd name="T0" fmla="*/ 2147483647 w 2936"/>
              <a:gd name="T1" fmla="*/ 2147483647 h 1983"/>
              <a:gd name="T2" fmla="*/ 2147483647 w 2936"/>
              <a:gd name="T3" fmla="*/ 2147483647 h 1983"/>
              <a:gd name="T4" fmla="*/ 2147483647 w 2936"/>
              <a:gd name="T5" fmla="*/ 2147483647 h 1983"/>
              <a:gd name="T6" fmla="*/ 2147483647 w 2936"/>
              <a:gd name="T7" fmla="*/ 2147483647 h 1983"/>
              <a:gd name="T8" fmla="*/ 2147483647 w 2936"/>
              <a:gd name="T9" fmla="*/ 2147483647 h 1983"/>
              <a:gd name="T10" fmla="*/ 2147483647 w 2936"/>
              <a:gd name="T11" fmla="*/ 2147483647 h 1983"/>
              <a:gd name="T12" fmla="*/ 2147483647 w 2936"/>
              <a:gd name="T13" fmla="*/ 2147483647 h 1983"/>
              <a:gd name="T14" fmla="*/ 2147483647 w 2936"/>
              <a:gd name="T15" fmla="*/ 2147483647 h 1983"/>
              <a:gd name="T16" fmla="*/ 2147483647 w 2936"/>
              <a:gd name="T17" fmla="*/ 2147483647 h 1983"/>
              <a:gd name="T18" fmla="*/ 2147483647 w 2936"/>
              <a:gd name="T19" fmla="*/ 2147483647 h 1983"/>
              <a:gd name="T20" fmla="*/ 2147483647 w 2936"/>
              <a:gd name="T21" fmla="*/ 2147483647 h 1983"/>
              <a:gd name="T22" fmla="*/ 2147483647 w 2936"/>
              <a:gd name="T23" fmla="*/ 2147483647 h 1983"/>
              <a:gd name="T24" fmla="*/ 2147483647 w 2936"/>
              <a:gd name="T25" fmla="*/ 2147483647 h 1983"/>
              <a:gd name="T26" fmla="*/ 2147483647 w 2936"/>
              <a:gd name="T27" fmla="*/ 2147483647 h 1983"/>
              <a:gd name="T28" fmla="*/ 2147483647 w 2936"/>
              <a:gd name="T29" fmla="*/ 2147483647 h 1983"/>
              <a:gd name="T30" fmla="*/ 2147483647 w 2936"/>
              <a:gd name="T31" fmla="*/ 2147483647 h 1983"/>
              <a:gd name="T32" fmla="*/ 2147483647 w 2936"/>
              <a:gd name="T33" fmla="*/ 2147483647 h 1983"/>
              <a:gd name="T34" fmla="*/ 2147483647 w 2936"/>
              <a:gd name="T35" fmla="*/ 2147483647 h 1983"/>
              <a:gd name="T36" fmla="*/ 2147483647 w 2936"/>
              <a:gd name="T37" fmla="*/ 2147483647 h 1983"/>
              <a:gd name="T38" fmla="*/ 2147483647 w 2936"/>
              <a:gd name="T39" fmla="*/ 2147483647 h 1983"/>
              <a:gd name="T40" fmla="*/ 2147483647 w 2936"/>
              <a:gd name="T41" fmla="*/ 2147483647 h 1983"/>
              <a:gd name="T42" fmla="*/ 2147483647 w 2936"/>
              <a:gd name="T43" fmla="*/ 2147483647 h 1983"/>
              <a:gd name="T44" fmla="*/ 2147483647 w 2936"/>
              <a:gd name="T45" fmla="*/ 2147483647 h 1983"/>
              <a:gd name="T46" fmla="*/ 2147483647 w 2936"/>
              <a:gd name="T47" fmla="*/ 2147483647 h 1983"/>
              <a:gd name="T48" fmla="*/ 2147483647 w 2936"/>
              <a:gd name="T49" fmla="*/ 2147483647 h 1983"/>
              <a:gd name="T50" fmla="*/ 2147483647 w 2936"/>
              <a:gd name="T51" fmla="*/ 2147483647 h 1983"/>
              <a:gd name="T52" fmla="*/ 2147483647 w 2936"/>
              <a:gd name="T53" fmla="*/ 2147483647 h 1983"/>
              <a:gd name="T54" fmla="*/ 2147483647 w 2936"/>
              <a:gd name="T55" fmla="*/ 2147483647 h 1983"/>
              <a:gd name="T56" fmla="*/ 2147483647 w 2936"/>
              <a:gd name="T57" fmla="*/ 2147483647 h 1983"/>
              <a:gd name="T58" fmla="*/ 2147483647 w 2936"/>
              <a:gd name="T59" fmla="*/ 2147483647 h 1983"/>
              <a:gd name="T60" fmla="*/ 2147483647 w 2936"/>
              <a:gd name="T61" fmla="*/ 2147483647 h 1983"/>
              <a:gd name="T62" fmla="*/ 2147483647 w 2936"/>
              <a:gd name="T63" fmla="*/ 2147483647 h 1983"/>
              <a:gd name="T64" fmla="*/ 2147483647 w 2936"/>
              <a:gd name="T65" fmla="*/ 2147483647 h 1983"/>
              <a:gd name="T66" fmla="*/ 2147483647 w 2936"/>
              <a:gd name="T67" fmla="*/ 2147483647 h 1983"/>
              <a:gd name="T68" fmla="*/ 2147483647 w 2936"/>
              <a:gd name="T69" fmla="*/ 2147483647 h 1983"/>
              <a:gd name="T70" fmla="*/ 2147483647 w 2936"/>
              <a:gd name="T71" fmla="*/ 2147483647 h 1983"/>
              <a:gd name="T72" fmla="*/ 2147483647 w 2936"/>
              <a:gd name="T73" fmla="*/ 2147483647 h 1983"/>
              <a:gd name="T74" fmla="*/ 2147483647 w 2936"/>
              <a:gd name="T75" fmla="*/ 2147483647 h 1983"/>
              <a:gd name="T76" fmla="*/ 2147483647 w 2936"/>
              <a:gd name="T77" fmla="*/ 2147483647 h 1983"/>
              <a:gd name="T78" fmla="*/ 2147483647 w 2936"/>
              <a:gd name="T79" fmla="*/ 2147483647 h 1983"/>
              <a:gd name="T80" fmla="*/ 2147483647 w 2936"/>
              <a:gd name="T81" fmla="*/ 2147483647 h 1983"/>
              <a:gd name="T82" fmla="*/ 2147483647 w 2936"/>
              <a:gd name="T83" fmla="*/ 2147483647 h 1983"/>
              <a:gd name="T84" fmla="*/ 2147483647 w 2936"/>
              <a:gd name="T85" fmla="*/ 2147483647 h 1983"/>
              <a:gd name="T86" fmla="*/ 2147483647 w 2936"/>
              <a:gd name="T87" fmla="*/ 2147483647 h 1983"/>
              <a:gd name="T88" fmla="*/ 2147483647 w 2936"/>
              <a:gd name="T89" fmla="*/ 2147483647 h 1983"/>
              <a:gd name="T90" fmla="*/ 2147483647 w 2936"/>
              <a:gd name="T91" fmla="*/ 2147483647 h 1983"/>
              <a:gd name="T92" fmla="*/ 2147483647 w 2936"/>
              <a:gd name="T93" fmla="*/ 2147483647 h 1983"/>
              <a:gd name="T94" fmla="*/ 2147483647 w 2936"/>
              <a:gd name="T95" fmla="*/ 2147483647 h 1983"/>
              <a:gd name="T96" fmla="*/ 2147483647 w 2936"/>
              <a:gd name="T97" fmla="*/ 2147483647 h 1983"/>
              <a:gd name="T98" fmla="*/ 2147483647 w 2936"/>
              <a:gd name="T99" fmla="*/ 2147483647 h 1983"/>
              <a:gd name="T100" fmla="*/ 2147483647 w 2936"/>
              <a:gd name="T101" fmla="*/ 2147483647 h 1983"/>
              <a:gd name="T102" fmla="*/ 2147483647 w 2936"/>
              <a:gd name="T103" fmla="*/ 2147483647 h 1983"/>
              <a:gd name="T104" fmla="*/ 2147483647 w 2936"/>
              <a:gd name="T105" fmla="*/ 2147483647 h 1983"/>
              <a:gd name="T106" fmla="*/ 2147483647 w 2936"/>
              <a:gd name="T107" fmla="*/ 2147483647 h 1983"/>
              <a:gd name="T108" fmla="*/ 2147483647 w 2936"/>
              <a:gd name="T109" fmla="*/ 2147483647 h 1983"/>
              <a:gd name="T110" fmla="*/ 2147483647 w 2936"/>
              <a:gd name="T111" fmla="*/ 2147483647 h 1983"/>
              <a:gd name="T112" fmla="*/ 2147483647 w 2936"/>
              <a:gd name="T113" fmla="*/ 2147483647 h 1983"/>
              <a:gd name="T114" fmla="*/ 2147483647 w 2936"/>
              <a:gd name="T115" fmla="*/ 2147483647 h 1983"/>
              <a:gd name="T116" fmla="*/ 2147483647 w 2936"/>
              <a:gd name="T117" fmla="*/ 2147483647 h 1983"/>
              <a:gd name="T118" fmla="*/ 2147483647 w 2936"/>
              <a:gd name="T119" fmla="*/ 2147483647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1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579803" y="2471365"/>
            <a:ext cx="220662" cy="273050"/>
          </a:xfrm>
          <a:custGeom>
            <a:avLst/>
            <a:gdLst>
              <a:gd name="T0" fmla="*/ 2147483647 w 504"/>
              <a:gd name="T1" fmla="*/ 2147483647 h 524"/>
              <a:gd name="T2" fmla="*/ 2147483647 w 504"/>
              <a:gd name="T3" fmla="*/ 2147483647 h 524"/>
              <a:gd name="T4" fmla="*/ 2147483647 w 504"/>
              <a:gd name="T5" fmla="*/ 2147483647 h 524"/>
              <a:gd name="T6" fmla="*/ 2147483647 w 504"/>
              <a:gd name="T7" fmla="*/ 2147483647 h 524"/>
              <a:gd name="T8" fmla="*/ 2147483647 w 504"/>
              <a:gd name="T9" fmla="*/ 2147483647 h 524"/>
              <a:gd name="T10" fmla="*/ 2147483647 w 504"/>
              <a:gd name="T11" fmla="*/ 2147483647 h 524"/>
              <a:gd name="T12" fmla="*/ 2147483647 w 504"/>
              <a:gd name="T13" fmla="*/ 2147483647 h 524"/>
              <a:gd name="T14" fmla="*/ 2147483647 w 504"/>
              <a:gd name="T15" fmla="*/ 2147483647 h 524"/>
              <a:gd name="T16" fmla="*/ 2147483647 w 504"/>
              <a:gd name="T17" fmla="*/ 2147483647 h 524"/>
              <a:gd name="T18" fmla="*/ 2147483647 w 504"/>
              <a:gd name="T19" fmla="*/ 2147483647 h 524"/>
              <a:gd name="T20" fmla="*/ 2147483647 w 504"/>
              <a:gd name="T21" fmla="*/ 2147483647 h 524"/>
              <a:gd name="T22" fmla="*/ 2147483647 w 504"/>
              <a:gd name="T23" fmla="*/ 2147483647 h 524"/>
              <a:gd name="T24" fmla="*/ 2147483647 w 504"/>
              <a:gd name="T25" fmla="*/ 2147483647 h 524"/>
              <a:gd name="T26" fmla="*/ 2147483647 w 504"/>
              <a:gd name="T27" fmla="*/ 2147483647 h 524"/>
              <a:gd name="T28" fmla="*/ 2147483647 w 504"/>
              <a:gd name="T29" fmla="*/ 2147483647 h 524"/>
              <a:gd name="T30" fmla="*/ 2147483647 w 504"/>
              <a:gd name="T31" fmla="*/ 2147483647 h 524"/>
              <a:gd name="T32" fmla="*/ 2147483647 w 504"/>
              <a:gd name="T33" fmla="*/ 2147483647 h 524"/>
              <a:gd name="T34" fmla="*/ 2147483647 w 504"/>
              <a:gd name="T35" fmla="*/ 2147483647 h 524"/>
              <a:gd name="T36" fmla="*/ 2147483647 w 504"/>
              <a:gd name="T37" fmla="*/ 2147483647 h 524"/>
              <a:gd name="T38" fmla="*/ 2147483647 w 504"/>
              <a:gd name="T39" fmla="*/ 2147483647 h 524"/>
              <a:gd name="T40" fmla="*/ 2147483647 w 504"/>
              <a:gd name="T41" fmla="*/ 2147483647 h 524"/>
              <a:gd name="T42" fmla="*/ 2147483647 w 504"/>
              <a:gd name="T43" fmla="*/ 2147483647 h 524"/>
              <a:gd name="T44" fmla="*/ 2147483647 w 504"/>
              <a:gd name="T45" fmla="*/ 2147483647 h 524"/>
              <a:gd name="T46" fmla="*/ 2147483647 w 504"/>
              <a:gd name="T47" fmla="*/ 2147483647 h 524"/>
              <a:gd name="T48" fmla="*/ 2147483647 w 504"/>
              <a:gd name="T49" fmla="*/ 2147483647 h 524"/>
              <a:gd name="T50" fmla="*/ 2147483647 w 504"/>
              <a:gd name="T51" fmla="*/ 2147483647 h 524"/>
              <a:gd name="T52" fmla="*/ 2147483647 w 504"/>
              <a:gd name="T53" fmla="*/ 2147483647 h 524"/>
              <a:gd name="T54" fmla="*/ 2147483647 w 504"/>
              <a:gd name="T55" fmla="*/ 2147483647 h 524"/>
              <a:gd name="T56" fmla="*/ 2147483647 w 504"/>
              <a:gd name="T57" fmla="*/ 2147483647 h 524"/>
              <a:gd name="T58" fmla="*/ 2147483647 w 504"/>
              <a:gd name="T59" fmla="*/ 2147483647 h 524"/>
              <a:gd name="T60" fmla="*/ 2147483647 w 504"/>
              <a:gd name="T61" fmla="*/ 2147483647 h 524"/>
              <a:gd name="T62" fmla="*/ 2147483647 w 504"/>
              <a:gd name="T63" fmla="*/ 2147483647 h 524"/>
              <a:gd name="T64" fmla="*/ 2147483647 w 504"/>
              <a:gd name="T65" fmla="*/ 2147483647 h 524"/>
              <a:gd name="T66" fmla="*/ 2147483647 w 504"/>
              <a:gd name="T67" fmla="*/ 2147483647 h 524"/>
              <a:gd name="T68" fmla="*/ 2147483647 w 504"/>
              <a:gd name="T69" fmla="*/ 2147483647 h 524"/>
              <a:gd name="T70" fmla="*/ 2147483647 w 504"/>
              <a:gd name="T71" fmla="*/ 2147483647 h 524"/>
              <a:gd name="T72" fmla="*/ 2147483647 w 504"/>
              <a:gd name="T73" fmla="*/ 2147483647 h 524"/>
              <a:gd name="T74" fmla="*/ 2147483647 w 504"/>
              <a:gd name="T75" fmla="*/ 0 h 524"/>
              <a:gd name="T76" fmla="*/ 2147483647 w 504"/>
              <a:gd name="T77" fmla="*/ 0 h 524"/>
              <a:gd name="T78" fmla="*/ 2147483647 w 504"/>
              <a:gd name="T79" fmla="*/ 2147483647 h 524"/>
              <a:gd name="T80" fmla="*/ 2147483647 w 504"/>
              <a:gd name="T81" fmla="*/ 2147483647 h 524"/>
              <a:gd name="T82" fmla="*/ 2147483647 w 504"/>
              <a:gd name="T83" fmla="*/ 2147483647 h 524"/>
              <a:gd name="T84" fmla="*/ 2147483647 w 504"/>
              <a:gd name="T85" fmla="*/ 2147483647 h 524"/>
              <a:gd name="T86" fmla="*/ 2147483647 w 504"/>
              <a:gd name="T87" fmla="*/ 2147483647 h 524"/>
              <a:gd name="T88" fmla="*/ 2147483647 w 504"/>
              <a:gd name="T89" fmla="*/ 2147483647 h 524"/>
              <a:gd name="T90" fmla="*/ 2147483647 w 504"/>
              <a:gd name="T91" fmla="*/ 2147483647 h 524"/>
              <a:gd name="T92" fmla="*/ 2147483647 w 504"/>
              <a:gd name="T93" fmla="*/ 2147483647 h 524"/>
              <a:gd name="T94" fmla="*/ 2147483647 w 504"/>
              <a:gd name="T95" fmla="*/ 2147483647 h 524"/>
              <a:gd name="T96" fmla="*/ 2147483647 w 504"/>
              <a:gd name="T97" fmla="*/ 2147483647 h 524"/>
              <a:gd name="T98" fmla="*/ 2147483647 w 504"/>
              <a:gd name="T99" fmla="*/ 2147483647 h 524"/>
              <a:gd name="T100" fmla="*/ 2147483647 w 504"/>
              <a:gd name="T101" fmla="*/ 2147483647 h 524"/>
              <a:gd name="T102" fmla="*/ 2147483647 w 504"/>
              <a:gd name="T103" fmla="*/ 2147483647 h 524"/>
              <a:gd name="T104" fmla="*/ 2147483647 w 504"/>
              <a:gd name="T105" fmla="*/ 2147483647 h 524"/>
              <a:gd name="T106" fmla="*/ 2147483647 w 504"/>
              <a:gd name="T107" fmla="*/ 2147483647 h 524"/>
              <a:gd name="T108" fmla="*/ 2147483647 w 504"/>
              <a:gd name="T109" fmla="*/ 2147483647 h 524"/>
              <a:gd name="T110" fmla="*/ 2147483647 w 504"/>
              <a:gd name="T111" fmla="*/ 214748364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62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316278" y="2888878"/>
            <a:ext cx="182562" cy="238125"/>
          </a:xfrm>
          <a:custGeom>
            <a:avLst/>
            <a:gdLst>
              <a:gd name="T0" fmla="*/ 2147483647 w 438"/>
              <a:gd name="T1" fmla="*/ 2147483647 h 451"/>
              <a:gd name="T2" fmla="*/ 2147483647 w 438"/>
              <a:gd name="T3" fmla="*/ 2147483647 h 451"/>
              <a:gd name="T4" fmla="*/ 2147483647 w 438"/>
              <a:gd name="T5" fmla="*/ 2147483647 h 451"/>
              <a:gd name="T6" fmla="*/ 2147483647 w 438"/>
              <a:gd name="T7" fmla="*/ 2147483647 h 451"/>
              <a:gd name="T8" fmla="*/ 2147483647 w 438"/>
              <a:gd name="T9" fmla="*/ 2147483647 h 451"/>
              <a:gd name="T10" fmla="*/ 2147483647 w 438"/>
              <a:gd name="T11" fmla="*/ 2147483647 h 451"/>
              <a:gd name="T12" fmla="*/ 2147483647 w 438"/>
              <a:gd name="T13" fmla="*/ 2147483647 h 451"/>
              <a:gd name="T14" fmla="*/ 2147483647 w 438"/>
              <a:gd name="T15" fmla="*/ 2147483647 h 451"/>
              <a:gd name="T16" fmla="*/ 2147483647 w 438"/>
              <a:gd name="T17" fmla="*/ 2147483647 h 451"/>
              <a:gd name="T18" fmla="*/ 2147483647 w 438"/>
              <a:gd name="T19" fmla="*/ 2147483647 h 451"/>
              <a:gd name="T20" fmla="*/ 2147483647 w 438"/>
              <a:gd name="T21" fmla="*/ 2147483647 h 451"/>
              <a:gd name="T22" fmla="*/ 2147483647 w 438"/>
              <a:gd name="T23" fmla="*/ 2147483647 h 451"/>
              <a:gd name="T24" fmla="*/ 2147483647 w 438"/>
              <a:gd name="T25" fmla="*/ 2147483647 h 451"/>
              <a:gd name="T26" fmla="*/ 2147483647 w 438"/>
              <a:gd name="T27" fmla="*/ 0 h 451"/>
              <a:gd name="T28" fmla="*/ 2147483647 w 438"/>
              <a:gd name="T29" fmla="*/ 2147483647 h 451"/>
              <a:gd name="T30" fmla="*/ 2147483647 w 438"/>
              <a:gd name="T31" fmla="*/ 2147483647 h 451"/>
              <a:gd name="T32" fmla="*/ 2147483647 w 438"/>
              <a:gd name="T33" fmla="*/ 2147483647 h 451"/>
              <a:gd name="T34" fmla="*/ 2147483647 w 438"/>
              <a:gd name="T35" fmla="*/ 2147483647 h 451"/>
              <a:gd name="T36" fmla="*/ 2147483647 w 438"/>
              <a:gd name="T37" fmla="*/ 2147483647 h 451"/>
              <a:gd name="T38" fmla="*/ 2147483647 w 438"/>
              <a:gd name="T39" fmla="*/ 2147483647 h 451"/>
              <a:gd name="T40" fmla="*/ 2147483647 w 438"/>
              <a:gd name="T41" fmla="*/ 2147483647 h 451"/>
              <a:gd name="T42" fmla="*/ 2147483647 w 438"/>
              <a:gd name="T43" fmla="*/ 2147483647 h 451"/>
              <a:gd name="T44" fmla="*/ 2147483647 w 438"/>
              <a:gd name="T45" fmla="*/ 2147483647 h 451"/>
              <a:gd name="T46" fmla="*/ 2147483647 w 438"/>
              <a:gd name="T47" fmla="*/ 2147483647 h 451"/>
              <a:gd name="T48" fmla="*/ 2147483647 w 438"/>
              <a:gd name="T49" fmla="*/ 2147483647 h 451"/>
              <a:gd name="T50" fmla="*/ 2147483647 w 438"/>
              <a:gd name="T51" fmla="*/ 2147483647 h 451"/>
              <a:gd name="T52" fmla="*/ 2147483647 w 438"/>
              <a:gd name="T53" fmla="*/ 2147483647 h 451"/>
              <a:gd name="T54" fmla="*/ 2147483647 w 438"/>
              <a:gd name="T55" fmla="*/ 2147483647 h 451"/>
              <a:gd name="T56" fmla="*/ 2147483647 w 438"/>
              <a:gd name="T57" fmla="*/ 2147483647 h 451"/>
              <a:gd name="T58" fmla="*/ 2147483647 w 438"/>
              <a:gd name="T59" fmla="*/ 2147483647 h 451"/>
              <a:gd name="T60" fmla="*/ 2147483647 w 438"/>
              <a:gd name="T61" fmla="*/ 2147483647 h 451"/>
              <a:gd name="T62" fmla="*/ 2147483647 w 438"/>
              <a:gd name="T63" fmla="*/ 2147483647 h 451"/>
              <a:gd name="T64" fmla="*/ 2147483647 w 438"/>
              <a:gd name="T65" fmla="*/ 2147483647 h 451"/>
              <a:gd name="T66" fmla="*/ 2147483647 w 438"/>
              <a:gd name="T67" fmla="*/ 2147483647 h 451"/>
              <a:gd name="T68" fmla="*/ 2147483647 w 438"/>
              <a:gd name="T69" fmla="*/ 2147483647 h 451"/>
              <a:gd name="T70" fmla="*/ 2147483647 w 438"/>
              <a:gd name="T71" fmla="*/ 2147483647 h 451"/>
              <a:gd name="T72" fmla="*/ 2147483647 w 438"/>
              <a:gd name="T73" fmla="*/ 2147483647 h 451"/>
              <a:gd name="T74" fmla="*/ 2147483647 w 438"/>
              <a:gd name="T75" fmla="*/ 2147483647 h 451"/>
              <a:gd name="T76" fmla="*/ 2147483647 w 438"/>
              <a:gd name="T77" fmla="*/ 2147483647 h 451"/>
              <a:gd name="T78" fmla="*/ 2147483647 w 438"/>
              <a:gd name="T79" fmla="*/ 2147483647 h 451"/>
              <a:gd name="T80" fmla="*/ 2147483647 w 438"/>
              <a:gd name="T81" fmla="*/ 2147483647 h 451"/>
              <a:gd name="T82" fmla="*/ 2147483647 w 438"/>
              <a:gd name="T83" fmla="*/ 2147483647 h 451"/>
              <a:gd name="T84" fmla="*/ 2147483647 w 438"/>
              <a:gd name="T85" fmla="*/ 2147483647 h 451"/>
              <a:gd name="T86" fmla="*/ 2147483647 w 438"/>
              <a:gd name="T87" fmla="*/ 2147483647 h 451"/>
              <a:gd name="T88" fmla="*/ 2147483647 w 438"/>
              <a:gd name="T89" fmla="*/ 2147483647 h 451"/>
              <a:gd name="T90" fmla="*/ 2147483647 w 438"/>
              <a:gd name="T91" fmla="*/ 2147483647 h 451"/>
              <a:gd name="T92" fmla="*/ 2147483647 w 438"/>
              <a:gd name="T93" fmla="*/ 2147483647 h 451"/>
              <a:gd name="T94" fmla="*/ 2147483647 w 438"/>
              <a:gd name="T95" fmla="*/ 2147483647 h 451"/>
              <a:gd name="T96" fmla="*/ 2147483647 w 438"/>
              <a:gd name="T97" fmla="*/ 2147483647 h 451"/>
              <a:gd name="T98" fmla="*/ 2147483647 w 438"/>
              <a:gd name="T99" fmla="*/ 2147483647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63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341678" y="3146053"/>
            <a:ext cx="250825" cy="274637"/>
          </a:xfrm>
          <a:custGeom>
            <a:avLst/>
            <a:gdLst>
              <a:gd name="T0" fmla="*/ 2147483647 w 578"/>
              <a:gd name="T1" fmla="*/ 2147483647 h 524"/>
              <a:gd name="T2" fmla="*/ 2147483647 w 578"/>
              <a:gd name="T3" fmla="*/ 2147483647 h 524"/>
              <a:gd name="T4" fmla="*/ 2147483647 w 578"/>
              <a:gd name="T5" fmla="*/ 2147483647 h 524"/>
              <a:gd name="T6" fmla="*/ 2147483647 w 578"/>
              <a:gd name="T7" fmla="*/ 2147483647 h 524"/>
              <a:gd name="T8" fmla="*/ 2147483647 w 578"/>
              <a:gd name="T9" fmla="*/ 2147483647 h 524"/>
              <a:gd name="T10" fmla="*/ 2147483647 w 578"/>
              <a:gd name="T11" fmla="*/ 2147483647 h 524"/>
              <a:gd name="T12" fmla="*/ 2147483647 w 578"/>
              <a:gd name="T13" fmla="*/ 2147483647 h 524"/>
              <a:gd name="T14" fmla="*/ 2147483647 w 578"/>
              <a:gd name="T15" fmla="*/ 2147483647 h 524"/>
              <a:gd name="T16" fmla="*/ 2147483647 w 578"/>
              <a:gd name="T17" fmla="*/ 2147483647 h 524"/>
              <a:gd name="T18" fmla="*/ 2147483647 w 578"/>
              <a:gd name="T19" fmla="*/ 2147483647 h 524"/>
              <a:gd name="T20" fmla="*/ 2147483647 w 578"/>
              <a:gd name="T21" fmla="*/ 2147483647 h 524"/>
              <a:gd name="T22" fmla="*/ 2147483647 w 578"/>
              <a:gd name="T23" fmla="*/ 2147483647 h 524"/>
              <a:gd name="T24" fmla="*/ 2147483647 w 578"/>
              <a:gd name="T25" fmla="*/ 2147483647 h 524"/>
              <a:gd name="T26" fmla="*/ 2147483647 w 578"/>
              <a:gd name="T27" fmla="*/ 2147483647 h 524"/>
              <a:gd name="T28" fmla="*/ 2147483647 w 578"/>
              <a:gd name="T29" fmla="*/ 2147483647 h 524"/>
              <a:gd name="T30" fmla="*/ 2147483647 w 578"/>
              <a:gd name="T31" fmla="*/ 2147483647 h 524"/>
              <a:gd name="T32" fmla="*/ 2147483647 w 578"/>
              <a:gd name="T33" fmla="*/ 2147483647 h 524"/>
              <a:gd name="T34" fmla="*/ 2147483647 w 578"/>
              <a:gd name="T35" fmla="*/ 2147483647 h 524"/>
              <a:gd name="T36" fmla="*/ 2147483647 w 578"/>
              <a:gd name="T37" fmla="*/ 2147483647 h 524"/>
              <a:gd name="T38" fmla="*/ 2147483647 w 578"/>
              <a:gd name="T39" fmla="*/ 2147483647 h 524"/>
              <a:gd name="T40" fmla="*/ 2147483647 w 578"/>
              <a:gd name="T41" fmla="*/ 2147483647 h 524"/>
              <a:gd name="T42" fmla="*/ 2147483647 w 578"/>
              <a:gd name="T43" fmla="*/ 2147483647 h 524"/>
              <a:gd name="T44" fmla="*/ 2147483647 w 578"/>
              <a:gd name="T45" fmla="*/ 2147483647 h 524"/>
              <a:gd name="T46" fmla="*/ 2147483647 w 578"/>
              <a:gd name="T47" fmla="*/ 2147483647 h 524"/>
              <a:gd name="T48" fmla="*/ 2147483647 w 578"/>
              <a:gd name="T49" fmla="*/ 2147483647 h 524"/>
              <a:gd name="T50" fmla="*/ 2147483647 w 578"/>
              <a:gd name="T51" fmla="*/ 2147483647 h 524"/>
              <a:gd name="T52" fmla="*/ 2147483647 w 578"/>
              <a:gd name="T53" fmla="*/ 2147483647 h 524"/>
              <a:gd name="T54" fmla="*/ 2147483647 w 578"/>
              <a:gd name="T55" fmla="*/ 2147483647 h 524"/>
              <a:gd name="T56" fmla="*/ 2147483647 w 578"/>
              <a:gd name="T57" fmla="*/ 2147483647 h 524"/>
              <a:gd name="T58" fmla="*/ 2147483647 w 578"/>
              <a:gd name="T59" fmla="*/ 2147483647 h 524"/>
              <a:gd name="T60" fmla="*/ 2147483647 w 578"/>
              <a:gd name="T61" fmla="*/ 2147483647 h 524"/>
              <a:gd name="T62" fmla="*/ 2147483647 w 578"/>
              <a:gd name="T63" fmla="*/ 2147483647 h 524"/>
              <a:gd name="T64" fmla="*/ 2147483647 w 578"/>
              <a:gd name="T65" fmla="*/ 2147483647 h 524"/>
              <a:gd name="T66" fmla="*/ 2147483647 w 578"/>
              <a:gd name="T67" fmla="*/ 2147483647 h 524"/>
              <a:gd name="T68" fmla="*/ 2147483647 w 578"/>
              <a:gd name="T69" fmla="*/ 2147483647 h 524"/>
              <a:gd name="T70" fmla="*/ 2147483647 w 578"/>
              <a:gd name="T71" fmla="*/ 2147483647 h 524"/>
              <a:gd name="T72" fmla="*/ 2147483647 w 578"/>
              <a:gd name="T73" fmla="*/ 2147483647 h 524"/>
              <a:gd name="T74" fmla="*/ 2147483647 w 578"/>
              <a:gd name="T75" fmla="*/ 2147483647 h 524"/>
              <a:gd name="T76" fmla="*/ 2147483647 w 578"/>
              <a:gd name="T77" fmla="*/ 2147483647 h 524"/>
              <a:gd name="T78" fmla="*/ 2147483647 w 578"/>
              <a:gd name="T79" fmla="*/ 2147483647 h 524"/>
              <a:gd name="T80" fmla="*/ 2147483647 w 578"/>
              <a:gd name="T81" fmla="*/ 2147483647 h 524"/>
              <a:gd name="T82" fmla="*/ 2147483647 w 578"/>
              <a:gd name="T83" fmla="*/ 2147483647 h 524"/>
              <a:gd name="T84" fmla="*/ 2147483647 w 578"/>
              <a:gd name="T85" fmla="*/ 2147483647 h 524"/>
              <a:gd name="T86" fmla="*/ 2147483647 w 578"/>
              <a:gd name="T87" fmla="*/ 2147483647 h 524"/>
              <a:gd name="T88" fmla="*/ 2147483647 w 578"/>
              <a:gd name="T89" fmla="*/ 2147483647 h 524"/>
              <a:gd name="T90" fmla="*/ 2147483647 w 578"/>
              <a:gd name="T91" fmla="*/ 2147483647 h 524"/>
              <a:gd name="T92" fmla="*/ 2147483647 w 578"/>
              <a:gd name="T93" fmla="*/ 2147483647 h 524"/>
              <a:gd name="T94" fmla="*/ 2147483647 w 578"/>
              <a:gd name="T95" fmla="*/ 2147483647 h 524"/>
              <a:gd name="T96" fmla="*/ 2147483647 w 578"/>
              <a:gd name="T97" fmla="*/ 0 h 524"/>
              <a:gd name="T98" fmla="*/ 2147483647 w 578"/>
              <a:gd name="T99" fmla="*/ 2147483647 h 524"/>
              <a:gd name="T100" fmla="*/ 2147483647 w 578"/>
              <a:gd name="T101" fmla="*/ 2147483647 h 524"/>
              <a:gd name="T102" fmla="*/ 2147483647 w 578"/>
              <a:gd name="T103" fmla="*/ 2147483647 h 524"/>
              <a:gd name="T104" fmla="*/ 2147483647 w 578"/>
              <a:gd name="T105" fmla="*/ 2147483647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64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359140" y="3314328"/>
            <a:ext cx="33338" cy="82550"/>
          </a:xfrm>
          <a:custGeom>
            <a:avLst/>
            <a:gdLst>
              <a:gd name="T0" fmla="*/ 0 w 79"/>
              <a:gd name="T1" fmla="*/ 2147483647 h 160"/>
              <a:gd name="T2" fmla="*/ 2147483647 w 79"/>
              <a:gd name="T3" fmla="*/ 2147483647 h 160"/>
              <a:gd name="T4" fmla="*/ 2147483647 w 79"/>
              <a:gd name="T5" fmla="*/ 2147483647 h 160"/>
              <a:gd name="T6" fmla="*/ 2147483647 w 79"/>
              <a:gd name="T7" fmla="*/ 2147483647 h 160"/>
              <a:gd name="T8" fmla="*/ 2147483647 w 79"/>
              <a:gd name="T9" fmla="*/ 2147483647 h 160"/>
              <a:gd name="T10" fmla="*/ 2147483647 w 79"/>
              <a:gd name="T11" fmla="*/ 2147483647 h 160"/>
              <a:gd name="T12" fmla="*/ 2147483647 w 79"/>
              <a:gd name="T13" fmla="*/ 2147483647 h 160"/>
              <a:gd name="T14" fmla="*/ 2147483647 w 79"/>
              <a:gd name="T15" fmla="*/ 2147483647 h 160"/>
              <a:gd name="T16" fmla="*/ 2147483647 w 79"/>
              <a:gd name="T17" fmla="*/ 2147483647 h 160"/>
              <a:gd name="T18" fmla="*/ 2147483647 w 79"/>
              <a:gd name="T19" fmla="*/ 2147483647 h 160"/>
              <a:gd name="T20" fmla="*/ 2147483647 w 79"/>
              <a:gd name="T21" fmla="*/ 0 h 160"/>
              <a:gd name="T22" fmla="*/ 2147483647 w 79"/>
              <a:gd name="T23" fmla="*/ 2147483647 h 160"/>
              <a:gd name="T24" fmla="*/ 2147483647 w 79"/>
              <a:gd name="T25" fmla="*/ 2147483647 h 160"/>
              <a:gd name="T26" fmla="*/ 2147483647 w 79"/>
              <a:gd name="T27" fmla="*/ 2147483647 h 160"/>
              <a:gd name="T28" fmla="*/ 2147483647 w 79"/>
              <a:gd name="T29" fmla="*/ 2147483647 h 160"/>
              <a:gd name="T30" fmla="*/ 2147483647 w 79"/>
              <a:gd name="T31" fmla="*/ 2147483647 h 160"/>
              <a:gd name="T32" fmla="*/ 2147483647 w 79"/>
              <a:gd name="T33" fmla="*/ 2147483647 h 160"/>
              <a:gd name="T34" fmla="*/ 2147483647 w 79"/>
              <a:gd name="T35" fmla="*/ 2147483647 h 160"/>
              <a:gd name="T36" fmla="*/ 2147483647 w 79"/>
              <a:gd name="T37" fmla="*/ 2147483647 h 160"/>
              <a:gd name="T38" fmla="*/ 2147483647 w 79"/>
              <a:gd name="T39" fmla="*/ 2147483647 h 160"/>
              <a:gd name="T40" fmla="*/ 2147483647 w 79"/>
              <a:gd name="T41" fmla="*/ 2147483647 h 160"/>
              <a:gd name="T42" fmla="*/ 2147483647 w 79"/>
              <a:gd name="T43" fmla="*/ 2147483647 h 160"/>
              <a:gd name="T44" fmla="*/ 2147483647 w 79"/>
              <a:gd name="T45" fmla="*/ 2147483647 h 160"/>
              <a:gd name="T46" fmla="*/ 2147483647 w 79"/>
              <a:gd name="T47" fmla="*/ 2147483647 h 160"/>
              <a:gd name="T48" fmla="*/ 2147483647 w 79"/>
              <a:gd name="T49" fmla="*/ 2147483647 h 160"/>
              <a:gd name="T50" fmla="*/ 2147483647 w 79"/>
              <a:gd name="T51" fmla="*/ 2147483647 h 160"/>
              <a:gd name="T52" fmla="*/ 2147483647 w 79"/>
              <a:gd name="T53" fmla="*/ 2147483647 h 160"/>
              <a:gd name="T54" fmla="*/ 2147483647 w 79"/>
              <a:gd name="T55" fmla="*/ 2147483647 h 160"/>
              <a:gd name="T56" fmla="*/ 2147483647 w 79"/>
              <a:gd name="T57" fmla="*/ 2147483647 h 160"/>
              <a:gd name="T58" fmla="*/ 2147483647 w 79"/>
              <a:gd name="T59" fmla="*/ 2147483647 h 160"/>
              <a:gd name="T60" fmla="*/ 2147483647 w 79"/>
              <a:gd name="T61" fmla="*/ 2147483647 h 160"/>
              <a:gd name="T62" fmla="*/ 2147483647 w 79"/>
              <a:gd name="T63" fmla="*/ 2147483647 h 160"/>
              <a:gd name="T64" fmla="*/ 2147483647 w 79"/>
              <a:gd name="T65" fmla="*/ 2147483647 h 160"/>
              <a:gd name="T66" fmla="*/ 2147483647 w 79"/>
              <a:gd name="T67" fmla="*/ 2147483647 h 160"/>
              <a:gd name="T68" fmla="*/ 2147483647 w 79"/>
              <a:gd name="T69" fmla="*/ 2147483647 h 160"/>
              <a:gd name="T70" fmla="*/ 2147483647 w 79"/>
              <a:gd name="T71" fmla="*/ 2147483647 h 160"/>
              <a:gd name="T72" fmla="*/ 2147483647 w 79"/>
              <a:gd name="T73" fmla="*/ 2147483647 h 160"/>
              <a:gd name="T74" fmla="*/ 2147483647 w 79"/>
              <a:gd name="T75" fmla="*/ 2147483647 h 160"/>
              <a:gd name="T76" fmla="*/ 0 w 79"/>
              <a:gd name="T77" fmla="*/ 2147483647 h 160"/>
              <a:gd name="T78" fmla="*/ 0 w 79"/>
              <a:gd name="T79" fmla="*/ 21474836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grpSp>
        <p:nvGrpSpPr>
          <p:cNvPr id="2065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678478" y="4374778"/>
            <a:ext cx="473075" cy="212725"/>
            <a:chOff x="4488" y="2394"/>
            <a:chExt cx="358" cy="124"/>
          </a:xfrm>
          <a:solidFill>
            <a:schemeClr val="bg1">
              <a:lumMod val="75000"/>
            </a:schemeClr>
          </a:solidFill>
        </p:grpSpPr>
        <p:sp>
          <p:nvSpPr>
            <p:cNvPr id="2596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97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</p:grpSp>
      <p:sp>
        <p:nvSpPr>
          <p:cNvPr id="2066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700453" y="2250703"/>
            <a:ext cx="3065462" cy="1074737"/>
          </a:xfrm>
          <a:custGeom>
            <a:avLst/>
            <a:gdLst>
              <a:gd name="T0" fmla="*/ 2147483647 w 7049"/>
              <a:gd name="T1" fmla="*/ 2147483647 h 2048"/>
              <a:gd name="T2" fmla="*/ 2147483647 w 7049"/>
              <a:gd name="T3" fmla="*/ 2147483647 h 2048"/>
              <a:gd name="T4" fmla="*/ 2147483647 w 7049"/>
              <a:gd name="T5" fmla="*/ 2147483647 h 2048"/>
              <a:gd name="T6" fmla="*/ 2147483647 w 7049"/>
              <a:gd name="T7" fmla="*/ 2147483647 h 2048"/>
              <a:gd name="T8" fmla="*/ 2147483647 w 7049"/>
              <a:gd name="T9" fmla="*/ 2147483647 h 2048"/>
              <a:gd name="T10" fmla="*/ 2147483647 w 7049"/>
              <a:gd name="T11" fmla="*/ 2147483647 h 2048"/>
              <a:gd name="T12" fmla="*/ 2147483647 w 7049"/>
              <a:gd name="T13" fmla="*/ 2147483647 h 2048"/>
              <a:gd name="T14" fmla="*/ 2147483647 w 7049"/>
              <a:gd name="T15" fmla="*/ 2147483647 h 2048"/>
              <a:gd name="T16" fmla="*/ 2147483647 w 7049"/>
              <a:gd name="T17" fmla="*/ 2147483647 h 2048"/>
              <a:gd name="T18" fmla="*/ 2147483647 w 7049"/>
              <a:gd name="T19" fmla="*/ 2147483647 h 2048"/>
              <a:gd name="T20" fmla="*/ 2147483647 w 7049"/>
              <a:gd name="T21" fmla="*/ 2147483647 h 2048"/>
              <a:gd name="T22" fmla="*/ 2147483647 w 7049"/>
              <a:gd name="T23" fmla="*/ 2147483647 h 2048"/>
              <a:gd name="T24" fmla="*/ 2147483647 w 7049"/>
              <a:gd name="T25" fmla="*/ 2147483647 h 2048"/>
              <a:gd name="T26" fmla="*/ 2147483647 w 7049"/>
              <a:gd name="T27" fmla="*/ 2147483647 h 2048"/>
              <a:gd name="T28" fmla="*/ 2147483647 w 7049"/>
              <a:gd name="T29" fmla="*/ 2147483647 h 2048"/>
              <a:gd name="T30" fmla="*/ 2147483647 w 7049"/>
              <a:gd name="T31" fmla="*/ 2147483647 h 2048"/>
              <a:gd name="T32" fmla="*/ 2147483647 w 7049"/>
              <a:gd name="T33" fmla="*/ 2147483647 h 2048"/>
              <a:gd name="T34" fmla="*/ 2147483647 w 7049"/>
              <a:gd name="T35" fmla="*/ 2147483647 h 2048"/>
              <a:gd name="T36" fmla="*/ 2147483647 w 7049"/>
              <a:gd name="T37" fmla="*/ 2147483647 h 2048"/>
              <a:gd name="T38" fmla="*/ 2147483647 w 7049"/>
              <a:gd name="T39" fmla="*/ 2147483647 h 2048"/>
              <a:gd name="T40" fmla="*/ 2147483647 w 7049"/>
              <a:gd name="T41" fmla="*/ 2147483647 h 2048"/>
              <a:gd name="T42" fmla="*/ 2147483647 w 7049"/>
              <a:gd name="T43" fmla="*/ 2147483647 h 2048"/>
              <a:gd name="T44" fmla="*/ 2147483647 w 7049"/>
              <a:gd name="T45" fmla="*/ 2147483647 h 2048"/>
              <a:gd name="T46" fmla="*/ 2147483647 w 7049"/>
              <a:gd name="T47" fmla="*/ 2147483647 h 2048"/>
              <a:gd name="T48" fmla="*/ 2147483647 w 7049"/>
              <a:gd name="T49" fmla="*/ 2147483647 h 2048"/>
              <a:gd name="T50" fmla="*/ 2147483647 w 7049"/>
              <a:gd name="T51" fmla="*/ 2147483647 h 2048"/>
              <a:gd name="T52" fmla="*/ 2147483647 w 7049"/>
              <a:gd name="T53" fmla="*/ 2147483647 h 2048"/>
              <a:gd name="T54" fmla="*/ 2147483647 w 7049"/>
              <a:gd name="T55" fmla="*/ 2147483647 h 2048"/>
              <a:gd name="T56" fmla="*/ 2147483647 w 7049"/>
              <a:gd name="T57" fmla="*/ 2147483647 h 2048"/>
              <a:gd name="T58" fmla="*/ 2147483647 w 7049"/>
              <a:gd name="T59" fmla="*/ 2147483647 h 2048"/>
              <a:gd name="T60" fmla="*/ 2147483647 w 7049"/>
              <a:gd name="T61" fmla="*/ 2147483647 h 2048"/>
              <a:gd name="T62" fmla="*/ 2147483647 w 7049"/>
              <a:gd name="T63" fmla="*/ 2147483647 h 2048"/>
              <a:gd name="T64" fmla="*/ 2147483647 w 7049"/>
              <a:gd name="T65" fmla="*/ 2147483647 h 2048"/>
              <a:gd name="T66" fmla="*/ 2147483647 w 7049"/>
              <a:gd name="T67" fmla="*/ 2147483647 h 2048"/>
              <a:gd name="T68" fmla="*/ 2147483647 w 7049"/>
              <a:gd name="T69" fmla="*/ 2147483647 h 2048"/>
              <a:gd name="T70" fmla="*/ 2147483647 w 7049"/>
              <a:gd name="T71" fmla="*/ 2147483647 h 2048"/>
              <a:gd name="T72" fmla="*/ 2147483647 w 7049"/>
              <a:gd name="T73" fmla="*/ 2147483647 h 2048"/>
              <a:gd name="T74" fmla="*/ 2147483647 w 7049"/>
              <a:gd name="T75" fmla="*/ 2147483647 h 2048"/>
              <a:gd name="T76" fmla="*/ 2147483647 w 7049"/>
              <a:gd name="T77" fmla="*/ 2147483647 h 2048"/>
              <a:gd name="T78" fmla="*/ 2147483647 w 7049"/>
              <a:gd name="T79" fmla="*/ 2147483647 h 2048"/>
              <a:gd name="T80" fmla="*/ 2147483647 w 7049"/>
              <a:gd name="T81" fmla="*/ 2147483647 h 2048"/>
              <a:gd name="T82" fmla="*/ 2147483647 w 7049"/>
              <a:gd name="T83" fmla="*/ 2147483647 h 2048"/>
              <a:gd name="T84" fmla="*/ 2147483647 w 7049"/>
              <a:gd name="T85" fmla="*/ 2147483647 h 2048"/>
              <a:gd name="T86" fmla="*/ 2147483647 w 7049"/>
              <a:gd name="T87" fmla="*/ 2147483647 h 2048"/>
              <a:gd name="T88" fmla="*/ 2147483647 w 7049"/>
              <a:gd name="T89" fmla="*/ 2147483647 h 2048"/>
              <a:gd name="T90" fmla="*/ 2147483647 w 7049"/>
              <a:gd name="T91" fmla="*/ 2147483647 h 2048"/>
              <a:gd name="T92" fmla="*/ 2147483647 w 7049"/>
              <a:gd name="T93" fmla="*/ 2147483647 h 2048"/>
              <a:gd name="T94" fmla="*/ 2147483647 w 7049"/>
              <a:gd name="T95" fmla="*/ 2147483647 h 2048"/>
              <a:gd name="T96" fmla="*/ 2147483647 w 7049"/>
              <a:gd name="T97" fmla="*/ 2147483647 h 2048"/>
              <a:gd name="T98" fmla="*/ 2147483647 w 7049"/>
              <a:gd name="T99" fmla="*/ 2147483647 h 2048"/>
              <a:gd name="T100" fmla="*/ 2147483647 w 7049"/>
              <a:gd name="T101" fmla="*/ 2147483647 h 2048"/>
              <a:gd name="T102" fmla="*/ 2147483647 w 7049"/>
              <a:gd name="T103" fmla="*/ 2147483647 h 2048"/>
              <a:gd name="T104" fmla="*/ 2147483647 w 7049"/>
              <a:gd name="T105" fmla="*/ 2147483647 h 2048"/>
              <a:gd name="T106" fmla="*/ 2147483647 w 7049"/>
              <a:gd name="T107" fmla="*/ 2147483647 h 2048"/>
              <a:gd name="T108" fmla="*/ 2147483647 w 7049"/>
              <a:gd name="T109" fmla="*/ 2147483647 h 2048"/>
              <a:gd name="T110" fmla="*/ 2147483647 w 7049"/>
              <a:gd name="T111" fmla="*/ 2147483647 h 2048"/>
              <a:gd name="T112" fmla="*/ 2147483647 w 7049"/>
              <a:gd name="T113" fmla="*/ 2147483647 h 2048"/>
              <a:gd name="T114" fmla="*/ 2147483647 w 7049"/>
              <a:gd name="T115" fmla="*/ 2147483647 h 2048"/>
              <a:gd name="T116" fmla="*/ 2147483647 w 7049"/>
              <a:gd name="T117" fmla="*/ 2147483647 h 2048"/>
              <a:gd name="T118" fmla="*/ 2147483647 w 7049"/>
              <a:gd name="T119" fmla="*/ 2147483647 h 2048"/>
              <a:gd name="T120" fmla="*/ 2147483647 w 7049"/>
              <a:gd name="T121" fmla="*/ 2147483647 h 2048"/>
              <a:gd name="T122" fmla="*/ 2147483647 w 7049"/>
              <a:gd name="T123" fmla="*/ 2147483647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7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963853" y="3238128"/>
            <a:ext cx="280987" cy="247650"/>
          </a:xfrm>
          <a:custGeom>
            <a:avLst/>
            <a:gdLst>
              <a:gd name="T0" fmla="*/ 2147483647 w 647"/>
              <a:gd name="T1" fmla="*/ 2147483647 h 470"/>
              <a:gd name="T2" fmla="*/ 2147483647 w 647"/>
              <a:gd name="T3" fmla="*/ 2147483647 h 470"/>
              <a:gd name="T4" fmla="*/ 2147483647 w 647"/>
              <a:gd name="T5" fmla="*/ 2147483647 h 470"/>
              <a:gd name="T6" fmla="*/ 2147483647 w 647"/>
              <a:gd name="T7" fmla="*/ 2147483647 h 470"/>
              <a:gd name="T8" fmla="*/ 2147483647 w 647"/>
              <a:gd name="T9" fmla="*/ 2147483647 h 470"/>
              <a:gd name="T10" fmla="*/ 2147483647 w 647"/>
              <a:gd name="T11" fmla="*/ 2147483647 h 470"/>
              <a:gd name="T12" fmla="*/ 2147483647 w 647"/>
              <a:gd name="T13" fmla="*/ 2147483647 h 470"/>
              <a:gd name="T14" fmla="*/ 2147483647 w 647"/>
              <a:gd name="T15" fmla="*/ 2147483647 h 470"/>
              <a:gd name="T16" fmla="*/ 2147483647 w 647"/>
              <a:gd name="T17" fmla="*/ 2147483647 h 470"/>
              <a:gd name="T18" fmla="*/ 2147483647 w 647"/>
              <a:gd name="T19" fmla="*/ 2147483647 h 470"/>
              <a:gd name="T20" fmla="*/ 2147483647 w 647"/>
              <a:gd name="T21" fmla="*/ 2147483647 h 470"/>
              <a:gd name="T22" fmla="*/ 2147483647 w 647"/>
              <a:gd name="T23" fmla="*/ 2147483647 h 470"/>
              <a:gd name="T24" fmla="*/ 2147483647 w 647"/>
              <a:gd name="T25" fmla="*/ 2147483647 h 470"/>
              <a:gd name="T26" fmla="*/ 2147483647 w 647"/>
              <a:gd name="T27" fmla="*/ 2147483647 h 470"/>
              <a:gd name="T28" fmla="*/ 2147483647 w 647"/>
              <a:gd name="T29" fmla="*/ 2147483647 h 470"/>
              <a:gd name="T30" fmla="*/ 2147483647 w 647"/>
              <a:gd name="T31" fmla="*/ 2147483647 h 470"/>
              <a:gd name="T32" fmla="*/ 2147483647 w 647"/>
              <a:gd name="T33" fmla="*/ 2147483647 h 470"/>
              <a:gd name="T34" fmla="*/ 2147483647 w 647"/>
              <a:gd name="T35" fmla="*/ 2147483647 h 470"/>
              <a:gd name="T36" fmla="*/ 2147483647 w 647"/>
              <a:gd name="T37" fmla="*/ 2147483647 h 470"/>
              <a:gd name="T38" fmla="*/ 2147483647 w 647"/>
              <a:gd name="T39" fmla="*/ 2147483647 h 470"/>
              <a:gd name="T40" fmla="*/ 2147483647 w 647"/>
              <a:gd name="T41" fmla="*/ 2147483647 h 470"/>
              <a:gd name="T42" fmla="*/ 2147483647 w 647"/>
              <a:gd name="T43" fmla="*/ 2147483647 h 470"/>
              <a:gd name="T44" fmla="*/ 2147483647 w 647"/>
              <a:gd name="T45" fmla="*/ 2147483647 h 470"/>
              <a:gd name="T46" fmla="*/ 2147483647 w 647"/>
              <a:gd name="T47" fmla="*/ 2147483647 h 470"/>
              <a:gd name="T48" fmla="*/ 2147483647 w 647"/>
              <a:gd name="T49" fmla="*/ 2147483647 h 470"/>
              <a:gd name="T50" fmla="*/ 2147483647 w 647"/>
              <a:gd name="T51" fmla="*/ 2147483647 h 470"/>
              <a:gd name="T52" fmla="*/ 2147483647 w 647"/>
              <a:gd name="T53" fmla="*/ 2147483647 h 470"/>
              <a:gd name="T54" fmla="*/ 2147483647 w 647"/>
              <a:gd name="T55" fmla="*/ 2147483647 h 470"/>
              <a:gd name="T56" fmla="*/ 2147483647 w 647"/>
              <a:gd name="T57" fmla="*/ 2147483647 h 470"/>
              <a:gd name="T58" fmla="*/ 2147483647 w 647"/>
              <a:gd name="T59" fmla="*/ 2147483647 h 470"/>
              <a:gd name="T60" fmla="*/ 2147483647 w 647"/>
              <a:gd name="T61" fmla="*/ 2147483647 h 470"/>
              <a:gd name="T62" fmla="*/ 2147483647 w 647"/>
              <a:gd name="T63" fmla="*/ 2147483647 h 470"/>
              <a:gd name="T64" fmla="*/ 2147483647 w 647"/>
              <a:gd name="T65" fmla="*/ 2147483647 h 470"/>
              <a:gd name="T66" fmla="*/ 2147483647 w 647"/>
              <a:gd name="T67" fmla="*/ 2147483647 h 470"/>
              <a:gd name="T68" fmla="*/ 2147483647 w 647"/>
              <a:gd name="T69" fmla="*/ 2147483647 h 470"/>
              <a:gd name="T70" fmla="*/ 2147483647 w 647"/>
              <a:gd name="T71" fmla="*/ 2147483647 h 470"/>
              <a:gd name="T72" fmla="*/ 2147483647 w 647"/>
              <a:gd name="T73" fmla="*/ 2147483647 h 470"/>
              <a:gd name="T74" fmla="*/ 2147483647 w 647"/>
              <a:gd name="T75" fmla="*/ 2147483647 h 470"/>
              <a:gd name="T76" fmla="*/ 2147483647 w 647"/>
              <a:gd name="T77" fmla="*/ 2147483647 h 470"/>
              <a:gd name="T78" fmla="*/ 2147483647 w 647"/>
              <a:gd name="T79" fmla="*/ 2147483647 h 470"/>
              <a:gd name="T80" fmla="*/ 2147483647 w 647"/>
              <a:gd name="T81" fmla="*/ 2147483647 h 470"/>
              <a:gd name="T82" fmla="*/ 2147483647 w 647"/>
              <a:gd name="T83" fmla="*/ 2147483647 h 470"/>
              <a:gd name="T84" fmla="*/ 2147483647 w 647"/>
              <a:gd name="T85" fmla="*/ 2147483647 h 470"/>
              <a:gd name="T86" fmla="*/ 2147483647 w 647"/>
              <a:gd name="T87" fmla="*/ 2147483647 h 470"/>
              <a:gd name="T88" fmla="*/ 2147483647 w 647"/>
              <a:gd name="T89" fmla="*/ 2147483647 h 470"/>
              <a:gd name="T90" fmla="*/ 2147483647 w 647"/>
              <a:gd name="T91" fmla="*/ 2147483647 h 470"/>
              <a:gd name="T92" fmla="*/ 0 w 647"/>
              <a:gd name="T93" fmla="*/ 2147483647 h 470"/>
              <a:gd name="T94" fmla="*/ 2147483647 w 647"/>
              <a:gd name="T95" fmla="*/ 2147483647 h 470"/>
              <a:gd name="T96" fmla="*/ 2147483647 w 647"/>
              <a:gd name="T97" fmla="*/ 2147483647 h 470"/>
              <a:gd name="T98" fmla="*/ 2147483647 w 647"/>
              <a:gd name="T99" fmla="*/ 2147483647 h 470"/>
              <a:gd name="T100" fmla="*/ 2147483647 w 647"/>
              <a:gd name="T101" fmla="*/ 0 h 470"/>
              <a:gd name="T102" fmla="*/ 2147483647 w 647"/>
              <a:gd name="T103" fmla="*/ 2147483647 h 470"/>
              <a:gd name="T104" fmla="*/ 2147483647 w 647"/>
              <a:gd name="T105" fmla="*/ 2147483647 h 470"/>
              <a:gd name="T106" fmla="*/ 2147483647 w 647"/>
              <a:gd name="T107" fmla="*/ 2147483647 h 470"/>
              <a:gd name="T108" fmla="*/ 2147483647 w 647"/>
              <a:gd name="T109" fmla="*/ 2147483647 h 470"/>
              <a:gd name="T110" fmla="*/ 2147483647 w 647"/>
              <a:gd name="T111" fmla="*/ 2147483647 h 470"/>
              <a:gd name="T112" fmla="*/ 2147483647 w 647"/>
              <a:gd name="T113" fmla="*/ 2147483647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68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595928" y="3976315"/>
            <a:ext cx="207962" cy="455613"/>
          </a:xfrm>
          <a:custGeom>
            <a:avLst/>
            <a:gdLst>
              <a:gd name="T0" fmla="*/ 2147483647 w 479"/>
              <a:gd name="T1" fmla="*/ 2147483647 h 868"/>
              <a:gd name="T2" fmla="*/ 2147483647 w 479"/>
              <a:gd name="T3" fmla="*/ 2147483647 h 868"/>
              <a:gd name="T4" fmla="*/ 2147483647 w 479"/>
              <a:gd name="T5" fmla="*/ 2147483647 h 868"/>
              <a:gd name="T6" fmla="*/ 2147483647 w 479"/>
              <a:gd name="T7" fmla="*/ 2147483647 h 868"/>
              <a:gd name="T8" fmla="*/ 2147483647 w 479"/>
              <a:gd name="T9" fmla="*/ 2147483647 h 868"/>
              <a:gd name="T10" fmla="*/ 2147483647 w 479"/>
              <a:gd name="T11" fmla="*/ 2147483647 h 868"/>
              <a:gd name="T12" fmla="*/ 2147483647 w 479"/>
              <a:gd name="T13" fmla="*/ 2147483647 h 868"/>
              <a:gd name="T14" fmla="*/ 2147483647 w 479"/>
              <a:gd name="T15" fmla="*/ 2147483647 h 868"/>
              <a:gd name="T16" fmla="*/ 2147483647 w 479"/>
              <a:gd name="T17" fmla="*/ 2147483647 h 868"/>
              <a:gd name="T18" fmla="*/ 2147483647 w 479"/>
              <a:gd name="T19" fmla="*/ 2147483647 h 868"/>
              <a:gd name="T20" fmla="*/ 2147483647 w 479"/>
              <a:gd name="T21" fmla="*/ 2147483647 h 868"/>
              <a:gd name="T22" fmla="*/ 2147483647 w 479"/>
              <a:gd name="T23" fmla="*/ 2147483647 h 868"/>
              <a:gd name="T24" fmla="*/ 2147483647 w 479"/>
              <a:gd name="T25" fmla="*/ 2147483647 h 868"/>
              <a:gd name="T26" fmla="*/ 2147483647 w 479"/>
              <a:gd name="T27" fmla="*/ 2147483647 h 868"/>
              <a:gd name="T28" fmla="*/ 2147483647 w 479"/>
              <a:gd name="T29" fmla="*/ 2147483647 h 868"/>
              <a:gd name="T30" fmla="*/ 2147483647 w 479"/>
              <a:gd name="T31" fmla="*/ 2147483647 h 868"/>
              <a:gd name="T32" fmla="*/ 2147483647 w 479"/>
              <a:gd name="T33" fmla="*/ 2147483647 h 868"/>
              <a:gd name="T34" fmla="*/ 2147483647 w 479"/>
              <a:gd name="T35" fmla="*/ 2147483647 h 868"/>
              <a:gd name="T36" fmla="*/ 2147483647 w 479"/>
              <a:gd name="T37" fmla="*/ 2147483647 h 868"/>
              <a:gd name="T38" fmla="*/ 2147483647 w 479"/>
              <a:gd name="T39" fmla="*/ 2147483647 h 868"/>
              <a:gd name="T40" fmla="*/ 2147483647 w 479"/>
              <a:gd name="T41" fmla="*/ 2147483647 h 868"/>
              <a:gd name="T42" fmla="*/ 2147483647 w 479"/>
              <a:gd name="T43" fmla="*/ 2147483647 h 868"/>
              <a:gd name="T44" fmla="*/ 2147483647 w 479"/>
              <a:gd name="T45" fmla="*/ 2147483647 h 868"/>
              <a:gd name="T46" fmla="*/ 2147483647 w 479"/>
              <a:gd name="T47" fmla="*/ 2147483647 h 868"/>
              <a:gd name="T48" fmla="*/ 2147483647 w 479"/>
              <a:gd name="T49" fmla="*/ 2147483647 h 868"/>
              <a:gd name="T50" fmla="*/ 2147483647 w 479"/>
              <a:gd name="T51" fmla="*/ 2147483647 h 868"/>
              <a:gd name="T52" fmla="*/ 2147483647 w 479"/>
              <a:gd name="T53" fmla="*/ 2147483647 h 868"/>
              <a:gd name="T54" fmla="*/ 2147483647 w 479"/>
              <a:gd name="T55" fmla="*/ 2147483647 h 868"/>
              <a:gd name="T56" fmla="*/ 2147483647 w 479"/>
              <a:gd name="T57" fmla="*/ 2147483647 h 868"/>
              <a:gd name="T58" fmla="*/ 2147483647 w 479"/>
              <a:gd name="T59" fmla="*/ 2147483647 h 868"/>
              <a:gd name="T60" fmla="*/ 2147483647 w 479"/>
              <a:gd name="T61" fmla="*/ 2147483647 h 868"/>
              <a:gd name="T62" fmla="*/ 2147483647 w 479"/>
              <a:gd name="T63" fmla="*/ 2147483647 h 868"/>
              <a:gd name="T64" fmla="*/ 2147483647 w 479"/>
              <a:gd name="T65" fmla="*/ 2147483647 h 868"/>
              <a:gd name="T66" fmla="*/ 2147483647 w 479"/>
              <a:gd name="T67" fmla="*/ 2147483647 h 868"/>
              <a:gd name="T68" fmla="*/ 2147483647 w 479"/>
              <a:gd name="T69" fmla="*/ 2147483647 h 868"/>
              <a:gd name="T70" fmla="*/ 2147483647 w 479"/>
              <a:gd name="T71" fmla="*/ 2147483647 h 868"/>
              <a:gd name="T72" fmla="*/ 2147483647 w 479"/>
              <a:gd name="T73" fmla="*/ 2147483647 h 868"/>
              <a:gd name="T74" fmla="*/ 2147483647 w 479"/>
              <a:gd name="T75" fmla="*/ 2147483647 h 868"/>
              <a:gd name="T76" fmla="*/ 2147483647 w 479"/>
              <a:gd name="T77" fmla="*/ 2147483647 h 868"/>
              <a:gd name="T78" fmla="*/ 2147483647 w 479"/>
              <a:gd name="T79" fmla="*/ 2147483647 h 868"/>
              <a:gd name="T80" fmla="*/ 2147483647 w 479"/>
              <a:gd name="T81" fmla="*/ 2147483647 h 868"/>
              <a:gd name="T82" fmla="*/ 2147483647 w 479"/>
              <a:gd name="T83" fmla="*/ 0 h 868"/>
              <a:gd name="T84" fmla="*/ 2147483647 w 479"/>
              <a:gd name="T85" fmla="*/ 2147483647 h 868"/>
              <a:gd name="T86" fmla="*/ 2147483647 w 479"/>
              <a:gd name="T87" fmla="*/ 2147483647 h 868"/>
              <a:gd name="T88" fmla="*/ 2147483647 w 479"/>
              <a:gd name="T89" fmla="*/ 2147483647 h 868"/>
              <a:gd name="T90" fmla="*/ 2147483647 w 479"/>
              <a:gd name="T91" fmla="*/ 2147483647 h 868"/>
              <a:gd name="T92" fmla="*/ 2147483647 w 479"/>
              <a:gd name="T93" fmla="*/ 2147483647 h 868"/>
              <a:gd name="T94" fmla="*/ 2147483647 w 479"/>
              <a:gd name="T95" fmla="*/ 2147483647 h 868"/>
              <a:gd name="T96" fmla="*/ 2147483647 w 479"/>
              <a:gd name="T97" fmla="*/ 2147483647 h 868"/>
              <a:gd name="T98" fmla="*/ 2147483647 w 479"/>
              <a:gd name="T99" fmla="*/ 2147483647 h 868"/>
              <a:gd name="T100" fmla="*/ 2147483647 w 479"/>
              <a:gd name="T101" fmla="*/ 2147483647 h 868"/>
              <a:gd name="T102" fmla="*/ 2147483647 w 479"/>
              <a:gd name="T103" fmla="*/ 2147483647 h 868"/>
              <a:gd name="T104" fmla="*/ 2147483647 w 479"/>
              <a:gd name="T105" fmla="*/ 2147483647 h 868"/>
              <a:gd name="T106" fmla="*/ 2147483647 w 479"/>
              <a:gd name="T107" fmla="*/ 2147483647 h 868"/>
              <a:gd name="T108" fmla="*/ 2147483647 w 479"/>
              <a:gd name="T109" fmla="*/ 2147483647 h 868"/>
              <a:gd name="T110" fmla="*/ 2147483647 w 479"/>
              <a:gd name="T111" fmla="*/ 2147483647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9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704965" y="6363915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0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166678" y="328575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71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169853" y="3282578"/>
            <a:ext cx="3175" cy="55562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2147483647 h 24"/>
              <a:gd name="T4" fmla="*/ 2147483647 w 6"/>
              <a:gd name="T5" fmla="*/ 2147483647 h 24"/>
              <a:gd name="T6" fmla="*/ 2147483647 w 6"/>
              <a:gd name="T7" fmla="*/ 2147483647 h 24"/>
              <a:gd name="T8" fmla="*/ 2147483647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2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146040" y="3336553"/>
            <a:ext cx="23813" cy="57150"/>
          </a:xfrm>
          <a:custGeom>
            <a:avLst/>
            <a:gdLst>
              <a:gd name="T0" fmla="*/ 0 w 47"/>
              <a:gd name="T1" fmla="*/ 2147483647 h 67"/>
              <a:gd name="T2" fmla="*/ 0 w 47"/>
              <a:gd name="T3" fmla="*/ 2147483647 h 67"/>
              <a:gd name="T4" fmla="*/ 2147483647 w 47"/>
              <a:gd name="T5" fmla="*/ 2147483647 h 67"/>
              <a:gd name="T6" fmla="*/ 2147483647 w 47"/>
              <a:gd name="T7" fmla="*/ 2147483647 h 67"/>
              <a:gd name="T8" fmla="*/ 2147483647 w 47"/>
              <a:gd name="T9" fmla="*/ 2147483647 h 67"/>
              <a:gd name="T10" fmla="*/ 2147483647 w 47"/>
              <a:gd name="T11" fmla="*/ 2147483647 h 67"/>
              <a:gd name="T12" fmla="*/ 2147483647 w 47"/>
              <a:gd name="T13" fmla="*/ 2147483647 h 67"/>
              <a:gd name="T14" fmla="*/ 2147483647 w 47"/>
              <a:gd name="T15" fmla="*/ 2147483647 h 67"/>
              <a:gd name="T16" fmla="*/ 2147483647 w 47"/>
              <a:gd name="T17" fmla="*/ 0 h 67"/>
              <a:gd name="T18" fmla="*/ 2147483647 w 47"/>
              <a:gd name="T19" fmla="*/ 2147483647 h 67"/>
              <a:gd name="T20" fmla="*/ 2147483647 w 47"/>
              <a:gd name="T21" fmla="*/ 2147483647 h 67"/>
              <a:gd name="T22" fmla="*/ 2147483647 w 47"/>
              <a:gd name="T23" fmla="*/ 2147483647 h 67"/>
              <a:gd name="T24" fmla="*/ 2147483647 w 47"/>
              <a:gd name="T25" fmla="*/ 2147483647 h 67"/>
              <a:gd name="T26" fmla="*/ 2147483647 w 47"/>
              <a:gd name="T27" fmla="*/ 2147483647 h 67"/>
              <a:gd name="T28" fmla="*/ 2147483647 w 47"/>
              <a:gd name="T29" fmla="*/ 2147483647 h 67"/>
              <a:gd name="T30" fmla="*/ 0 w 47"/>
              <a:gd name="T31" fmla="*/ 2147483647 h 67"/>
              <a:gd name="T32" fmla="*/ 0 w 47"/>
              <a:gd name="T33" fmla="*/ 2147483647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3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471603" y="3331790"/>
            <a:ext cx="49212" cy="57150"/>
          </a:xfrm>
          <a:custGeom>
            <a:avLst/>
            <a:gdLst>
              <a:gd name="T0" fmla="*/ 0 w 112"/>
              <a:gd name="T1" fmla="*/ 2147483647 h 36"/>
              <a:gd name="T2" fmla="*/ 2147483647 w 112"/>
              <a:gd name="T3" fmla="*/ 2147483647 h 36"/>
              <a:gd name="T4" fmla="*/ 2147483647 w 112"/>
              <a:gd name="T5" fmla="*/ 2147483647 h 36"/>
              <a:gd name="T6" fmla="*/ 2147483647 w 112"/>
              <a:gd name="T7" fmla="*/ 2147483647 h 36"/>
              <a:gd name="T8" fmla="*/ 2147483647 w 112"/>
              <a:gd name="T9" fmla="*/ 2147483647 h 36"/>
              <a:gd name="T10" fmla="*/ 2147483647 w 112"/>
              <a:gd name="T11" fmla="*/ 2147483647 h 36"/>
              <a:gd name="T12" fmla="*/ 2147483647 w 112"/>
              <a:gd name="T13" fmla="*/ 2147483647 h 36"/>
              <a:gd name="T14" fmla="*/ 2147483647 w 112"/>
              <a:gd name="T15" fmla="*/ 2147483647 h 36"/>
              <a:gd name="T16" fmla="*/ 2147483647 w 112"/>
              <a:gd name="T17" fmla="*/ 2147483647 h 36"/>
              <a:gd name="T18" fmla="*/ 2147483647 w 112"/>
              <a:gd name="T19" fmla="*/ 2147483647 h 36"/>
              <a:gd name="T20" fmla="*/ 2147483647 w 112"/>
              <a:gd name="T21" fmla="*/ 2147483647 h 36"/>
              <a:gd name="T22" fmla="*/ 2147483647 w 112"/>
              <a:gd name="T23" fmla="*/ 0 h 36"/>
              <a:gd name="T24" fmla="*/ 2147483647 w 112"/>
              <a:gd name="T25" fmla="*/ 0 h 36"/>
              <a:gd name="T26" fmla="*/ 2147483647 w 112"/>
              <a:gd name="T27" fmla="*/ 2147483647 h 36"/>
              <a:gd name="T28" fmla="*/ 2147483647 w 112"/>
              <a:gd name="T29" fmla="*/ 2147483647 h 36"/>
              <a:gd name="T30" fmla="*/ 2147483647 w 112"/>
              <a:gd name="T31" fmla="*/ 2147483647 h 36"/>
              <a:gd name="T32" fmla="*/ 2147483647 w 112"/>
              <a:gd name="T33" fmla="*/ 2147483647 h 36"/>
              <a:gd name="T34" fmla="*/ 2147483647 w 112"/>
              <a:gd name="T35" fmla="*/ 2147483647 h 36"/>
              <a:gd name="T36" fmla="*/ 2147483647 w 112"/>
              <a:gd name="T37" fmla="*/ 2147483647 h 36"/>
              <a:gd name="T38" fmla="*/ 2147483647 w 112"/>
              <a:gd name="T39" fmla="*/ 2147483647 h 36"/>
              <a:gd name="T40" fmla="*/ 2147483647 w 112"/>
              <a:gd name="T41" fmla="*/ 2147483647 h 36"/>
              <a:gd name="T42" fmla="*/ 2147483647 w 112"/>
              <a:gd name="T43" fmla="*/ 2147483647 h 36"/>
              <a:gd name="T44" fmla="*/ 2147483647 w 112"/>
              <a:gd name="T45" fmla="*/ 2147483647 h 36"/>
              <a:gd name="T46" fmla="*/ 0 w 112"/>
              <a:gd name="T47" fmla="*/ 2147483647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4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210040" y="2888878"/>
            <a:ext cx="874713" cy="452437"/>
          </a:xfrm>
          <a:custGeom>
            <a:avLst/>
            <a:gdLst>
              <a:gd name="T0" fmla="*/ 2147483647 w 2006"/>
              <a:gd name="T1" fmla="*/ 2147483647 h 863"/>
              <a:gd name="T2" fmla="*/ 2147483647 w 2006"/>
              <a:gd name="T3" fmla="*/ 2147483647 h 863"/>
              <a:gd name="T4" fmla="*/ 2147483647 w 2006"/>
              <a:gd name="T5" fmla="*/ 2147483647 h 863"/>
              <a:gd name="T6" fmla="*/ 2147483647 w 2006"/>
              <a:gd name="T7" fmla="*/ 2147483647 h 863"/>
              <a:gd name="T8" fmla="*/ 2147483647 w 2006"/>
              <a:gd name="T9" fmla="*/ 2147483647 h 863"/>
              <a:gd name="T10" fmla="*/ 2147483647 w 2006"/>
              <a:gd name="T11" fmla="*/ 2147483647 h 863"/>
              <a:gd name="T12" fmla="*/ 2147483647 w 2006"/>
              <a:gd name="T13" fmla="*/ 2147483647 h 863"/>
              <a:gd name="T14" fmla="*/ 2147483647 w 2006"/>
              <a:gd name="T15" fmla="*/ 2147483647 h 863"/>
              <a:gd name="T16" fmla="*/ 2147483647 w 2006"/>
              <a:gd name="T17" fmla="*/ 2147483647 h 863"/>
              <a:gd name="T18" fmla="*/ 2147483647 w 2006"/>
              <a:gd name="T19" fmla="*/ 2147483647 h 863"/>
              <a:gd name="T20" fmla="*/ 2147483647 w 2006"/>
              <a:gd name="T21" fmla="*/ 2147483647 h 863"/>
              <a:gd name="T22" fmla="*/ 2147483647 w 2006"/>
              <a:gd name="T23" fmla="*/ 2147483647 h 863"/>
              <a:gd name="T24" fmla="*/ 2147483647 w 2006"/>
              <a:gd name="T25" fmla="*/ 2147483647 h 863"/>
              <a:gd name="T26" fmla="*/ 2147483647 w 2006"/>
              <a:gd name="T27" fmla="*/ 2147483647 h 863"/>
              <a:gd name="T28" fmla="*/ 2147483647 w 2006"/>
              <a:gd name="T29" fmla="*/ 2147483647 h 863"/>
              <a:gd name="T30" fmla="*/ 2147483647 w 2006"/>
              <a:gd name="T31" fmla="*/ 2147483647 h 863"/>
              <a:gd name="T32" fmla="*/ 2147483647 w 2006"/>
              <a:gd name="T33" fmla="*/ 2147483647 h 863"/>
              <a:gd name="T34" fmla="*/ 2147483647 w 2006"/>
              <a:gd name="T35" fmla="*/ 2147483647 h 863"/>
              <a:gd name="T36" fmla="*/ 2147483647 w 2006"/>
              <a:gd name="T37" fmla="*/ 2147483647 h 863"/>
              <a:gd name="T38" fmla="*/ 2147483647 w 2006"/>
              <a:gd name="T39" fmla="*/ 2147483647 h 863"/>
              <a:gd name="T40" fmla="*/ 2147483647 w 2006"/>
              <a:gd name="T41" fmla="*/ 2147483647 h 863"/>
              <a:gd name="T42" fmla="*/ 2147483647 w 2006"/>
              <a:gd name="T43" fmla="*/ 2147483647 h 863"/>
              <a:gd name="T44" fmla="*/ 2147483647 w 2006"/>
              <a:gd name="T45" fmla="*/ 2147483647 h 863"/>
              <a:gd name="T46" fmla="*/ 2147483647 w 2006"/>
              <a:gd name="T47" fmla="*/ 2147483647 h 863"/>
              <a:gd name="T48" fmla="*/ 2147483647 w 2006"/>
              <a:gd name="T49" fmla="*/ 2147483647 h 863"/>
              <a:gd name="T50" fmla="*/ 2147483647 w 2006"/>
              <a:gd name="T51" fmla="*/ 2147483647 h 863"/>
              <a:gd name="T52" fmla="*/ 2147483647 w 2006"/>
              <a:gd name="T53" fmla="*/ 2147483647 h 863"/>
              <a:gd name="T54" fmla="*/ 2147483647 w 2006"/>
              <a:gd name="T55" fmla="*/ 2147483647 h 863"/>
              <a:gd name="T56" fmla="*/ 2147483647 w 2006"/>
              <a:gd name="T57" fmla="*/ 2147483647 h 863"/>
              <a:gd name="T58" fmla="*/ 2147483647 w 2006"/>
              <a:gd name="T59" fmla="*/ 2147483647 h 863"/>
              <a:gd name="T60" fmla="*/ 2147483647 w 2006"/>
              <a:gd name="T61" fmla="*/ 2147483647 h 863"/>
              <a:gd name="T62" fmla="*/ 2147483647 w 2006"/>
              <a:gd name="T63" fmla="*/ 2147483647 h 863"/>
              <a:gd name="T64" fmla="*/ 2147483647 w 2006"/>
              <a:gd name="T65" fmla="*/ 2147483647 h 863"/>
              <a:gd name="T66" fmla="*/ 2147483647 w 2006"/>
              <a:gd name="T67" fmla="*/ 2147483647 h 863"/>
              <a:gd name="T68" fmla="*/ 2147483647 w 2006"/>
              <a:gd name="T69" fmla="*/ 2147483647 h 863"/>
              <a:gd name="T70" fmla="*/ 2147483647 w 2006"/>
              <a:gd name="T71" fmla="*/ 2147483647 h 863"/>
              <a:gd name="T72" fmla="*/ 2147483647 w 2006"/>
              <a:gd name="T73" fmla="*/ 2147483647 h 863"/>
              <a:gd name="T74" fmla="*/ 2147483647 w 2006"/>
              <a:gd name="T75" fmla="*/ 2147483647 h 863"/>
              <a:gd name="T76" fmla="*/ 2147483647 w 2006"/>
              <a:gd name="T77" fmla="*/ 2147483647 h 863"/>
              <a:gd name="T78" fmla="*/ 2147483647 w 2006"/>
              <a:gd name="T79" fmla="*/ 2147483647 h 863"/>
              <a:gd name="T80" fmla="*/ 2147483647 w 2006"/>
              <a:gd name="T81" fmla="*/ 2147483647 h 863"/>
              <a:gd name="T82" fmla="*/ 2147483647 w 2006"/>
              <a:gd name="T83" fmla="*/ 2147483647 h 863"/>
              <a:gd name="T84" fmla="*/ 2147483647 w 2006"/>
              <a:gd name="T85" fmla="*/ 2147483647 h 863"/>
              <a:gd name="T86" fmla="*/ 2147483647 w 2006"/>
              <a:gd name="T87" fmla="*/ 2147483647 h 863"/>
              <a:gd name="T88" fmla="*/ 2147483647 w 2006"/>
              <a:gd name="T89" fmla="*/ 2147483647 h 863"/>
              <a:gd name="T90" fmla="*/ 2147483647 w 2006"/>
              <a:gd name="T91" fmla="*/ 2147483647 h 863"/>
              <a:gd name="T92" fmla="*/ 2147483647 w 2006"/>
              <a:gd name="T93" fmla="*/ 2147483647 h 863"/>
              <a:gd name="T94" fmla="*/ 2147483647 w 2006"/>
              <a:gd name="T95" fmla="*/ 2147483647 h 863"/>
              <a:gd name="T96" fmla="*/ 2147483647 w 2006"/>
              <a:gd name="T97" fmla="*/ 2147483647 h 863"/>
              <a:gd name="T98" fmla="*/ 2147483647 w 2006"/>
              <a:gd name="T99" fmla="*/ 2147483647 h 863"/>
              <a:gd name="T100" fmla="*/ 2147483647 w 2006"/>
              <a:gd name="T101" fmla="*/ 2147483647 h 863"/>
              <a:gd name="T102" fmla="*/ 2147483647 w 2006"/>
              <a:gd name="T103" fmla="*/ 2147483647 h 863"/>
              <a:gd name="T104" fmla="*/ 2147483647 w 2006"/>
              <a:gd name="T105" fmla="*/ 2147483647 h 863"/>
              <a:gd name="T106" fmla="*/ 2147483647 w 2006"/>
              <a:gd name="T107" fmla="*/ 2147483647 h 863"/>
              <a:gd name="T108" fmla="*/ 2147483647 w 2006"/>
              <a:gd name="T109" fmla="*/ 2147483647 h 863"/>
              <a:gd name="T110" fmla="*/ 2147483647 w 2006"/>
              <a:gd name="T111" fmla="*/ 2147483647 h 863"/>
              <a:gd name="T112" fmla="*/ 2147483647 w 2006"/>
              <a:gd name="T113" fmla="*/ 2147483647 h 863"/>
              <a:gd name="T114" fmla="*/ 2147483647 w 2006"/>
              <a:gd name="T115" fmla="*/ 2147483647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5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440228" y="3192090"/>
            <a:ext cx="409575" cy="249238"/>
          </a:xfrm>
          <a:custGeom>
            <a:avLst/>
            <a:gdLst>
              <a:gd name="T0" fmla="*/ 2147483647 w 950"/>
              <a:gd name="T1" fmla="*/ 2147483647 h 468"/>
              <a:gd name="T2" fmla="*/ 2147483647 w 950"/>
              <a:gd name="T3" fmla="*/ 2147483647 h 468"/>
              <a:gd name="T4" fmla="*/ 2147483647 w 950"/>
              <a:gd name="T5" fmla="*/ 2147483647 h 468"/>
              <a:gd name="T6" fmla="*/ 2147483647 w 950"/>
              <a:gd name="T7" fmla="*/ 2147483647 h 468"/>
              <a:gd name="T8" fmla="*/ 2147483647 w 950"/>
              <a:gd name="T9" fmla="*/ 2147483647 h 468"/>
              <a:gd name="T10" fmla="*/ 2147483647 w 950"/>
              <a:gd name="T11" fmla="*/ 2147483647 h 468"/>
              <a:gd name="T12" fmla="*/ 2147483647 w 950"/>
              <a:gd name="T13" fmla="*/ 2147483647 h 468"/>
              <a:gd name="T14" fmla="*/ 2147483647 w 950"/>
              <a:gd name="T15" fmla="*/ 2147483647 h 468"/>
              <a:gd name="T16" fmla="*/ 2147483647 w 950"/>
              <a:gd name="T17" fmla="*/ 2147483647 h 468"/>
              <a:gd name="T18" fmla="*/ 2147483647 w 950"/>
              <a:gd name="T19" fmla="*/ 2147483647 h 468"/>
              <a:gd name="T20" fmla="*/ 0 w 950"/>
              <a:gd name="T21" fmla="*/ 2147483647 h 468"/>
              <a:gd name="T22" fmla="*/ 2147483647 w 950"/>
              <a:gd name="T23" fmla="*/ 2147483647 h 468"/>
              <a:gd name="T24" fmla="*/ 2147483647 w 950"/>
              <a:gd name="T25" fmla="*/ 2147483647 h 468"/>
              <a:gd name="T26" fmla="*/ 2147483647 w 950"/>
              <a:gd name="T27" fmla="*/ 2147483647 h 468"/>
              <a:gd name="T28" fmla="*/ 2147483647 w 950"/>
              <a:gd name="T29" fmla="*/ 2147483647 h 468"/>
              <a:gd name="T30" fmla="*/ 2147483647 w 950"/>
              <a:gd name="T31" fmla="*/ 2147483647 h 468"/>
              <a:gd name="T32" fmla="*/ 2147483647 w 950"/>
              <a:gd name="T33" fmla="*/ 2147483647 h 468"/>
              <a:gd name="T34" fmla="*/ 2147483647 w 950"/>
              <a:gd name="T35" fmla="*/ 2147483647 h 468"/>
              <a:gd name="T36" fmla="*/ 2147483647 w 950"/>
              <a:gd name="T37" fmla="*/ 2147483647 h 468"/>
              <a:gd name="T38" fmla="*/ 2147483647 w 950"/>
              <a:gd name="T39" fmla="*/ 2147483647 h 468"/>
              <a:gd name="T40" fmla="*/ 2147483647 w 950"/>
              <a:gd name="T41" fmla="*/ 2147483647 h 468"/>
              <a:gd name="T42" fmla="*/ 2147483647 w 950"/>
              <a:gd name="T43" fmla="*/ 2147483647 h 468"/>
              <a:gd name="T44" fmla="*/ 2147483647 w 950"/>
              <a:gd name="T45" fmla="*/ 2147483647 h 468"/>
              <a:gd name="T46" fmla="*/ 2147483647 w 950"/>
              <a:gd name="T47" fmla="*/ 2147483647 h 468"/>
              <a:gd name="T48" fmla="*/ 2147483647 w 950"/>
              <a:gd name="T49" fmla="*/ 2147483647 h 468"/>
              <a:gd name="T50" fmla="*/ 2147483647 w 950"/>
              <a:gd name="T51" fmla="*/ 2147483647 h 468"/>
              <a:gd name="T52" fmla="*/ 2147483647 w 950"/>
              <a:gd name="T53" fmla="*/ 2147483647 h 468"/>
              <a:gd name="T54" fmla="*/ 2147483647 w 950"/>
              <a:gd name="T55" fmla="*/ 2147483647 h 468"/>
              <a:gd name="T56" fmla="*/ 2147483647 w 950"/>
              <a:gd name="T57" fmla="*/ 2147483647 h 468"/>
              <a:gd name="T58" fmla="*/ 2147483647 w 950"/>
              <a:gd name="T59" fmla="*/ 2147483647 h 468"/>
              <a:gd name="T60" fmla="*/ 2147483647 w 950"/>
              <a:gd name="T61" fmla="*/ 2147483647 h 468"/>
              <a:gd name="T62" fmla="*/ 2147483647 w 950"/>
              <a:gd name="T63" fmla="*/ 2147483647 h 468"/>
              <a:gd name="T64" fmla="*/ 2147483647 w 950"/>
              <a:gd name="T65" fmla="*/ 2147483647 h 468"/>
              <a:gd name="T66" fmla="*/ 2147483647 w 950"/>
              <a:gd name="T67" fmla="*/ 2147483647 h 468"/>
              <a:gd name="T68" fmla="*/ 2147483647 w 950"/>
              <a:gd name="T69" fmla="*/ 2147483647 h 468"/>
              <a:gd name="T70" fmla="*/ 2147483647 w 950"/>
              <a:gd name="T71" fmla="*/ 2147483647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6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248015" y="4195390"/>
            <a:ext cx="296863" cy="288925"/>
          </a:xfrm>
          <a:custGeom>
            <a:avLst/>
            <a:gdLst>
              <a:gd name="T0" fmla="*/ 2147483647 w 671"/>
              <a:gd name="T1" fmla="*/ 2147483647 h 549"/>
              <a:gd name="T2" fmla="*/ 2147483647 w 671"/>
              <a:gd name="T3" fmla="*/ 2147483647 h 549"/>
              <a:gd name="T4" fmla="*/ 2147483647 w 671"/>
              <a:gd name="T5" fmla="*/ 2147483647 h 549"/>
              <a:gd name="T6" fmla="*/ 2147483647 w 671"/>
              <a:gd name="T7" fmla="*/ 2147483647 h 549"/>
              <a:gd name="T8" fmla="*/ 2147483647 w 671"/>
              <a:gd name="T9" fmla="*/ 2147483647 h 549"/>
              <a:gd name="T10" fmla="*/ 2147483647 w 671"/>
              <a:gd name="T11" fmla="*/ 2147483647 h 549"/>
              <a:gd name="T12" fmla="*/ 2147483647 w 671"/>
              <a:gd name="T13" fmla="*/ 2147483647 h 549"/>
              <a:gd name="T14" fmla="*/ 2147483647 w 671"/>
              <a:gd name="T15" fmla="*/ 2147483647 h 549"/>
              <a:gd name="T16" fmla="*/ 2147483647 w 671"/>
              <a:gd name="T17" fmla="*/ 2147483647 h 549"/>
              <a:gd name="T18" fmla="*/ 2147483647 w 671"/>
              <a:gd name="T19" fmla="*/ 2147483647 h 549"/>
              <a:gd name="T20" fmla="*/ 2147483647 w 671"/>
              <a:gd name="T21" fmla="*/ 2147483647 h 549"/>
              <a:gd name="T22" fmla="*/ 2147483647 w 671"/>
              <a:gd name="T23" fmla="*/ 2147483647 h 549"/>
              <a:gd name="T24" fmla="*/ 2147483647 w 671"/>
              <a:gd name="T25" fmla="*/ 0 h 549"/>
              <a:gd name="T26" fmla="*/ 2147483647 w 671"/>
              <a:gd name="T27" fmla="*/ 2147483647 h 549"/>
              <a:gd name="T28" fmla="*/ 2147483647 w 671"/>
              <a:gd name="T29" fmla="*/ 2147483647 h 549"/>
              <a:gd name="T30" fmla="*/ 2147483647 w 671"/>
              <a:gd name="T31" fmla="*/ 2147483647 h 549"/>
              <a:gd name="T32" fmla="*/ 2147483647 w 671"/>
              <a:gd name="T33" fmla="*/ 2147483647 h 549"/>
              <a:gd name="T34" fmla="*/ 2147483647 w 671"/>
              <a:gd name="T35" fmla="*/ 2147483647 h 549"/>
              <a:gd name="T36" fmla="*/ 2147483647 w 671"/>
              <a:gd name="T37" fmla="*/ 2147483647 h 549"/>
              <a:gd name="T38" fmla="*/ 2147483647 w 671"/>
              <a:gd name="T39" fmla="*/ 2147483647 h 549"/>
              <a:gd name="T40" fmla="*/ 2147483647 w 671"/>
              <a:gd name="T41" fmla="*/ 2147483647 h 549"/>
              <a:gd name="T42" fmla="*/ 2147483647 w 671"/>
              <a:gd name="T43" fmla="*/ 2147483647 h 549"/>
              <a:gd name="T44" fmla="*/ 2147483647 w 671"/>
              <a:gd name="T45" fmla="*/ 2147483647 h 549"/>
              <a:gd name="T46" fmla="*/ 2147483647 w 671"/>
              <a:gd name="T47" fmla="*/ 2147483647 h 549"/>
              <a:gd name="T48" fmla="*/ 2147483647 w 671"/>
              <a:gd name="T49" fmla="*/ 2147483647 h 549"/>
              <a:gd name="T50" fmla="*/ 2147483647 w 671"/>
              <a:gd name="T51" fmla="*/ 2147483647 h 549"/>
              <a:gd name="T52" fmla="*/ 2147483647 w 671"/>
              <a:gd name="T53" fmla="*/ 2147483647 h 549"/>
              <a:gd name="T54" fmla="*/ 2147483647 w 671"/>
              <a:gd name="T55" fmla="*/ 2147483647 h 549"/>
              <a:gd name="T56" fmla="*/ 2147483647 w 671"/>
              <a:gd name="T57" fmla="*/ 2147483647 h 549"/>
              <a:gd name="T58" fmla="*/ 2147483647 w 671"/>
              <a:gd name="T59" fmla="*/ 2147483647 h 549"/>
              <a:gd name="T60" fmla="*/ 2147483647 w 671"/>
              <a:gd name="T61" fmla="*/ 2147483647 h 549"/>
              <a:gd name="T62" fmla="*/ 2147483647 w 671"/>
              <a:gd name="T63" fmla="*/ 2147483647 h 549"/>
              <a:gd name="T64" fmla="*/ 2147483647 w 671"/>
              <a:gd name="T65" fmla="*/ 2147483647 h 549"/>
              <a:gd name="T66" fmla="*/ 2147483647 w 671"/>
              <a:gd name="T67" fmla="*/ 2147483647 h 549"/>
              <a:gd name="T68" fmla="*/ 2147483647 w 671"/>
              <a:gd name="T69" fmla="*/ 2147483647 h 549"/>
              <a:gd name="T70" fmla="*/ 2147483647 w 671"/>
              <a:gd name="T71" fmla="*/ 2147483647 h 549"/>
              <a:gd name="T72" fmla="*/ 2147483647 w 671"/>
              <a:gd name="T73" fmla="*/ 2147483647 h 549"/>
              <a:gd name="T74" fmla="*/ 2147483647 w 671"/>
              <a:gd name="T75" fmla="*/ 2147483647 h 549"/>
              <a:gd name="T76" fmla="*/ 2147483647 w 671"/>
              <a:gd name="T77" fmla="*/ 2147483647 h 549"/>
              <a:gd name="T78" fmla="*/ 2147483647 w 671"/>
              <a:gd name="T79" fmla="*/ 2147483647 h 549"/>
              <a:gd name="T80" fmla="*/ 2147483647 w 671"/>
              <a:gd name="T81" fmla="*/ 2147483647 h 549"/>
              <a:gd name="T82" fmla="*/ 2147483647 w 671"/>
              <a:gd name="T83" fmla="*/ 2147483647 h 549"/>
              <a:gd name="T84" fmla="*/ 2147483647 w 671"/>
              <a:gd name="T85" fmla="*/ 2147483647 h 549"/>
              <a:gd name="T86" fmla="*/ 2147483647 w 671"/>
              <a:gd name="T87" fmla="*/ 2147483647 h 549"/>
              <a:gd name="T88" fmla="*/ 2147483647 w 671"/>
              <a:gd name="T89" fmla="*/ 2147483647 h 549"/>
              <a:gd name="T90" fmla="*/ 2147483647 w 671"/>
              <a:gd name="T91" fmla="*/ 2147483647 h 549"/>
              <a:gd name="T92" fmla="*/ 2147483647 w 671"/>
              <a:gd name="T93" fmla="*/ 2147483647 h 549"/>
              <a:gd name="T94" fmla="*/ 2147483647 w 671"/>
              <a:gd name="T95" fmla="*/ 2147483647 h 549"/>
              <a:gd name="T96" fmla="*/ 2147483647 w 671"/>
              <a:gd name="T97" fmla="*/ 2147483647 h 549"/>
              <a:gd name="T98" fmla="*/ 2147483647 w 671"/>
              <a:gd name="T99" fmla="*/ 2147483647 h 549"/>
              <a:gd name="T100" fmla="*/ 2147483647 w 671"/>
              <a:gd name="T101" fmla="*/ 2147483647 h 549"/>
              <a:gd name="T102" fmla="*/ 2147483647 w 671"/>
              <a:gd name="T103" fmla="*/ 2147483647 h 549"/>
              <a:gd name="T104" fmla="*/ 2147483647 w 671"/>
              <a:gd name="T105" fmla="*/ 2147483647 h 549"/>
              <a:gd name="T106" fmla="*/ 2147483647 w 671"/>
              <a:gd name="T107" fmla="*/ 2147483647 h 549"/>
              <a:gd name="T108" fmla="*/ 2147483647 w 671"/>
              <a:gd name="T109" fmla="*/ 2147483647 h 549"/>
              <a:gd name="T110" fmla="*/ 2147483647 w 671"/>
              <a:gd name="T111" fmla="*/ 2147483647 h 549"/>
              <a:gd name="T112" fmla="*/ 2147483647 w 671"/>
              <a:gd name="T113" fmla="*/ 2147483647 h 549"/>
              <a:gd name="T114" fmla="*/ 2147483647 w 671"/>
              <a:gd name="T115" fmla="*/ 2147483647 h 549"/>
              <a:gd name="T116" fmla="*/ 2147483647 w 671"/>
              <a:gd name="T117" fmla="*/ 2147483647 h 549"/>
              <a:gd name="T118" fmla="*/ 2147483647 w 671"/>
              <a:gd name="T119" fmla="*/ 2147483647 h 549"/>
              <a:gd name="T120" fmla="*/ 2147483647 w 671"/>
              <a:gd name="T121" fmla="*/ 2147483647 h 549"/>
              <a:gd name="T122" fmla="*/ 0 w 671"/>
              <a:gd name="T123" fmla="*/ 2147483647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7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090978" y="4060453"/>
            <a:ext cx="152400" cy="169862"/>
          </a:xfrm>
          <a:custGeom>
            <a:avLst/>
            <a:gdLst>
              <a:gd name="T0" fmla="*/ 2147483647 w 358"/>
              <a:gd name="T1" fmla="*/ 2147483647 h 327"/>
              <a:gd name="T2" fmla="*/ 2147483647 w 358"/>
              <a:gd name="T3" fmla="*/ 2147483647 h 327"/>
              <a:gd name="T4" fmla="*/ 2147483647 w 358"/>
              <a:gd name="T5" fmla="*/ 2147483647 h 327"/>
              <a:gd name="T6" fmla="*/ 2147483647 w 358"/>
              <a:gd name="T7" fmla="*/ 2147483647 h 327"/>
              <a:gd name="T8" fmla="*/ 2147483647 w 358"/>
              <a:gd name="T9" fmla="*/ 2147483647 h 327"/>
              <a:gd name="T10" fmla="*/ 2147483647 w 358"/>
              <a:gd name="T11" fmla="*/ 2147483647 h 327"/>
              <a:gd name="T12" fmla="*/ 2147483647 w 358"/>
              <a:gd name="T13" fmla="*/ 2147483647 h 327"/>
              <a:gd name="T14" fmla="*/ 2147483647 w 358"/>
              <a:gd name="T15" fmla="*/ 2147483647 h 327"/>
              <a:gd name="T16" fmla="*/ 2147483647 w 358"/>
              <a:gd name="T17" fmla="*/ 2147483647 h 327"/>
              <a:gd name="T18" fmla="*/ 2147483647 w 358"/>
              <a:gd name="T19" fmla="*/ 2147483647 h 327"/>
              <a:gd name="T20" fmla="*/ 2147483647 w 358"/>
              <a:gd name="T21" fmla="*/ 2147483647 h 327"/>
              <a:gd name="T22" fmla="*/ 2147483647 w 358"/>
              <a:gd name="T23" fmla="*/ 2147483647 h 327"/>
              <a:gd name="T24" fmla="*/ 2147483647 w 358"/>
              <a:gd name="T25" fmla="*/ 2147483647 h 327"/>
              <a:gd name="T26" fmla="*/ 2147483647 w 358"/>
              <a:gd name="T27" fmla="*/ 2147483647 h 327"/>
              <a:gd name="T28" fmla="*/ 2147483647 w 358"/>
              <a:gd name="T29" fmla="*/ 2147483647 h 327"/>
              <a:gd name="T30" fmla="*/ 2147483647 w 358"/>
              <a:gd name="T31" fmla="*/ 2147483647 h 327"/>
              <a:gd name="T32" fmla="*/ 2147483647 w 358"/>
              <a:gd name="T33" fmla="*/ 2147483647 h 327"/>
              <a:gd name="T34" fmla="*/ 2147483647 w 358"/>
              <a:gd name="T35" fmla="*/ 2147483647 h 327"/>
              <a:gd name="T36" fmla="*/ 2147483647 w 358"/>
              <a:gd name="T37" fmla="*/ 2147483647 h 327"/>
              <a:gd name="T38" fmla="*/ 2147483647 w 358"/>
              <a:gd name="T39" fmla="*/ 2147483647 h 327"/>
              <a:gd name="T40" fmla="*/ 2147483647 w 358"/>
              <a:gd name="T41" fmla="*/ 2147483647 h 327"/>
              <a:gd name="T42" fmla="*/ 2147483647 w 358"/>
              <a:gd name="T43" fmla="*/ 2147483647 h 327"/>
              <a:gd name="T44" fmla="*/ 2147483647 w 358"/>
              <a:gd name="T45" fmla="*/ 2147483647 h 327"/>
              <a:gd name="T46" fmla="*/ 2147483647 w 358"/>
              <a:gd name="T47" fmla="*/ 2147483647 h 327"/>
              <a:gd name="T48" fmla="*/ 2147483647 w 358"/>
              <a:gd name="T49" fmla="*/ 2147483647 h 327"/>
              <a:gd name="T50" fmla="*/ 2147483647 w 358"/>
              <a:gd name="T51" fmla="*/ 2147483647 h 327"/>
              <a:gd name="T52" fmla="*/ 2147483647 w 358"/>
              <a:gd name="T53" fmla="*/ 0 h 327"/>
              <a:gd name="T54" fmla="*/ 2147483647 w 358"/>
              <a:gd name="T55" fmla="*/ 2147483647 h 327"/>
              <a:gd name="T56" fmla="*/ 2147483647 w 358"/>
              <a:gd name="T57" fmla="*/ 2147483647 h 327"/>
              <a:gd name="T58" fmla="*/ 2147483647 w 358"/>
              <a:gd name="T59" fmla="*/ 2147483647 h 327"/>
              <a:gd name="T60" fmla="*/ 2147483647 w 358"/>
              <a:gd name="T61" fmla="*/ 2147483647 h 327"/>
              <a:gd name="T62" fmla="*/ 2147483647 w 358"/>
              <a:gd name="T63" fmla="*/ 2147483647 h 327"/>
              <a:gd name="T64" fmla="*/ 2147483647 w 358"/>
              <a:gd name="T65" fmla="*/ 2147483647 h 327"/>
              <a:gd name="T66" fmla="*/ 2147483647 w 358"/>
              <a:gd name="T67" fmla="*/ 2147483647 h 327"/>
              <a:gd name="T68" fmla="*/ 2147483647 w 358"/>
              <a:gd name="T69" fmla="*/ 2147483647 h 327"/>
              <a:gd name="T70" fmla="*/ 2147483647 w 358"/>
              <a:gd name="T71" fmla="*/ 2147483647 h 327"/>
              <a:gd name="T72" fmla="*/ 2147483647 w 358"/>
              <a:gd name="T73" fmla="*/ 2147483647 h 327"/>
              <a:gd name="T74" fmla="*/ 2147483647 w 358"/>
              <a:gd name="T75" fmla="*/ 2147483647 h 327"/>
              <a:gd name="T76" fmla="*/ 0 w 358"/>
              <a:gd name="T77" fmla="*/ 2147483647 h 327"/>
              <a:gd name="T78" fmla="*/ 0 w 358"/>
              <a:gd name="T79" fmla="*/ 2147483647 h 327"/>
              <a:gd name="T80" fmla="*/ 2147483647 w 358"/>
              <a:gd name="T81" fmla="*/ 2147483647 h 327"/>
              <a:gd name="T82" fmla="*/ 2147483647 w 358"/>
              <a:gd name="T83" fmla="*/ 2147483647 h 327"/>
              <a:gd name="T84" fmla="*/ 2147483647 w 358"/>
              <a:gd name="T85" fmla="*/ 2147483647 h 327"/>
              <a:gd name="T86" fmla="*/ 2147483647 w 358"/>
              <a:gd name="T87" fmla="*/ 2147483647 h 327"/>
              <a:gd name="T88" fmla="*/ 2147483647 w 358"/>
              <a:gd name="T89" fmla="*/ 2147483647 h 327"/>
              <a:gd name="T90" fmla="*/ 2147483647 w 358"/>
              <a:gd name="T91" fmla="*/ 2147483647 h 327"/>
              <a:gd name="T92" fmla="*/ 2147483647 w 358"/>
              <a:gd name="T93" fmla="*/ 2147483647 h 327"/>
              <a:gd name="T94" fmla="*/ 2147483647 w 358"/>
              <a:gd name="T95" fmla="*/ 2147483647 h 327"/>
              <a:gd name="T96" fmla="*/ 2147483647 w 358"/>
              <a:gd name="T97" fmla="*/ 2147483647 h 327"/>
              <a:gd name="T98" fmla="*/ 2147483647 w 358"/>
              <a:gd name="T99" fmla="*/ 2147483647 h 327"/>
              <a:gd name="T100" fmla="*/ 2147483647 w 358"/>
              <a:gd name="T101" fmla="*/ 2147483647 h 327"/>
              <a:gd name="T102" fmla="*/ 2147483647 w 358"/>
              <a:gd name="T103" fmla="*/ 2147483647 h 327"/>
              <a:gd name="T104" fmla="*/ 2147483647 w 358"/>
              <a:gd name="T105" fmla="*/ 2147483647 h 327"/>
              <a:gd name="T106" fmla="*/ 2147483647 w 358"/>
              <a:gd name="T107" fmla="*/ 2147483647 h 327"/>
              <a:gd name="T108" fmla="*/ 2147483647 w 358"/>
              <a:gd name="T109" fmla="*/ 2147483647 h 327"/>
              <a:gd name="T110" fmla="*/ 2147483647 w 358"/>
              <a:gd name="T111" fmla="*/ 2147483647 h 327"/>
              <a:gd name="T112" fmla="*/ 2147483647 w 358"/>
              <a:gd name="T113" fmla="*/ 2147483647 h 327"/>
              <a:gd name="T114" fmla="*/ 2147483647 w 358"/>
              <a:gd name="T115" fmla="*/ 2147483647 h 327"/>
              <a:gd name="T116" fmla="*/ 2147483647 w 358"/>
              <a:gd name="T117" fmla="*/ 2147483647 h 327"/>
              <a:gd name="T118" fmla="*/ 2147483647 w 358"/>
              <a:gd name="T119" fmla="*/ 2147483647 h 327"/>
              <a:gd name="T120" fmla="*/ 2147483647 w 358"/>
              <a:gd name="T121" fmla="*/ 2147483647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8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552815" y="3065090"/>
            <a:ext cx="125413" cy="57150"/>
          </a:xfrm>
          <a:custGeom>
            <a:avLst/>
            <a:gdLst>
              <a:gd name="T0" fmla="*/ 2147483647 w 292"/>
              <a:gd name="T1" fmla="*/ 0 h 99"/>
              <a:gd name="T2" fmla="*/ 2147483647 w 292"/>
              <a:gd name="T3" fmla="*/ 0 h 99"/>
              <a:gd name="T4" fmla="*/ 2147483647 w 292"/>
              <a:gd name="T5" fmla="*/ 2147483647 h 99"/>
              <a:gd name="T6" fmla="*/ 2147483647 w 292"/>
              <a:gd name="T7" fmla="*/ 2147483647 h 99"/>
              <a:gd name="T8" fmla="*/ 2147483647 w 292"/>
              <a:gd name="T9" fmla="*/ 2147483647 h 99"/>
              <a:gd name="T10" fmla="*/ 2147483647 w 292"/>
              <a:gd name="T11" fmla="*/ 2147483647 h 99"/>
              <a:gd name="T12" fmla="*/ 2147483647 w 292"/>
              <a:gd name="T13" fmla="*/ 2147483647 h 99"/>
              <a:gd name="T14" fmla="*/ 2147483647 w 292"/>
              <a:gd name="T15" fmla="*/ 2147483647 h 99"/>
              <a:gd name="T16" fmla="*/ 2147483647 w 292"/>
              <a:gd name="T17" fmla="*/ 2147483647 h 99"/>
              <a:gd name="T18" fmla="*/ 2147483647 w 292"/>
              <a:gd name="T19" fmla="*/ 2147483647 h 99"/>
              <a:gd name="T20" fmla="*/ 2147483647 w 292"/>
              <a:gd name="T21" fmla="*/ 2147483647 h 99"/>
              <a:gd name="T22" fmla="*/ 2147483647 w 292"/>
              <a:gd name="T23" fmla="*/ 2147483647 h 99"/>
              <a:gd name="T24" fmla="*/ 2147483647 w 292"/>
              <a:gd name="T25" fmla="*/ 2147483647 h 99"/>
              <a:gd name="T26" fmla="*/ 2147483647 w 292"/>
              <a:gd name="T27" fmla="*/ 2147483647 h 99"/>
              <a:gd name="T28" fmla="*/ 2147483647 w 292"/>
              <a:gd name="T29" fmla="*/ 2147483647 h 99"/>
              <a:gd name="T30" fmla="*/ 2147483647 w 292"/>
              <a:gd name="T31" fmla="*/ 2147483647 h 99"/>
              <a:gd name="T32" fmla="*/ 2147483647 w 292"/>
              <a:gd name="T33" fmla="*/ 2147483647 h 99"/>
              <a:gd name="T34" fmla="*/ 2147483647 w 292"/>
              <a:gd name="T35" fmla="*/ 2147483647 h 99"/>
              <a:gd name="T36" fmla="*/ 0 w 292"/>
              <a:gd name="T37" fmla="*/ 2147483647 h 99"/>
              <a:gd name="T38" fmla="*/ 2147483647 w 292"/>
              <a:gd name="T39" fmla="*/ 2147483647 h 99"/>
              <a:gd name="T40" fmla="*/ 2147483647 w 292"/>
              <a:gd name="T41" fmla="*/ 2147483647 h 99"/>
              <a:gd name="T42" fmla="*/ 2147483647 w 292"/>
              <a:gd name="T43" fmla="*/ 2147483647 h 99"/>
              <a:gd name="T44" fmla="*/ 2147483647 w 292"/>
              <a:gd name="T45" fmla="*/ 2147483647 h 99"/>
              <a:gd name="T46" fmla="*/ 2147483647 w 292"/>
              <a:gd name="T47" fmla="*/ 2147483647 h 99"/>
              <a:gd name="T48" fmla="*/ 2147483647 w 292"/>
              <a:gd name="T49" fmla="*/ 2147483647 h 99"/>
              <a:gd name="T50" fmla="*/ 2147483647 w 292"/>
              <a:gd name="T51" fmla="*/ 2147483647 h 99"/>
              <a:gd name="T52" fmla="*/ 2147483647 w 292"/>
              <a:gd name="T53" fmla="*/ 2147483647 h 99"/>
              <a:gd name="T54" fmla="*/ 2147483647 w 292"/>
              <a:gd name="T55" fmla="*/ 2147483647 h 99"/>
              <a:gd name="T56" fmla="*/ 2147483647 w 292"/>
              <a:gd name="T57" fmla="*/ 2147483647 h 99"/>
              <a:gd name="T58" fmla="*/ 2147483647 w 292"/>
              <a:gd name="T59" fmla="*/ 2147483647 h 99"/>
              <a:gd name="T60" fmla="*/ 2147483647 w 292"/>
              <a:gd name="T61" fmla="*/ 2147483647 h 99"/>
              <a:gd name="T62" fmla="*/ 2147483647 w 292"/>
              <a:gd name="T63" fmla="*/ 214748364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079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416415" y="3785815"/>
            <a:ext cx="19050" cy="57150"/>
          </a:xfrm>
          <a:custGeom>
            <a:avLst/>
            <a:gdLst>
              <a:gd name="T0" fmla="*/ 2147483647 w 43"/>
              <a:gd name="T1" fmla="*/ 2147483647 h 93"/>
              <a:gd name="T2" fmla="*/ 2147483647 w 43"/>
              <a:gd name="T3" fmla="*/ 2147483647 h 93"/>
              <a:gd name="T4" fmla="*/ 2147483647 w 43"/>
              <a:gd name="T5" fmla="*/ 2147483647 h 93"/>
              <a:gd name="T6" fmla="*/ 2147483647 w 43"/>
              <a:gd name="T7" fmla="*/ 2147483647 h 93"/>
              <a:gd name="T8" fmla="*/ 2147483647 w 43"/>
              <a:gd name="T9" fmla="*/ 2147483647 h 93"/>
              <a:gd name="T10" fmla="*/ 2147483647 w 43"/>
              <a:gd name="T11" fmla="*/ 2147483647 h 93"/>
              <a:gd name="T12" fmla="*/ 2147483647 w 43"/>
              <a:gd name="T13" fmla="*/ 2147483647 h 93"/>
              <a:gd name="T14" fmla="*/ 2147483647 w 43"/>
              <a:gd name="T15" fmla="*/ 2147483647 h 93"/>
              <a:gd name="T16" fmla="*/ 2147483647 w 43"/>
              <a:gd name="T17" fmla="*/ 2147483647 h 93"/>
              <a:gd name="T18" fmla="*/ 2147483647 w 43"/>
              <a:gd name="T19" fmla="*/ 2147483647 h 93"/>
              <a:gd name="T20" fmla="*/ 2147483647 w 43"/>
              <a:gd name="T21" fmla="*/ 2147483647 h 93"/>
              <a:gd name="T22" fmla="*/ 2147483647 w 43"/>
              <a:gd name="T23" fmla="*/ 2147483647 h 93"/>
              <a:gd name="T24" fmla="*/ 2147483647 w 43"/>
              <a:gd name="T25" fmla="*/ 2147483647 h 93"/>
              <a:gd name="T26" fmla="*/ 2147483647 w 43"/>
              <a:gd name="T27" fmla="*/ 2147483647 h 93"/>
              <a:gd name="T28" fmla="*/ 0 w 43"/>
              <a:gd name="T29" fmla="*/ 2147483647 h 93"/>
              <a:gd name="T30" fmla="*/ 2147483647 w 43"/>
              <a:gd name="T31" fmla="*/ 2147483647 h 93"/>
              <a:gd name="T32" fmla="*/ 2147483647 w 43"/>
              <a:gd name="T33" fmla="*/ 2147483647 h 93"/>
              <a:gd name="T34" fmla="*/ 2147483647 w 43"/>
              <a:gd name="T35" fmla="*/ 2147483647 h 93"/>
              <a:gd name="T36" fmla="*/ 2147483647 w 43"/>
              <a:gd name="T37" fmla="*/ 2147483647 h 93"/>
              <a:gd name="T38" fmla="*/ 2147483647 w 43"/>
              <a:gd name="T39" fmla="*/ 2147483647 h 93"/>
              <a:gd name="T40" fmla="*/ 2147483647 w 43"/>
              <a:gd name="T41" fmla="*/ 2147483647 h 93"/>
              <a:gd name="T42" fmla="*/ 2147483647 w 43"/>
              <a:gd name="T43" fmla="*/ 2147483647 h 93"/>
              <a:gd name="T44" fmla="*/ 2147483647 w 43"/>
              <a:gd name="T45" fmla="*/ 2147483647 h 93"/>
              <a:gd name="T46" fmla="*/ 2147483647 w 43"/>
              <a:gd name="T47" fmla="*/ 2147483647 h 93"/>
              <a:gd name="T48" fmla="*/ 2147483647 w 43"/>
              <a:gd name="T49" fmla="*/ 2147483647 h 93"/>
              <a:gd name="T50" fmla="*/ 2147483647 w 43"/>
              <a:gd name="T51" fmla="*/ 2147483647 h 93"/>
              <a:gd name="T52" fmla="*/ 2147483647 w 43"/>
              <a:gd name="T53" fmla="*/ 2147483647 h 93"/>
              <a:gd name="T54" fmla="*/ 2147483647 w 43"/>
              <a:gd name="T55" fmla="*/ 0 h 93"/>
              <a:gd name="T56" fmla="*/ 2147483647 w 43"/>
              <a:gd name="T57" fmla="*/ 0 h 93"/>
              <a:gd name="T58" fmla="*/ 2147483647 w 43"/>
              <a:gd name="T59" fmla="*/ 2147483647 h 93"/>
              <a:gd name="T60" fmla="*/ 2147483647 w 43"/>
              <a:gd name="T61" fmla="*/ 2147483647 h 93"/>
              <a:gd name="T62" fmla="*/ 2147483647 w 43"/>
              <a:gd name="T63" fmla="*/ 2147483647 h 93"/>
              <a:gd name="T64" fmla="*/ 2147483647 w 43"/>
              <a:gd name="T65" fmla="*/ 2147483647 h 93"/>
              <a:gd name="T66" fmla="*/ 2147483647 w 43"/>
              <a:gd name="T67" fmla="*/ 2147483647 h 93"/>
              <a:gd name="T68" fmla="*/ 2147483647 w 43"/>
              <a:gd name="T69" fmla="*/ 2147483647 h 93"/>
              <a:gd name="T70" fmla="*/ 2147483647 w 43"/>
              <a:gd name="T71" fmla="*/ 2147483647 h 93"/>
              <a:gd name="T72" fmla="*/ 2147483647 w 43"/>
              <a:gd name="T73" fmla="*/ 2147483647 h 93"/>
              <a:gd name="T74" fmla="*/ 2147483647 w 43"/>
              <a:gd name="T75" fmla="*/ 2147483647 h 93"/>
              <a:gd name="T76" fmla="*/ 2147483647 w 43"/>
              <a:gd name="T77" fmla="*/ 2147483647 h 93"/>
              <a:gd name="T78" fmla="*/ 2147483647 w 43"/>
              <a:gd name="T79" fmla="*/ 2147483647 h 93"/>
              <a:gd name="T80" fmla="*/ 2147483647 w 43"/>
              <a:gd name="T81" fmla="*/ 2147483647 h 93"/>
              <a:gd name="T82" fmla="*/ 2147483647 w 43"/>
              <a:gd name="T83" fmla="*/ 2147483647 h 93"/>
              <a:gd name="T84" fmla="*/ 2147483647 w 43"/>
              <a:gd name="T85" fmla="*/ 2147483647 h 93"/>
              <a:gd name="T86" fmla="*/ 2147483647 w 43"/>
              <a:gd name="T87" fmla="*/ 2147483647 h 93"/>
              <a:gd name="T88" fmla="*/ 2147483647 w 43"/>
              <a:gd name="T89" fmla="*/ 2147483647 h 93"/>
              <a:gd name="T90" fmla="*/ 2147483647 w 43"/>
              <a:gd name="T91" fmla="*/ 2147483647 h 93"/>
              <a:gd name="T92" fmla="*/ 2147483647 w 43"/>
              <a:gd name="T93" fmla="*/ 2147483647 h 93"/>
              <a:gd name="T94" fmla="*/ 2147483647 w 43"/>
              <a:gd name="T95" fmla="*/ 2147483647 h 93"/>
              <a:gd name="T96" fmla="*/ 2147483647 w 43"/>
              <a:gd name="T97" fmla="*/ 214748364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0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535478" y="3790578"/>
            <a:ext cx="14287" cy="57150"/>
          </a:xfrm>
          <a:custGeom>
            <a:avLst/>
            <a:gdLst>
              <a:gd name="T0" fmla="*/ 2147483647 w 40"/>
              <a:gd name="T1" fmla="*/ 2147483647 h 56"/>
              <a:gd name="T2" fmla="*/ 2147483647 w 40"/>
              <a:gd name="T3" fmla="*/ 2147483647 h 56"/>
              <a:gd name="T4" fmla="*/ 2147483647 w 40"/>
              <a:gd name="T5" fmla="*/ 2147483647 h 56"/>
              <a:gd name="T6" fmla="*/ 2147483647 w 40"/>
              <a:gd name="T7" fmla="*/ 2147483647 h 56"/>
              <a:gd name="T8" fmla="*/ 2147483647 w 40"/>
              <a:gd name="T9" fmla="*/ 2147483647 h 56"/>
              <a:gd name="T10" fmla="*/ 2147483647 w 40"/>
              <a:gd name="T11" fmla="*/ 2147483647 h 56"/>
              <a:gd name="T12" fmla="*/ 0 w 40"/>
              <a:gd name="T13" fmla="*/ 2147483647 h 56"/>
              <a:gd name="T14" fmla="*/ 2147483647 w 40"/>
              <a:gd name="T15" fmla="*/ 2147483647 h 56"/>
              <a:gd name="T16" fmla="*/ 2147483647 w 40"/>
              <a:gd name="T17" fmla="*/ 0 h 56"/>
              <a:gd name="T18" fmla="*/ 2147483647 w 40"/>
              <a:gd name="T19" fmla="*/ 2147483647 h 56"/>
              <a:gd name="T20" fmla="*/ 2147483647 w 40"/>
              <a:gd name="T21" fmla="*/ 2147483647 h 56"/>
              <a:gd name="T22" fmla="*/ 2147483647 w 40"/>
              <a:gd name="T23" fmla="*/ 2147483647 h 56"/>
              <a:gd name="T24" fmla="*/ 2147483647 w 40"/>
              <a:gd name="T25" fmla="*/ 2147483647 h 56"/>
              <a:gd name="T26" fmla="*/ 2147483647 w 40"/>
              <a:gd name="T27" fmla="*/ 2147483647 h 56"/>
              <a:gd name="T28" fmla="*/ 2147483647 w 40"/>
              <a:gd name="T29" fmla="*/ 2147483647 h 56"/>
              <a:gd name="T30" fmla="*/ 2147483647 w 40"/>
              <a:gd name="T31" fmla="*/ 2147483647 h 56"/>
              <a:gd name="T32" fmla="*/ 2147483647 w 40"/>
              <a:gd name="T33" fmla="*/ 2147483647 h 56"/>
              <a:gd name="T34" fmla="*/ 2147483647 w 40"/>
              <a:gd name="T35" fmla="*/ 2147483647 h 56"/>
              <a:gd name="T36" fmla="*/ 2147483647 w 40"/>
              <a:gd name="T37" fmla="*/ 2147483647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1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022965" y="4450978"/>
            <a:ext cx="44450" cy="57150"/>
          </a:xfrm>
          <a:custGeom>
            <a:avLst/>
            <a:gdLst>
              <a:gd name="T0" fmla="*/ 0 w 106"/>
              <a:gd name="T1" fmla="*/ 2147483647 h 71"/>
              <a:gd name="T2" fmla="*/ 2147483647 w 106"/>
              <a:gd name="T3" fmla="*/ 2147483647 h 71"/>
              <a:gd name="T4" fmla="*/ 2147483647 w 106"/>
              <a:gd name="T5" fmla="*/ 2147483647 h 71"/>
              <a:gd name="T6" fmla="*/ 2147483647 w 106"/>
              <a:gd name="T7" fmla="*/ 2147483647 h 71"/>
              <a:gd name="T8" fmla="*/ 2147483647 w 106"/>
              <a:gd name="T9" fmla="*/ 2147483647 h 71"/>
              <a:gd name="T10" fmla="*/ 2147483647 w 106"/>
              <a:gd name="T11" fmla="*/ 2147483647 h 71"/>
              <a:gd name="T12" fmla="*/ 2147483647 w 106"/>
              <a:gd name="T13" fmla="*/ 2147483647 h 71"/>
              <a:gd name="T14" fmla="*/ 2147483647 w 106"/>
              <a:gd name="T15" fmla="*/ 2147483647 h 71"/>
              <a:gd name="T16" fmla="*/ 2147483647 w 106"/>
              <a:gd name="T17" fmla="*/ 0 h 71"/>
              <a:gd name="T18" fmla="*/ 2147483647 w 106"/>
              <a:gd name="T19" fmla="*/ 2147483647 h 71"/>
              <a:gd name="T20" fmla="*/ 2147483647 w 106"/>
              <a:gd name="T21" fmla="*/ 2147483647 h 71"/>
              <a:gd name="T22" fmla="*/ 2147483647 w 106"/>
              <a:gd name="T23" fmla="*/ 2147483647 h 71"/>
              <a:gd name="T24" fmla="*/ 2147483647 w 106"/>
              <a:gd name="T25" fmla="*/ 2147483647 h 71"/>
              <a:gd name="T26" fmla="*/ 2147483647 w 106"/>
              <a:gd name="T27" fmla="*/ 2147483647 h 71"/>
              <a:gd name="T28" fmla="*/ 2147483647 w 106"/>
              <a:gd name="T29" fmla="*/ 2147483647 h 71"/>
              <a:gd name="T30" fmla="*/ 2147483647 w 106"/>
              <a:gd name="T31" fmla="*/ 2147483647 h 71"/>
              <a:gd name="T32" fmla="*/ 2147483647 w 106"/>
              <a:gd name="T33" fmla="*/ 2147483647 h 71"/>
              <a:gd name="T34" fmla="*/ 2147483647 w 106"/>
              <a:gd name="T35" fmla="*/ 2147483647 h 71"/>
              <a:gd name="T36" fmla="*/ 2147483647 w 106"/>
              <a:gd name="T37" fmla="*/ 2147483647 h 71"/>
              <a:gd name="T38" fmla="*/ 2147483647 w 106"/>
              <a:gd name="T39" fmla="*/ 2147483647 h 71"/>
              <a:gd name="T40" fmla="*/ 2147483647 w 106"/>
              <a:gd name="T41" fmla="*/ 2147483647 h 71"/>
              <a:gd name="T42" fmla="*/ 2147483647 w 106"/>
              <a:gd name="T43" fmla="*/ 2147483647 h 71"/>
              <a:gd name="T44" fmla="*/ 2147483647 w 106"/>
              <a:gd name="T45" fmla="*/ 2147483647 h 71"/>
              <a:gd name="T46" fmla="*/ 2147483647 w 106"/>
              <a:gd name="T47" fmla="*/ 2147483647 h 71"/>
              <a:gd name="T48" fmla="*/ 2147483647 w 106"/>
              <a:gd name="T49" fmla="*/ 2147483647 h 71"/>
              <a:gd name="T50" fmla="*/ 2147483647 w 106"/>
              <a:gd name="T51" fmla="*/ 2147483647 h 71"/>
              <a:gd name="T52" fmla="*/ 2147483647 w 106"/>
              <a:gd name="T53" fmla="*/ 2147483647 h 71"/>
              <a:gd name="T54" fmla="*/ 2147483647 w 106"/>
              <a:gd name="T55" fmla="*/ 2147483647 h 71"/>
              <a:gd name="T56" fmla="*/ 2147483647 w 106"/>
              <a:gd name="T57" fmla="*/ 2147483647 h 71"/>
              <a:gd name="T58" fmla="*/ 2147483647 w 106"/>
              <a:gd name="T59" fmla="*/ 2147483647 h 71"/>
              <a:gd name="T60" fmla="*/ 2147483647 w 106"/>
              <a:gd name="T61" fmla="*/ 2147483647 h 71"/>
              <a:gd name="T62" fmla="*/ 2147483647 w 106"/>
              <a:gd name="T63" fmla="*/ 2147483647 h 71"/>
              <a:gd name="T64" fmla="*/ 2147483647 w 106"/>
              <a:gd name="T65" fmla="*/ 2147483647 h 71"/>
              <a:gd name="T66" fmla="*/ 2147483647 w 106"/>
              <a:gd name="T67" fmla="*/ 2147483647 h 71"/>
              <a:gd name="T68" fmla="*/ 2147483647 w 106"/>
              <a:gd name="T69" fmla="*/ 2147483647 h 71"/>
              <a:gd name="T70" fmla="*/ 2147483647 w 106"/>
              <a:gd name="T71" fmla="*/ 2147483647 h 71"/>
              <a:gd name="T72" fmla="*/ 2147483647 w 106"/>
              <a:gd name="T73" fmla="*/ 2147483647 h 71"/>
              <a:gd name="T74" fmla="*/ 2147483647 w 106"/>
              <a:gd name="T75" fmla="*/ 2147483647 h 71"/>
              <a:gd name="T76" fmla="*/ 2147483647 w 106"/>
              <a:gd name="T77" fmla="*/ 2147483647 h 71"/>
              <a:gd name="T78" fmla="*/ 2147483647 w 106"/>
              <a:gd name="T79" fmla="*/ 2147483647 h 71"/>
              <a:gd name="T80" fmla="*/ 2147483647 w 106"/>
              <a:gd name="T81" fmla="*/ 2147483647 h 71"/>
              <a:gd name="T82" fmla="*/ 2147483647 w 106"/>
              <a:gd name="T83" fmla="*/ 2147483647 h 71"/>
              <a:gd name="T84" fmla="*/ 2147483647 w 106"/>
              <a:gd name="T85" fmla="*/ 2147483647 h 71"/>
              <a:gd name="T86" fmla="*/ 2147483647 w 106"/>
              <a:gd name="T87" fmla="*/ 2147483647 h 71"/>
              <a:gd name="T88" fmla="*/ 2147483647 w 106"/>
              <a:gd name="T89" fmla="*/ 2147483647 h 71"/>
              <a:gd name="T90" fmla="*/ 0 w 106"/>
              <a:gd name="T91" fmla="*/ 2147483647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082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874828" y="6259140"/>
            <a:ext cx="65087" cy="55563"/>
            <a:chOff x="1654" y="3671"/>
            <a:chExt cx="49" cy="17"/>
          </a:xfrm>
          <a:solidFill>
            <a:schemeClr val="bg1">
              <a:lumMod val="75000"/>
            </a:schemeClr>
          </a:solidFill>
        </p:grpSpPr>
        <p:sp>
          <p:nvSpPr>
            <p:cNvPr id="2580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0 w 59"/>
                <a:gd name="T1" fmla="*/ 1 h 43"/>
                <a:gd name="T2" fmla="*/ 1 w 59"/>
                <a:gd name="T3" fmla="*/ 0 h 43"/>
                <a:gd name="T4" fmla="*/ 1 w 59"/>
                <a:gd name="T5" fmla="*/ 0 h 43"/>
                <a:gd name="T6" fmla="*/ 1 w 59"/>
                <a:gd name="T7" fmla="*/ 0 h 43"/>
                <a:gd name="T8" fmla="*/ 1 w 59"/>
                <a:gd name="T9" fmla="*/ 0 h 43"/>
                <a:gd name="T10" fmla="*/ 1 w 59"/>
                <a:gd name="T11" fmla="*/ 0 h 43"/>
                <a:gd name="T12" fmla="*/ 1 w 59"/>
                <a:gd name="T13" fmla="*/ 0 h 43"/>
                <a:gd name="T14" fmla="*/ 0 w 59"/>
                <a:gd name="T15" fmla="*/ 0 h 43"/>
                <a:gd name="T16" fmla="*/ 0 w 59"/>
                <a:gd name="T17" fmla="*/ 0 h 43"/>
                <a:gd name="T18" fmla="*/ 0 w 59"/>
                <a:gd name="T19" fmla="*/ 0 h 43"/>
                <a:gd name="T20" fmla="*/ 0 w 59"/>
                <a:gd name="T21" fmla="*/ 0 h 43"/>
                <a:gd name="T22" fmla="*/ 0 w 59"/>
                <a:gd name="T23" fmla="*/ 0 h 43"/>
                <a:gd name="T24" fmla="*/ 0 w 59"/>
                <a:gd name="T25" fmla="*/ 0 h 43"/>
                <a:gd name="T26" fmla="*/ 0 w 59"/>
                <a:gd name="T27" fmla="*/ 0 h 43"/>
                <a:gd name="T28" fmla="*/ 0 w 59"/>
                <a:gd name="T29" fmla="*/ 0 h 43"/>
                <a:gd name="T30" fmla="*/ 0 w 59"/>
                <a:gd name="T31" fmla="*/ 0 h 43"/>
                <a:gd name="T32" fmla="*/ 0 w 59"/>
                <a:gd name="T33" fmla="*/ 0 h 43"/>
                <a:gd name="T34" fmla="*/ 0 w 59"/>
                <a:gd name="T35" fmla="*/ 0 h 43"/>
                <a:gd name="T36" fmla="*/ 0 w 59"/>
                <a:gd name="T37" fmla="*/ 0 h 43"/>
                <a:gd name="T38" fmla="*/ 0 w 59"/>
                <a:gd name="T39" fmla="*/ 1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1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0 w 67"/>
                <a:gd name="T3" fmla="*/ 0 h 51"/>
                <a:gd name="T4" fmla="*/ 0 w 67"/>
                <a:gd name="T5" fmla="*/ 0 h 51"/>
                <a:gd name="T6" fmla="*/ 1 w 67"/>
                <a:gd name="T7" fmla="*/ 0 h 51"/>
                <a:gd name="T8" fmla="*/ 1 w 67"/>
                <a:gd name="T9" fmla="*/ 0 h 51"/>
                <a:gd name="T10" fmla="*/ 1 w 67"/>
                <a:gd name="T11" fmla="*/ 0 h 51"/>
                <a:gd name="T12" fmla="*/ 1 w 67"/>
                <a:gd name="T13" fmla="*/ 0 h 51"/>
                <a:gd name="T14" fmla="*/ 1 w 67"/>
                <a:gd name="T15" fmla="*/ 0 h 51"/>
                <a:gd name="T16" fmla="*/ 1 w 67"/>
                <a:gd name="T17" fmla="*/ 0 h 51"/>
                <a:gd name="T18" fmla="*/ 1 w 67"/>
                <a:gd name="T19" fmla="*/ 0 h 51"/>
                <a:gd name="T20" fmla="*/ 0 w 67"/>
                <a:gd name="T21" fmla="*/ 0 h 51"/>
                <a:gd name="T22" fmla="*/ 0 w 67"/>
                <a:gd name="T23" fmla="*/ 0 h 51"/>
                <a:gd name="T24" fmla="*/ 0 w 67"/>
                <a:gd name="T25" fmla="*/ 0 h 51"/>
                <a:gd name="T26" fmla="*/ 0 w 67"/>
                <a:gd name="T27" fmla="*/ 0 h 51"/>
                <a:gd name="T28" fmla="*/ 0 w 67"/>
                <a:gd name="T29" fmla="*/ 0 h 51"/>
                <a:gd name="T30" fmla="*/ 0 w 67"/>
                <a:gd name="T31" fmla="*/ 0 h 51"/>
                <a:gd name="T32" fmla="*/ 0 w 67"/>
                <a:gd name="T33" fmla="*/ 0 h 51"/>
                <a:gd name="T34" fmla="*/ 0 w 67"/>
                <a:gd name="T35" fmla="*/ 1 h 51"/>
                <a:gd name="T36" fmla="*/ 0 w 67"/>
                <a:gd name="T37" fmla="*/ 1 h 51"/>
                <a:gd name="T38" fmla="*/ 0 w 67"/>
                <a:gd name="T39" fmla="*/ 1 h 51"/>
                <a:gd name="T40" fmla="*/ 0 w 67"/>
                <a:gd name="T41" fmla="*/ 1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083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522403" y="4054103"/>
            <a:ext cx="31750" cy="58737"/>
          </a:xfrm>
          <a:custGeom>
            <a:avLst/>
            <a:gdLst>
              <a:gd name="T0" fmla="*/ 0 w 80"/>
              <a:gd name="T1" fmla="*/ 2147483647 h 34"/>
              <a:gd name="T2" fmla="*/ 2147483647 w 80"/>
              <a:gd name="T3" fmla="*/ 2147483647 h 34"/>
              <a:gd name="T4" fmla="*/ 2147483647 w 80"/>
              <a:gd name="T5" fmla="*/ 2147483647 h 34"/>
              <a:gd name="T6" fmla="*/ 2147483647 w 80"/>
              <a:gd name="T7" fmla="*/ 2147483647 h 34"/>
              <a:gd name="T8" fmla="*/ 2147483647 w 80"/>
              <a:gd name="T9" fmla="*/ 2147483647 h 34"/>
              <a:gd name="T10" fmla="*/ 2147483647 w 80"/>
              <a:gd name="T11" fmla="*/ 2147483647 h 34"/>
              <a:gd name="T12" fmla="*/ 2147483647 w 80"/>
              <a:gd name="T13" fmla="*/ 2147483647 h 34"/>
              <a:gd name="T14" fmla="*/ 2147483647 w 80"/>
              <a:gd name="T15" fmla="*/ 2147483647 h 34"/>
              <a:gd name="T16" fmla="*/ 2147483647 w 80"/>
              <a:gd name="T17" fmla="*/ 2147483647 h 34"/>
              <a:gd name="T18" fmla="*/ 2147483647 w 80"/>
              <a:gd name="T19" fmla="*/ 2147483647 h 34"/>
              <a:gd name="T20" fmla="*/ 2147483647 w 80"/>
              <a:gd name="T21" fmla="*/ 2147483647 h 34"/>
              <a:gd name="T22" fmla="*/ 2147483647 w 80"/>
              <a:gd name="T23" fmla="*/ 2147483647 h 34"/>
              <a:gd name="T24" fmla="*/ 2147483647 w 80"/>
              <a:gd name="T25" fmla="*/ 2147483647 h 34"/>
              <a:gd name="T26" fmla="*/ 2147483647 w 80"/>
              <a:gd name="T27" fmla="*/ 2147483647 h 34"/>
              <a:gd name="T28" fmla="*/ 2147483647 w 80"/>
              <a:gd name="T29" fmla="*/ 2147483647 h 34"/>
              <a:gd name="T30" fmla="*/ 2147483647 w 80"/>
              <a:gd name="T31" fmla="*/ 2147483647 h 34"/>
              <a:gd name="T32" fmla="*/ 2147483647 w 80"/>
              <a:gd name="T33" fmla="*/ 2147483647 h 34"/>
              <a:gd name="T34" fmla="*/ 2147483647 w 80"/>
              <a:gd name="T35" fmla="*/ 2147483647 h 34"/>
              <a:gd name="T36" fmla="*/ 2147483647 w 80"/>
              <a:gd name="T37" fmla="*/ 2147483647 h 34"/>
              <a:gd name="T38" fmla="*/ 2147483647 w 80"/>
              <a:gd name="T39" fmla="*/ 0 h 34"/>
              <a:gd name="T40" fmla="*/ 2147483647 w 80"/>
              <a:gd name="T41" fmla="*/ 0 h 34"/>
              <a:gd name="T42" fmla="*/ 2147483647 w 80"/>
              <a:gd name="T43" fmla="*/ 2147483647 h 34"/>
              <a:gd name="T44" fmla="*/ 2147483647 w 80"/>
              <a:gd name="T45" fmla="*/ 2147483647 h 34"/>
              <a:gd name="T46" fmla="*/ 2147483647 w 80"/>
              <a:gd name="T47" fmla="*/ 2147483647 h 34"/>
              <a:gd name="T48" fmla="*/ 2147483647 w 80"/>
              <a:gd name="T49" fmla="*/ 2147483647 h 34"/>
              <a:gd name="T50" fmla="*/ 2147483647 w 80"/>
              <a:gd name="T51" fmla="*/ 2147483647 h 34"/>
              <a:gd name="T52" fmla="*/ 2147483647 w 80"/>
              <a:gd name="T53" fmla="*/ 2147483647 h 34"/>
              <a:gd name="T54" fmla="*/ 2147483647 w 80"/>
              <a:gd name="T55" fmla="*/ 2147483647 h 34"/>
              <a:gd name="T56" fmla="*/ 2147483647 w 80"/>
              <a:gd name="T57" fmla="*/ 2147483647 h 34"/>
              <a:gd name="T58" fmla="*/ 2147483647 w 80"/>
              <a:gd name="T59" fmla="*/ 2147483647 h 34"/>
              <a:gd name="T60" fmla="*/ 0 w 80"/>
              <a:gd name="T61" fmla="*/ 2147483647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4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577965" y="4060453"/>
            <a:ext cx="1588" cy="58737"/>
          </a:xfrm>
          <a:custGeom>
            <a:avLst/>
            <a:gdLst>
              <a:gd name="T0" fmla="*/ 0 w 7"/>
              <a:gd name="T1" fmla="*/ 0 h 13"/>
              <a:gd name="T2" fmla="*/ 2147483647 w 7"/>
              <a:gd name="T3" fmla="*/ 2147483647 h 13"/>
              <a:gd name="T4" fmla="*/ 2147483647 w 7"/>
              <a:gd name="T5" fmla="*/ 2147483647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5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590665" y="4062040"/>
            <a:ext cx="6350" cy="58738"/>
          </a:xfrm>
          <a:custGeom>
            <a:avLst/>
            <a:gdLst>
              <a:gd name="T0" fmla="*/ 0 w 20"/>
              <a:gd name="T1" fmla="*/ 0 h 6"/>
              <a:gd name="T2" fmla="*/ 2147483647 w 20"/>
              <a:gd name="T3" fmla="*/ 2147483647 h 6"/>
              <a:gd name="T4" fmla="*/ 2147483647 w 20"/>
              <a:gd name="T5" fmla="*/ 2147483647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6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604953" y="4052515"/>
            <a:ext cx="7937" cy="57150"/>
          </a:xfrm>
          <a:custGeom>
            <a:avLst/>
            <a:gdLst>
              <a:gd name="T0" fmla="*/ 0 w 14"/>
              <a:gd name="T1" fmla="*/ 2147483647 h 12"/>
              <a:gd name="T2" fmla="*/ 2147483647 w 14"/>
              <a:gd name="T3" fmla="*/ 0 h 12"/>
              <a:gd name="T4" fmla="*/ 0 w 14"/>
              <a:gd name="T5" fmla="*/ 2147483647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7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584315" y="404457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2147483647 h 7"/>
              <a:gd name="T4" fmla="*/ 2147483647 w 27"/>
              <a:gd name="T5" fmla="*/ 2147483647 h 7"/>
              <a:gd name="T6" fmla="*/ 2147483647 w 27"/>
              <a:gd name="T7" fmla="*/ 2147483647 h 7"/>
              <a:gd name="T8" fmla="*/ 2147483647 w 27"/>
              <a:gd name="T9" fmla="*/ 2147483647 h 7"/>
              <a:gd name="T10" fmla="*/ 2147483647 w 27"/>
              <a:gd name="T11" fmla="*/ 2147483647 h 7"/>
              <a:gd name="T12" fmla="*/ 2147483647 w 27"/>
              <a:gd name="T13" fmla="*/ 2147483647 h 7"/>
              <a:gd name="T14" fmla="*/ 2147483647 w 27"/>
              <a:gd name="T15" fmla="*/ 2147483647 h 7"/>
              <a:gd name="T16" fmla="*/ 2147483647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8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633528" y="4073153"/>
            <a:ext cx="14287" cy="60325"/>
          </a:xfrm>
          <a:custGeom>
            <a:avLst/>
            <a:gdLst>
              <a:gd name="T0" fmla="*/ 0 w 27"/>
              <a:gd name="T1" fmla="*/ 0 h 6"/>
              <a:gd name="T2" fmla="*/ 2147483647 w 27"/>
              <a:gd name="T3" fmla="*/ 2147483647 h 6"/>
              <a:gd name="T4" fmla="*/ 2147483647 w 27"/>
              <a:gd name="T5" fmla="*/ 2147483647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9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641465" y="406997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90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641465" y="409537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91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641465" y="4090615"/>
            <a:ext cx="11113" cy="58738"/>
          </a:xfrm>
          <a:custGeom>
            <a:avLst/>
            <a:gdLst>
              <a:gd name="T0" fmla="*/ 0 w 20"/>
              <a:gd name="T1" fmla="*/ 2147483647 h 24"/>
              <a:gd name="T2" fmla="*/ 2147483647 w 20"/>
              <a:gd name="T3" fmla="*/ 2147483647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2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647815" y="4119190"/>
            <a:ext cx="17463" cy="55563"/>
          </a:xfrm>
          <a:custGeom>
            <a:avLst/>
            <a:gdLst>
              <a:gd name="T0" fmla="*/ 2147483647 w 33"/>
              <a:gd name="T1" fmla="*/ 2147483647 h 25"/>
              <a:gd name="T2" fmla="*/ 0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0 h 25"/>
              <a:gd name="T14" fmla="*/ 2147483647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3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654165" y="4166815"/>
            <a:ext cx="15875" cy="57150"/>
          </a:xfrm>
          <a:custGeom>
            <a:avLst/>
            <a:gdLst>
              <a:gd name="T0" fmla="*/ 0 w 40"/>
              <a:gd name="T1" fmla="*/ 0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0 h 18"/>
              <a:gd name="T16" fmla="*/ 2147483647 w 40"/>
              <a:gd name="T17" fmla="*/ 0 h 18"/>
              <a:gd name="T18" fmla="*/ 2147483647 w 40"/>
              <a:gd name="T19" fmla="*/ 0 h 18"/>
              <a:gd name="T20" fmla="*/ 214748364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4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663690" y="4192215"/>
            <a:ext cx="3175" cy="57150"/>
          </a:xfrm>
          <a:custGeom>
            <a:avLst/>
            <a:gdLst>
              <a:gd name="T0" fmla="*/ 2147483647 w 11"/>
              <a:gd name="T1" fmla="*/ 2147483647 h 32"/>
              <a:gd name="T2" fmla="*/ 2147483647 w 11"/>
              <a:gd name="T3" fmla="*/ 2147483647 h 32"/>
              <a:gd name="T4" fmla="*/ 2147483647 w 11"/>
              <a:gd name="T5" fmla="*/ 2147483647 h 32"/>
              <a:gd name="T6" fmla="*/ 2147483647 w 11"/>
              <a:gd name="T7" fmla="*/ 2147483647 h 32"/>
              <a:gd name="T8" fmla="*/ 2147483647 w 11"/>
              <a:gd name="T9" fmla="*/ 2147483647 h 32"/>
              <a:gd name="T10" fmla="*/ 2147483647 w 11"/>
              <a:gd name="T11" fmla="*/ 2147483647 h 32"/>
              <a:gd name="T12" fmla="*/ 2147483647 w 11"/>
              <a:gd name="T13" fmla="*/ 0 h 32"/>
              <a:gd name="T14" fmla="*/ 2147483647 w 11"/>
              <a:gd name="T15" fmla="*/ 2147483647 h 32"/>
              <a:gd name="T16" fmla="*/ 2147483647 w 11"/>
              <a:gd name="T17" fmla="*/ 2147483647 h 32"/>
              <a:gd name="T18" fmla="*/ 2147483647 w 11"/>
              <a:gd name="T19" fmla="*/ 2147483647 h 32"/>
              <a:gd name="T20" fmla="*/ 0 w 11"/>
              <a:gd name="T21" fmla="*/ 2147483647 h 32"/>
              <a:gd name="T22" fmla="*/ 0 w 11"/>
              <a:gd name="T23" fmla="*/ 2147483647 h 32"/>
              <a:gd name="T24" fmla="*/ 2147483647 w 11"/>
              <a:gd name="T25" fmla="*/ 2147483647 h 32"/>
              <a:gd name="T26" fmla="*/ 2147483647 w 11"/>
              <a:gd name="T27" fmla="*/ 2147483647 h 32"/>
              <a:gd name="T28" fmla="*/ 2147483647 w 11"/>
              <a:gd name="T29" fmla="*/ 2147483647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5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685915" y="422237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147483647 h 24"/>
              <a:gd name="T4" fmla="*/ 2147483647 w 14"/>
              <a:gd name="T5" fmla="*/ 2147483647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6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647815" y="4235078"/>
            <a:ext cx="15875" cy="58737"/>
          </a:xfrm>
          <a:custGeom>
            <a:avLst/>
            <a:gdLst>
              <a:gd name="T0" fmla="*/ 0 w 27"/>
              <a:gd name="T1" fmla="*/ 2147483647 h 18"/>
              <a:gd name="T2" fmla="*/ 2147483647 w 27"/>
              <a:gd name="T3" fmla="*/ 2147483647 h 18"/>
              <a:gd name="T4" fmla="*/ 2147483647 w 27"/>
              <a:gd name="T5" fmla="*/ 2147483647 h 18"/>
              <a:gd name="T6" fmla="*/ 2147483647 w 27"/>
              <a:gd name="T7" fmla="*/ 2147483647 h 18"/>
              <a:gd name="T8" fmla="*/ 2147483647 w 27"/>
              <a:gd name="T9" fmla="*/ 0 h 18"/>
              <a:gd name="T10" fmla="*/ 2147483647 w 27"/>
              <a:gd name="T11" fmla="*/ 0 h 18"/>
              <a:gd name="T12" fmla="*/ 2147483647 w 27"/>
              <a:gd name="T13" fmla="*/ 2147483647 h 18"/>
              <a:gd name="T14" fmla="*/ 2147483647 w 27"/>
              <a:gd name="T15" fmla="*/ 2147483647 h 18"/>
              <a:gd name="T16" fmla="*/ 2147483647 w 27"/>
              <a:gd name="T17" fmla="*/ 2147483647 h 18"/>
              <a:gd name="T18" fmla="*/ 2147483647 w 27"/>
              <a:gd name="T19" fmla="*/ 2147483647 h 18"/>
              <a:gd name="T20" fmla="*/ 0 w 27"/>
              <a:gd name="T21" fmla="*/ 2147483647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7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633528" y="4300165"/>
            <a:ext cx="23812" cy="57150"/>
          </a:xfrm>
          <a:custGeom>
            <a:avLst/>
            <a:gdLst>
              <a:gd name="T0" fmla="*/ 0 w 47"/>
              <a:gd name="T1" fmla="*/ 2147483647 h 49"/>
              <a:gd name="T2" fmla="*/ 2147483647 w 47"/>
              <a:gd name="T3" fmla="*/ 2147483647 h 49"/>
              <a:gd name="T4" fmla="*/ 2147483647 w 47"/>
              <a:gd name="T5" fmla="*/ 2147483647 h 49"/>
              <a:gd name="T6" fmla="*/ 2147483647 w 47"/>
              <a:gd name="T7" fmla="*/ 2147483647 h 49"/>
              <a:gd name="T8" fmla="*/ 2147483647 w 47"/>
              <a:gd name="T9" fmla="*/ 2147483647 h 49"/>
              <a:gd name="T10" fmla="*/ 2147483647 w 47"/>
              <a:gd name="T11" fmla="*/ 2147483647 h 49"/>
              <a:gd name="T12" fmla="*/ 2147483647 w 47"/>
              <a:gd name="T13" fmla="*/ 2147483647 h 49"/>
              <a:gd name="T14" fmla="*/ 2147483647 w 47"/>
              <a:gd name="T15" fmla="*/ 2147483647 h 49"/>
              <a:gd name="T16" fmla="*/ 2147483647 w 47"/>
              <a:gd name="T17" fmla="*/ 2147483647 h 49"/>
              <a:gd name="T18" fmla="*/ 2147483647 w 47"/>
              <a:gd name="T19" fmla="*/ 2147483647 h 49"/>
              <a:gd name="T20" fmla="*/ 2147483647 w 47"/>
              <a:gd name="T21" fmla="*/ 2147483647 h 49"/>
              <a:gd name="T22" fmla="*/ 2147483647 w 47"/>
              <a:gd name="T23" fmla="*/ 2147483647 h 49"/>
              <a:gd name="T24" fmla="*/ 2147483647 w 47"/>
              <a:gd name="T25" fmla="*/ 2147483647 h 49"/>
              <a:gd name="T26" fmla="*/ 2147483647 w 47"/>
              <a:gd name="T27" fmla="*/ 2147483647 h 49"/>
              <a:gd name="T28" fmla="*/ 2147483647 w 47"/>
              <a:gd name="T29" fmla="*/ 2147483647 h 49"/>
              <a:gd name="T30" fmla="*/ 2147483647 w 47"/>
              <a:gd name="T31" fmla="*/ 2147483647 h 49"/>
              <a:gd name="T32" fmla="*/ 2147483647 w 47"/>
              <a:gd name="T33" fmla="*/ 0 h 49"/>
              <a:gd name="T34" fmla="*/ 2147483647 w 47"/>
              <a:gd name="T35" fmla="*/ 0 h 49"/>
              <a:gd name="T36" fmla="*/ 2147483647 w 47"/>
              <a:gd name="T37" fmla="*/ 2147483647 h 49"/>
              <a:gd name="T38" fmla="*/ 2147483647 w 47"/>
              <a:gd name="T39" fmla="*/ 2147483647 h 49"/>
              <a:gd name="T40" fmla="*/ 2147483647 w 47"/>
              <a:gd name="T41" fmla="*/ 2147483647 h 49"/>
              <a:gd name="T42" fmla="*/ 2147483647 w 47"/>
              <a:gd name="T43" fmla="*/ 2147483647 h 49"/>
              <a:gd name="T44" fmla="*/ 2147483647 w 47"/>
              <a:gd name="T45" fmla="*/ 2147483647 h 49"/>
              <a:gd name="T46" fmla="*/ 0 w 47"/>
              <a:gd name="T47" fmla="*/ 2147483647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8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652578" y="427635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147483647 h 9"/>
              <a:gd name="T4" fmla="*/ 2147483647 w 26"/>
              <a:gd name="T5" fmla="*/ 2147483647 h 9"/>
              <a:gd name="T6" fmla="*/ 2147483647 w 26"/>
              <a:gd name="T7" fmla="*/ 2147483647 h 9"/>
              <a:gd name="T8" fmla="*/ 2147483647 w 26"/>
              <a:gd name="T9" fmla="*/ 2147483647 h 9"/>
              <a:gd name="T10" fmla="*/ 2147483647 w 26"/>
              <a:gd name="T11" fmla="*/ 2147483647 h 9"/>
              <a:gd name="T12" fmla="*/ 2147483647 w 26"/>
              <a:gd name="T13" fmla="*/ 2147483647 h 9"/>
              <a:gd name="T14" fmla="*/ 2147483647 w 26"/>
              <a:gd name="T15" fmla="*/ 2147483647 h 9"/>
              <a:gd name="T16" fmla="*/ 2147483647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9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135053" y="394774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2147483647 h 18"/>
              <a:gd name="T4" fmla="*/ 2147483647 w 39"/>
              <a:gd name="T5" fmla="*/ 2147483647 h 18"/>
              <a:gd name="T6" fmla="*/ 2147483647 w 39"/>
              <a:gd name="T7" fmla="*/ 2147483647 h 18"/>
              <a:gd name="T8" fmla="*/ 2147483647 w 39"/>
              <a:gd name="T9" fmla="*/ 2147483647 h 18"/>
              <a:gd name="T10" fmla="*/ 2147483647 w 39"/>
              <a:gd name="T11" fmla="*/ 2147483647 h 18"/>
              <a:gd name="T12" fmla="*/ 2147483647 w 39"/>
              <a:gd name="T13" fmla="*/ 2147483647 h 18"/>
              <a:gd name="T14" fmla="*/ 2147483647 w 39"/>
              <a:gd name="T15" fmla="*/ 2147483647 h 18"/>
              <a:gd name="T16" fmla="*/ 2147483647 w 39"/>
              <a:gd name="T17" fmla="*/ 2147483647 h 18"/>
              <a:gd name="T18" fmla="*/ 2147483647 w 39"/>
              <a:gd name="T19" fmla="*/ 2147483647 h 18"/>
              <a:gd name="T20" fmla="*/ 2147483647 w 39"/>
              <a:gd name="T21" fmla="*/ 2147483647 h 18"/>
              <a:gd name="T22" fmla="*/ 2147483647 w 39"/>
              <a:gd name="T23" fmla="*/ 2147483647 h 18"/>
              <a:gd name="T24" fmla="*/ 2147483647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00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260465" y="3781053"/>
            <a:ext cx="131763" cy="195262"/>
            <a:chOff x="1199" y="2121"/>
            <a:chExt cx="97" cy="123"/>
          </a:xfrm>
          <a:solidFill>
            <a:schemeClr val="bg1">
              <a:lumMod val="75000"/>
            </a:schemeClr>
          </a:solidFill>
        </p:grpSpPr>
        <p:sp>
          <p:nvSpPr>
            <p:cNvPr id="2570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0 h 25"/>
                <a:gd name="T2" fmla="*/ 0 w 52"/>
                <a:gd name="T3" fmla="*/ 0 h 25"/>
                <a:gd name="T4" fmla="*/ 0 w 52"/>
                <a:gd name="T5" fmla="*/ 0 h 25"/>
                <a:gd name="T6" fmla="*/ 0 w 52"/>
                <a:gd name="T7" fmla="*/ 0 h 25"/>
                <a:gd name="T8" fmla="*/ 0 w 52"/>
                <a:gd name="T9" fmla="*/ 0 h 25"/>
                <a:gd name="T10" fmla="*/ 0 w 52"/>
                <a:gd name="T11" fmla="*/ 0 h 25"/>
                <a:gd name="T12" fmla="*/ 0 w 52"/>
                <a:gd name="T13" fmla="*/ 0 h 25"/>
                <a:gd name="T14" fmla="*/ 1 w 52"/>
                <a:gd name="T15" fmla="*/ 0 h 25"/>
                <a:gd name="T16" fmla="*/ 1 w 52"/>
                <a:gd name="T17" fmla="*/ 0 h 25"/>
                <a:gd name="T18" fmla="*/ 0 w 52"/>
                <a:gd name="T19" fmla="*/ 0 h 25"/>
                <a:gd name="T20" fmla="*/ 0 w 52"/>
                <a:gd name="T21" fmla="*/ 0 h 25"/>
                <a:gd name="T22" fmla="*/ 0 w 52"/>
                <a:gd name="T23" fmla="*/ 0 h 25"/>
                <a:gd name="T24" fmla="*/ 0 w 52"/>
                <a:gd name="T25" fmla="*/ 0 h 25"/>
                <a:gd name="T26" fmla="*/ 0 w 52"/>
                <a:gd name="T27" fmla="*/ 0 h 25"/>
                <a:gd name="T28" fmla="*/ 0 w 52"/>
                <a:gd name="T29" fmla="*/ 0 h 25"/>
                <a:gd name="T30" fmla="*/ 0 w 52"/>
                <a:gd name="T31" fmla="*/ 0 h 25"/>
                <a:gd name="T32" fmla="*/ 0 w 52"/>
                <a:gd name="T33" fmla="*/ 0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1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0 h 13"/>
                <a:gd name="T4" fmla="*/ 0 w 33"/>
                <a:gd name="T5" fmla="*/ 0 h 13"/>
                <a:gd name="T6" fmla="*/ 0 w 33"/>
                <a:gd name="T7" fmla="*/ 0 h 13"/>
                <a:gd name="T8" fmla="*/ 0 w 33"/>
                <a:gd name="T9" fmla="*/ 0 h 13"/>
                <a:gd name="T10" fmla="*/ 0 w 33"/>
                <a:gd name="T11" fmla="*/ 0 h 13"/>
                <a:gd name="T12" fmla="*/ 0 w 33"/>
                <a:gd name="T13" fmla="*/ 0 h 13"/>
                <a:gd name="T14" fmla="*/ 0 w 33"/>
                <a:gd name="T15" fmla="*/ 0 h 13"/>
                <a:gd name="T16" fmla="*/ 0 w 33"/>
                <a:gd name="T17" fmla="*/ 0 h 13"/>
                <a:gd name="T18" fmla="*/ 0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2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0 w 67"/>
                <a:gd name="T1" fmla="*/ 0 h 86"/>
                <a:gd name="T2" fmla="*/ 0 w 67"/>
                <a:gd name="T3" fmla="*/ 0 h 86"/>
                <a:gd name="T4" fmla="*/ 0 w 67"/>
                <a:gd name="T5" fmla="*/ 0 h 86"/>
                <a:gd name="T6" fmla="*/ 0 w 67"/>
                <a:gd name="T7" fmla="*/ 0 h 86"/>
                <a:gd name="T8" fmla="*/ 0 w 67"/>
                <a:gd name="T9" fmla="*/ 0 h 86"/>
                <a:gd name="T10" fmla="*/ 0 w 67"/>
                <a:gd name="T11" fmla="*/ 0 h 86"/>
                <a:gd name="T12" fmla="*/ 0 w 67"/>
                <a:gd name="T13" fmla="*/ 0 h 86"/>
                <a:gd name="T14" fmla="*/ 0 w 67"/>
                <a:gd name="T15" fmla="*/ 0 h 86"/>
                <a:gd name="T16" fmla="*/ 0 w 67"/>
                <a:gd name="T17" fmla="*/ 0 h 86"/>
                <a:gd name="T18" fmla="*/ 0 w 67"/>
                <a:gd name="T19" fmla="*/ 0 h 86"/>
                <a:gd name="T20" fmla="*/ 1 w 67"/>
                <a:gd name="T21" fmla="*/ 0 h 86"/>
                <a:gd name="T22" fmla="*/ 1 w 67"/>
                <a:gd name="T23" fmla="*/ 1 h 86"/>
                <a:gd name="T24" fmla="*/ 1 w 67"/>
                <a:gd name="T25" fmla="*/ 1 h 86"/>
                <a:gd name="T26" fmla="*/ 1 w 67"/>
                <a:gd name="T27" fmla="*/ 1 h 86"/>
                <a:gd name="T28" fmla="*/ 1 w 67"/>
                <a:gd name="T29" fmla="*/ 1 h 86"/>
                <a:gd name="T30" fmla="*/ 1 w 67"/>
                <a:gd name="T31" fmla="*/ 1 h 86"/>
                <a:gd name="T32" fmla="*/ 0 w 67"/>
                <a:gd name="T33" fmla="*/ 1 h 86"/>
                <a:gd name="T34" fmla="*/ 0 w 67"/>
                <a:gd name="T35" fmla="*/ 1 h 86"/>
                <a:gd name="T36" fmla="*/ 0 w 67"/>
                <a:gd name="T37" fmla="*/ 1 h 86"/>
                <a:gd name="T38" fmla="*/ 0 w 67"/>
                <a:gd name="T39" fmla="*/ 1 h 86"/>
                <a:gd name="T40" fmla="*/ 0 w 67"/>
                <a:gd name="T41" fmla="*/ 0 h 86"/>
                <a:gd name="T42" fmla="*/ 0 w 67"/>
                <a:gd name="T43" fmla="*/ 0 h 86"/>
                <a:gd name="T44" fmla="*/ 0 w 67"/>
                <a:gd name="T45" fmla="*/ 0 h 86"/>
                <a:gd name="T46" fmla="*/ 0 w 67"/>
                <a:gd name="T47" fmla="*/ 0 h 86"/>
                <a:gd name="T48" fmla="*/ 0 w 67"/>
                <a:gd name="T49" fmla="*/ 0 h 86"/>
                <a:gd name="T50" fmla="*/ 0 w 67"/>
                <a:gd name="T51" fmla="*/ 0 h 86"/>
                <a:gd name="T52" fmla="*/ 0 w 67"/>
                <a:gd name="T53" fmla="*/ 0 h 86"/>
                <a:gd name="T54" fmla="*/ 0 w 67"/>
                <a:gd name="T55" fmla="*/ 0 h 86"/>
                <a:gd name="T56" fmla="*/ 0 w 67"/>
                <a:gd name="T57" fmla="*/ 0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3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0 w 49"/>
                <a:gd name="T1" fmla="*/ 0 h 86"/>
                <a:gd name="T2" fmla="*/ 0 w 49"/>
                <a:gd name="T3" fmla="*/ 0 h 86"/>
                <a:gd name="T4" fmla="*/ 0 w 49"/>
                <a:gd name="T5" fmla="*/ 0 h 86"/>
                <a:gd name="T6" fmla="*/ 0 w 49"/>
                <a:gd name="T7" fmla="*/ 0 h 86"/>
                <a:gd name="T8" fmla="*/ 0 w 49"/>
                <a:gd name="T9" fmla="*/ 0 h 86"/>
                <a:gd name="T10" fmla="*/ 0 w 49"/>
                <a:gd name="T11" fmla="*/ 0 h 86"/>
                <a:gd name="T12" fmla="*/ 0 w 49"/>
                <a:gd name="T13" fmla="*/ 0 h 86"/>
                <a:gd name="T14" fmla="*/ 0 w 49"/>
                <a:gd name="T15" fmla="*/ 0 h 86"/>
                <a:gd name="T16" fmla="*/ 0 w 49"/>
                <a:gd name="T17" fmla="*/ 1 h 86"/>
                <a:gd name="T18" fmla="*/ 0 w 49"/>
                <a:gd name="T19" fmla="*/ 1 h 86"/>
                <a:gd name="T20" fmla="*/ 0 w 49"/>
                <a:gd name="T21" fmla="*/ 1 h 86"/>
                <a:gd name="T22" fmla="*/ 0 w 49"/>
                <a:gd name="T23" fmla="*/ 1 h 86"/>
                <a:gd name="T24" fmla="*/ 0 w 49"/>
                <a:gd name="T25" fmla="*/ 1 h 86"/>
                <a:gd name="T26" fmla="*/ 0 w 49"/>
                <a:gd name="T27" fmla="*/ 1 h 86"/>
                <a:gd name="T28" fmla="*/ 0 w 49"/>
                <a:gd name="T29" fmla="*/ 1 h 86"/>
                <a:gd name="T30" fmla="*/ 0 w 49"/>
                <a:gd name="T31" fmla="*/ 1 h 86"/>
                <a:gd name="T32" fmla="*/ 0 w 49"/>
                <a:gd name="T33" fmla="*/ 1 h 86"/>
                <a:gd name="T34" fmla="*/ 1 w 49"/>
                <a:gd name="T35" fmla="*/ 1 h 86"/>
                <a:gd name="T36" fmla="*/ 1 w 49"/>
                <a:gd name="T37" fmla="*/ 1 h 86"/>
                <a:gd name="T38" fmla="*/ 1 w 49"/>
                <a:gd name="T39" fmla="*/ 0 h 86"/>
                <a:gd name="T40" fmla="*/ 1 w 49"/>
                <a:gd name="T41" fmla="*/ 0 h 86"/>
                <a:gd name="T42" fmla="*/ 1 w 49"/>
                <a:gd name="T43" fmla="*/ 0 h 86"/>
                <a:gd name="T44" fmla="*/ 1 w 49"/>
                <a:gd name="T45" fmla="*/ 0 h 86"/>
                <a:gd name="T46" fmla="*/ 1 w 49"/>
                <a:gd name="T47" fmla="*/ 0 h 86"/>
                <a:gd name="T48" fmla="*/ 0 w 49"/>
                <a:gd name="T49" fmla="*/ 0 h 86"/>
                <a:gd name="T50" fmla="*/ 0 w 49"/>
                <a:gd name="T51" fmla="*/ 0 h 86"/>
                <a:gd name="T52" fmla="*/ 0 w 49"/>
                <a:gd name="T53" fmla="*/ 0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4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0 h 12"/>
                <a:gd name="T12" fmla="*/ 0 w 6"/>
                <a:gd name="T13" fmla="*/ 0 h 12"/>
                <a:gd name="T14" fmla="*/ 0 w 6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5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0 w 39"/>
                <a:gd name="T3" fmla="*/ 0 h 48"/>
                <a:gd name="T4" fmla="*/ 0 w 39"/>
                <a:gd name="T5" fmla="*/ 0 h 48"/>
                <a:gd name="T6" fmla="*/ 0 w 39"/>
                <a:gd name="T7" fmla="*/ 0 h 48"/>
                <a:gd name="T8" fmla="*/ 0 w 39"/>
                <a:gd name="T9" fmla="*/ 0 h 48"/>
                <a:gd name="T10" fmla="*/ 0 w 39"/>
                <a:gd name="T11" fmla="*/ 0 h 48"/>
                <a:gd name="T12" fmla="*/ 0 w 39"/>
                <a:gd name="T13" fmla="*/ 1 h 48"/>
                <a:gd name="T14" fmla="*/ 0 w 39"/>
                <a:gd name="T15" fmla="*/ 0 h 48"/>
                <a:gd name="T16" fmla="*/ 0 w 39"/>
                <a:gd name="T17" fmla="*/ 0 h 48"/>
                <a:gd name="T18" fmla="*/ 0 w 39"/>
                <a:gd name="T19" fmla="*/ 0 h 48"/>
                <a:gd name="T20" fmla="*/ 0 w 39"/>
                <a:gd name="T21" fmla="*/ 0 h 48"/>
                <a:gd name="T22" fmla="*/ 0 w 39"/>
                <a:gd name="T23" fmla="*/ 0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6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0 w 16"/>
                <a:gd name="T1" fmla="*/ 0 h 43"/>
                <a:gd name="T2" fmla="*/ 0 w 16"/>
                <a:gd name="T3" fmla="*/ 0 h 43"/>
                <a:gd name="T4" fmla="*/ 0 w 16"/>
                <a:gd name="T5" fmla="*/ 0 h 43"/>
                <a:gd name="T6" fmla="*/ 0 w 16"/>
                <a:gd name="T7" fmla="*/ 0 h 43"/>
                <a:gd name="T8" fmla="*/ 0 w 16"/>
                <a:gd name="T9" fmla="*/ 0 h 43"/>
                <a:gd name="T10" fmla="*/ 0 w 16"/>
                <a:gd name="T11" fmla="*/ 0 h 43"/>
                <a:gd name="T12" fmla="*/ 0 w 16"/>
                <a:gd name="T13" fmla="*/ 0 h 43"/>
                <a:gd name="T14" fmla="*/ 0 w 16"/>
                <a:gd name="T15" fmla="*/ 0 h 43"/>
                <a:gd name="T16" fmla="*/ 0 w 16"/>
                <a:gd name="T17" fmla="*/ 1 h 43"/>
                <a:gd name="T18" fmla="*/ 0 w 16"/>
                <a:gd name="T19" fmla="*/ 0 h 43"/>
                <a:gd name="T20" fmla="*/ 0 w 16"/>
                <a:gd name="T21" fmla="*/ 0 h 43"/>
                <a:gd name="T22" fmla="*/ 0 w 16"/>
                <a:gd name="T23" fmla="*/ 0 h 43"/>
                <a:gd name="T24" fmla="*/ 0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7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0 w 24"/>
                <a:gd name="T1" fmla="*/ 0 h 37"/>
                <a:gd name="T2" fmla="*/ 0 w 24"/>
                <a:gd name="T3" fmla="*/ 0 h 37"/>
                <a:gd name="T4" fmla="*/ 0 w 24"/>
                <a:gd name="T5" fmla="*/ 0 h 37"/>
                <a:gd name="T6" fmla="*/ 0 w 24"/>
                <a:gd name="T7" fmla="*/ 0 h 37"/>
                <a:gd name="T8" fmla="*/ 0 w 24"/>
                <a:gd name="T9" fmla="*/ 0 h 37"/>
                <a:gd name="T10" fmla="*/ 0 w 24"/>
                <a:gd name="T11" fmla="*/ 0 h 37"/>
                <a:gd name="T12" fmla="*/ 0 w 24"/>
                <a:gd name="T13" fmla="*/ 0 h 37"/>
                <a:gd name="T14" fmla="*/ 0 w 24"/>
                <a:gd name="T15" fmla="*/ 0 h 37"/>
                <a:gd name="T16" fmla="*/ 0 w 24"/>
                <a:gd name="T17" fmla="*/ 0 h 37"/>
                <a:gd name="T18" fmla="*/ 0 w 24"/>
                <a:gd name="T19" fmla="*/ 0 h 37"/>
                <a:gd name="T20" fmla="*/ 0 w 24"/>
                <a:gd name="T21" fmla="*/ 0 h 37"/>
                <a:gd name="T22" fmla="*/ 0 w 24"/>
                <a:gd name="T23" fmla="*/ 0 h 37"/>
                <a:gd name="T24" fmla="*/ 0 w 24"/>
                <a:gd name="T25" fmla="*/ 0 h 37"/>
                <a:gd name="T26" fmla="*/ 0 w 24"/>
                <a:gd name="T27" fmla="*/ 0 h 37"/>
                <a:gd name="T28" fmla="*/ 0 w 24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8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0 w 34"/>
                <a:gd name="T1" fmla="*/ 0 h 55"/>
                <a:gd name="T2" fmla="*/ 0 w 34"/>
                <a:gd name="T3" fmla="*/ 0 h 55"/>
                <a:gd name="T4" fmla="*/ 0 w 34"/>
                <a:gd name="T5" fmla="*/ 0 h 55"/>
                <a:gd name="T6" fmla="*/ 0 w 34"/>
                <a:gd name="T7" fmla="*/ 0 h 55"/>
                <a:gd name="T8" fmla="*/ 0 w 34"/>
                <a:gd name="T9" fmla="*/ 0 h 55"/>
                <a:gd name="T10" fmla="*/ 0 w 34"/>
                <a:gd name="T11" fmla="*/ 0 h 55"/>
                <a:gd name="T12" fmla="*/ 0 w 34"/>
                <a:gd name="T13" fmla="*/ 1 h 55"/>
                <a:gd name="T14" fmla="*/ 0 w 34"/>
                <a:gd name="T15" fmla="*/ 1 h 55"/>
                <a:gd name="T16" fmla="*/ 0 w 34"/>
                <a:gd name="T17" fmla="*/ 1 h 55"/>
                <a:gd name="T18" fmla="*/ 0 w 34"/>
                <a:gd name="T19" fmla="*/ 1 h 55"/>
                <a:gd name="T20" fmla="*/ 0 w 34"/>
                <a:gd name="T21" fmla="*/ 1 h 55"/>
                <a:gd name="T22" fmla="*/ 0 w 34"/>
                <a:gd name="T23" fmla="*/ 0 h 55"/>
                <a:gd name="T24" fmla="*/ 0 w 34"/>
                <a:gd name="T25" fmla="*/ 0 h 55"/>
                <a:gd name="T26" fmla="*/ 0 w 34"/>
                <a:gd name="T27" fmla="*/ 0 h 55"/>
                <a:gd name="T28" fmla="*/ 0 w 34"/>
                <a:gd name="T29" fmla="*/ 0 h 55"/>
                <a:gd name="T30" fmla="*/ 0 w 34"/>
                <a:gd name="T31" fmla="*/ 0 h 55"/>
                <a:gd name="T32" fmla="*/ 0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9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0 w 33"/>
                <a:gd name="T5" fmla="*/ 0 h 12"/>
                <a:gd name="T6" fmla="*/ 0 w 33"/>
                <a:gd name="T7" fmla="*/ 0 h 12"/>
                <a:gd name="T8" fmla="*/ 0 w 33"/>
                <a:gd name="T9" fmla="*/ 0 h 12"/>
                <a:gd name="T10" fmla="*/ 0 w 33"/>
                <a:gd name="T11" fmla="*/ 0 h 12"/>
                <a:gd name="T12" fmla="*/ 0 w 33"/>
                <a:gd name="T13" fmla="*/ 0 h 12"/>
                <a:gd name="T14" fmla="*/ 0 w 33"/>
                <a:gd name="T15" fmla="*/ 0 h 12"/>
                <a:gd name="T16" fmla="*/ 0 w 33"/>
                <a:gd name="T17" fmla="*/ 0 h 12"/>
                <a:gd name="T18" fmla="*/ 0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01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073890" y="5208215"/>
            <a:ext cx="12700" cy="57150"/>
          </a:xfrm>
          <a:custGeom>
            <a:avLst/>
            <a:gdLst>
              <a:gd name="T0" fmla="*/ 0 w 33"/>
              <a:gd name="T1" fmla="*/ 2147483647 h 62"/>
              <a:gd name="T2" fmla="*/ 0 w 33"/>
              <a:gd name="T3" fmla="*/ 2147483647 h 62"/>
              <a:gd name="T4" fmla="*/ 0 w 33"/>
              <a:gd name="T5" fmla="*/ 2147483647 h 62"/>
              <a:gd name="T6" fmla="*/ 0 w 33"/>
              <a:gd name="T7" fmla="*/ 2147483647 h 62"/>
              <a:gd name="T8" fmla="*/ 0 w 33"/>
              <a:gd name="T9" fmla="*/ 2147483647 h 62"/>
              <a:gd name="T10" fmla="*/ 0 w 33"/>
              <a:gd name="T11" fmla="*/ 2147483647 h 62"/>
              <a:gd name="T12" fmla="*/ 2147483647 w 33"/>
              <a:gd name="T13" fmla="*/ 2147483647 h 62"/>
              <a:gd name="T14" fmla="*/ 2147483647 w 33"/>
              <a:gd name="T15" fmla="*/ 2147483647 h 62"/>
              <a:gd name="T16" fmla="*/ 2147483647 w 33"/>
              <a:gd name="T17" fmla="*/ 2147483647 h 62"/>
              <a:gd name="T18" fmla="*/ 2147483647 w 33"/>
              <a:gd name="T19" fmla="*/ 2147483647 h 62"/>
              <a:gd name="T20" fmla="*/ 2147483647 w 33"/>
              <a:gd name="T21" fmla="*/ 0 h 62"/>
              <a:gd name="T22" fmla="*/ 2147483647 w 33"/>
              <a:gd name="T23" fmla="*/ 2147483647 h 62"/>
              <a:gd name="T24" fmla="*/ 2147483647 w 33"/>
              <a:gd name="T25" fmla="*/ 2147483647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2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083415" y="5298703"/>
            <a:ext cx="9525" cy="58737"/>
          </a:xfrm>
          <a:custGeom>
            <a:avLst/>
            <a:gdLst>
              <a:gd name="T0" fmla="*/ 0 w 26"/>
              <a:gd name="T1" fmla="*/ 2147483647 h 18"/>
              <a:gd name="T2" fmla="*/ 0 w 26"/>
              <a:gd name="T3" fmla="*/ 0 h 18"/>
              <a:gd name="T4" fmla="*/ 2147483647 w 26"/>
              <a:gd name="T5" fmla="*/ 0 h 18"/>
              <a:gd name="T6" fmla="*/ 2147483647 w 26"/>
              <a:gd name="T7" fmla="*/ 2147483647 h 18"/>
              <a:gd name="T8" fmla="*/ 2147483647 w 26"/>
              <a:gd name="T9" fmla="*/ 2147483647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3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197715" y="5208215"/>
            <a:ext cx="77788" cy="130175"/>
          </a:xfrm>
          <a:custGeom>
            <a:avLst/>
            <a:gdLst>
              <a:gd name="T0" fmla="*/ 2147483647 w 180"/>
              <a:gd name="T1" fmla="*/ 2147483647 h 240"/>
              <a:gd name="T2" fmla="*/ 2147483647 w 180"/>
              <a:gd name="T3" fmla="*/ 2147483647 h 240"/>
              <a:gd name="T4" fmla="*/ 2147483647 w 180"/>
              <a:gd name="T5" fmla="*/ 2147483647 h 240"/>
              <a:gd name="T6" fmla="*/ 2147483647 w 180"/>
              <a:gd name="T7" fmla="*/ 2147483647 h 240"/>
              <a:gd name="T8" fmla="*/ 2147483647 w 180"/>
              <a:gd name="T9" fmla="*/ 2147483647 h 240"/>
              <a:gd name="T10" fmla="*/ 2147483647 w 180"/>
              <a:gd name="T11" fmla="*/ 2147483647 h 240"/>
              <a:gd name="T12" fmla="*/ 2147483647 w 180"/>
              <a:gd name="T13" fmla="*/ 2147483647 h 240"/>
              <a:gd name="T14" fmla="*/ 2147483647 w 180"/>
              <a:gd name="T15" fmla="*/ 2147483647 h 240"/>
              <a:gd name="T16" fmla="*/ 2147483647 w 180"/>
              <a:gd name="T17" fmla="*/ 2147483647 h 240"/>
              <a:gd name="T18" fmla="*/ 2147483647 w 180"/>
              <a:gd name="T19" fmla="*/ 2147483647 h 240"/>
              <a:gd name="T20" fmla="*/ 2147483647 w 180"/>
              <a:gd name="T21" fmla="*/ 2147483647 h 240"/>
              <a:gd name="T22" fmla="*/ 2147483647 w 180"/>
              <a:gd name="T23" fmla="*/ 2147483647 h 240"/>
              <a:gd name="T24" fmla="*/ 2147483647 w 180"/>
              <a:gd name="T25" fmla="*/ 2147483647 h 240"/>
              <a:gd name="T26" fmla="*/ 2147483647 w 180"/>
              <a:gd name="T27" fmla="*/ 2147483647 h 240"/>
              <a:gd name="T28" fmla="*/ 2147483647 w 180"/>
              <a:gd name="T29" fmla="*/ 2147483647 h 240"/>
              <a:gd name="T30" fmla="*/ 2147483647 w 180"/>
              <a:gd name="T31" fmla="*/ 2147483647 h 240"/>
              <a:gd name="T32" fmla="*/ 2147483647 w 180"/>
              <a:gd name="T33" fmla="*/ 2147483647 h 240"/>
              <a:gd name="T34" fmla="*/ 2147483647 w 180"/>
              <a:gd name="T35" fmla="*/ 2147483647 h 240"/>
              <a:gd name="T36" fmla="*/ 2147483647 w 180"/>
              <a:gd name="T37" fmla="*/ 2147483647 h 240"/>
              <a:gd name="T38" fmla="*/ 2147483647 w 180"/>
              <a:gd name="T39" fmla="*/ 2147483647 h 240"/>
              <a:gd name="T40" fmla="*/ 2147483647 w 180"/>
              <a:gd name="T41" fmla="*/ 2147483647 h 240"/>
              <a:gd name="T42" fmla="*/ 2147483647 w 180"/>
              <a:gd name="T43" fmla="*/ 2147483647 h 240"/>
              <a:gd name="T44" fmla="*/ 2147483647 w 180"/>
              <a:gd name="T45" fmla="*/ 2147483647 h 240"/>
              <a:gd name="T46" fmla="*/ 2147483647 w 180"/>
              <a:gd name="T47" fmla="*/ 2147483647 h 240"/>
              <a:gd name="T48" fmla="*/ 2147483647 w 180"/>
              <a:gd name="T49" fmla="*/ 2147483647 h 240"/>
              <a:gd name="T50" fmla="*/ 2147483647 w 180"/>
              <a:gd name="T51" fmla="*/ 2147483647 h 240"/>
              <a:gd name="T52" fmla="*/ 2147483647 w 180"/>
              <a:gd name="T53" fmla="*/ 2147483647 h 240"/>
              <a:gd name="T54" fmla="*/ 2147483647 w 180"/>
              <a:gd name="T55" fmla="*/ 2147483647 h 240"/>
              <a:gd name="T56" fmla="*/ 0 w 180"/>
              <a:gd name="T57" fmla="*/ 2147483647 h 240"/>
              <a:gd name="T58" fmla="*/ 0 w 180"/>
              <a:gd name="T59" fmla="*/ 2147483647 h 240"/>
              <a:gd name="T60" fmla="*/ 0 w 180"/>
              <a:gd name="T61" fmla="*/ 2147483647 h 240"/>
              <a:gd name="T62" fmla="*/ 0 w 180"/>
              <a:gd name="T63" fmla="*/ 2147483647 h 240"/>
              <a:gd name="T64" fmla="*/ 0 w 180"/>
              <a:gd name="T65" fmla="*/ 0 h 240"/>
              <a:gd name="T66" fmla="*/ 2147483647 w 180"/>
              <a:gd name="T67" fmla="*/ 2147483647 h 240"/>
              <a:gd name="T68" fmla="*/ 2147483647 w 180"/>
              <a:gd name="T69" fmla="*/ 2147483647 h 240"/>
              <a:gd name="T70" fmla="*/ 2147483647 w 180"/>
              <a:gd name="T71" fmla="*/ 2147483647 h 240"/>
              <a:gd name="T72" fmla="*/ 2147483647 w 180"/>
              <a:gd name="T73" fmla="*/ 2147483647 h 240"/>
              <a:gd name="T74" fmla="*/ 2147483647 w 180"/>
              <a:gd name="T75" fmla="*/ 2147483647 h 240"/>
              <a:gd name="T76" fmla="*/ 2147483647 w 180"/>
              <a:gd name="T77" fmla="*/ 2147483647 h 240"/>
              <a:gd name="T78" fmla="*/ 2147483647 w 180"/>
              <a:gd name="T79" fmla="*/ 2147483647 h 240"/>
              <a:gd name="T80" fmla="*/ 2147483647 w 180"/>
              <a:gd name="T81" fmla="*/ 2147483647 h 240"/>
              <a:gd name="T82" fmla="*/ 2147483647 w 180"/>
              <a:gd name="T83" fmla="*/ 2147483647 h 240"/>
              <a:gd name="T84" fmla="*/ 2147483647 w 180"/>
              <a:gd name="T85" fmla="*/ 2147483647 h 240"/>
              <a:gd name="T86" fmla="*/ 2147483647 w 180"/>
              <a:gd name="T87" fmla="*/ 2147483647 h 240"/>
              <a:gd name="T88" fmla="*/ 2147483647 w 180"/>
              <a:gd name="T89" fmla="*/ 2147483647 h 240"/>
              <a:gd name="T90" fmla="*/ 2147483647 w 180"/>
              <a:gd name="T91" fmla="*/ 2147483647 h 240"/>
              <a:gd name="T92" fmla="*/ 2147483647 w 180"/>
              <a:gd name="T93" fmla="*/ 2147483647 h 240"/>
              <a:gd name="T94" fmla="*/ 2147483647 w 180"/>
              <a:gd name="T95" fmla="*/ 2147483647 h 240"/>
              <a:gd name="T96" fmla="*/ 2147483647 w 180"/>
              <a:gd name="T97" fmla="*/ 2147483647 h 240"/>
              <a:gd name="T98" fmla="*/ 2147483647 w 180"/>
              <a:gd name="T99" fmla="*/ 2147483647 h 240"/>
              <a:gd name="T100" fmla="*/ 2147483647 w 180"/>
              <a:gd name="T101" fmla="*/ 2147483647 h 240"/>
              <a:gd name="T102" fmla="*/ 2147483647 w 180"/>
              <a:gd name="T103" fmla="*/ 2147483647 h 240"/>
              <a:gd name="T104" fmla="*/ 2147483647 w 180"/>
              <a:gd name="T105" fmla="*/ 214748364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4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197715" y="5181228"/>
            <a:ext cx="14288" cy="57150"/>
          </a:xfrm>
          <a:custGeom>
            <a:avLst/>
            <a:gdLst>
              <a:gd name="T0" fmla="*/ 0 w 27"/>
              <a:gd name="T1" fmla="*/ 0 h 30"/>
              <a:gd name="T2" fmla="*/ 2147483647 w 27"/>
              <a:gd name="T3" fmla="*/ 2147483647 h 30"/>
              <a:gd name="T4" fmla="*/ 2147483647 w 27"/>
              <a:gd name="T5" fmla="*/ 2147483647 h 30"/>
              <a:gd name="T6" fmla="*/ 2147483647 w 27"/>
              <a:gd name="T7" fmla="*/ 2147483647 h 30"/>
              <a:gd name="T8" fmla="*/ 2147483647 w 27"/>
              <a:gd name="T9" fmla="*/ 2147483647 h 30"/>
              <a:gd name="T10" fmla="*/ 2147483647 w 27"/>
              <a:gd name="T11" fmla="*/ 2147483647 h 30"/>
              <a:gd name="T12" fmla="*/ 0 w 27"/>
              <a:gd name="T13" fmla="*/ 2147483647 h 30"/>
              <a:gd name="T14" fmla="*/ 2147483647 w 27"/>
              <a:gd name="T15" fmla="*/ 2147483647 h 30"/>
              <a:gd name="T16" fmla="*/ 2147483647 w 27"/>
              <a:gd name="T17" fmla="*/ 2147483647 h 30"/>
              <a:gd name="T18" fmla="*/ 2147483647 w 27"/>
              <a:gd name="T19" fmla="*/ 2147483647 h 30"/>
              <a:gd name="T20" fmla="*/ 2147483647 w 27"/>
              <a:gd name="T21" fmla="*/ 2147483647 h 30"/>
              <a:gd name="T22" fmla="*/ 2147483647 w 27"/>
              <a:gd name="T23" fmla="*/ 2147483647 h 30"/>
              <a:gd name="T24" fmla="*/ 2147483647 w 27"/>
              <a:gd name="T25" fmla="*/ 2147483647 h 30"/>
              <a:gd name="T26" fmla="*/ 2147483647 w 27"/>
              <a:gd name="T27" fmla="*/ 2147483647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0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888153" y="5701928"/>
            <a:ext cx="458787" cy="404812"/>
            <a:chOff x="5372" y="3323"/>
            <a:chExt cx="341" cy="253"/>
          </a:xfrm>
        </p:grpSpPr>
        <p:sp>
          <p:nvSpPr>
            <p:cNvPr id="2567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0 h 33"/>
                <a:gd name="T2" fmla="*/ 0 w 53"/>
                <a:gd name="T3" fmla="*/ 0 h 33"/>
                <a:gd name="T4" fmla="*/ 0 w 53"/>
                <a:gd name="T5" fmla="*/ 0 h 33"/>
                <a:gd name="T6" fmla="*/ 0 w 53"/>
                <a:gd name="T7" fmla="*/ 0 h 33"/>
                <a:gd name="T8" fmla="*/ 0 w 53"/>
                <a:gd name="T9" fmla="*/ 0 h 33"/>
                <a:gd name="T10" fmla="*/ 0 w 53"/>
                <a:gd name="T11" fmla="*/ 0 h 33"/>
                <a:gd name="T12" fmla="*/ 0 w 53"/>
                <a:gd name="T13" fmla="*/ 0 h 33"/>
                <a:gd name="T14" fmla="*/ 0 w 53"/>
                <a:gd name="T15" fmla="*/ 0 h 33"/>
                <a:gd name="T16" fmla="*/ 1 w 53"/>
                <a:gd name="T17" fmla="*/ 0 h 33"/>
                <a:gd name="T18" fmla="*/ 1 w 53"/>
                <a:gd name="T19" fmla="*/ 0 h 33"/>
                <a:gd name="T20" fmla="*/ 0 w 53"/>
                <a:gd name="T21" fmla="*/ 0 h 33"/>
                <a:gd name="T22" fmla="*/ 0 w 53"/>
                <a:gd name="T23" fmla="*/ 0 h 33"/>
                <a:gd name="T24" fmla="*/ 0 w 53"/>
                <a:gd name="T25" fmla="*/ 0 h 33"/>
                <a:gd name="T26" fmla="*/ 0 w 53"/>
                <a:gd name="T27" fmla="*/ 0 h 33"/>
                <a:gd name="T28" fmla="*/ 0 w 53"/>
                <a:gd name="T29" fmla="*/ 0 h 33"/>
                <a:gd name="T30" fmla="*/ 0 w 53"/>
                <a:gd name="T31" fmla="*/ 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8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0 w 631"/>
                <a:gd name="T1" fmla="*/ 3 h 358"/>
                <a:gd name="T2" fmla="*/ 1 w 631"/>
                <a:gd name="T3" fmla="*/ 3 h 358"/>
                <a:gd name="T4" fmla="*/ 1 w 631"/>
                <a:gd name="T5" fmla="*/ 3 h 358"/>
                <a:gd name="T6" fmla="*/ 1 w 631"/>
                <a:gd name="T7" fmla="*/ 3 h 358"/>
                <a:gd name="T8" fmla="*/ 1 w 631"/>
                <a:gd name="T9" fmla="*/ 3 h 358"/>
                <a:gd name="T10" fmla="*/ 1 w 631"/>
                <a:gd name="T11" fmla="*/ 3 h 358"/>
                <a:gd name="T12" fmla="*/ 1 w 631"/>
                <a:gd name="T13" fmla="*/ 3 h 358"/>
                <a:gd name="T14" fmla="*/ 2 w 631"/>
                <a:gd name="T15" fmla="*/ 3 h 358"/>
                <a:gd name="T16" fmla="*/ 2 w 631"/>
                <a:gd name="T17" fmla="*/ 2 h 358"/>
                <a:gd name="T18" fmla="*/ 2 w 631"/>
                <a:gd name="T19" fmla="*/ 2 h 358"/>
                <a:gd name="T20" fmla="*/ 3 w 631"/>
                <a:gd name="T21" fmla="*/ 2 h 358"/>
                <a:gd name="T22" fmla="*/ 4 w 631"/>
                <a:gd name="T23" fmla="*/ 2 h 358"/>
                <a:gd name="T24" fmla="*/ 4 w 631"/>
                <a:gd name="T25" fmla="*/ 2 h 358"/>
                <a:gd name="T26" fmla="*/ 4 w 631"/>
                <a:gd name="T27" fmla="*/ 2 h 358"/>
                <a:gd name="T28" fmla="*/ 4 w 631"/>
                <a:gd name="T29" fmla="*/ 2 h 358"/>
                <a:gd name="T30" fmla="*/ 4 w 631"/>
                <a:gd name="T31" fmla="*/ 1 h 358"/>
                <a:gd name="T32" fmla="*/ 5 w 631"/>
                <a:gd name="T33" fmla="*/ 1 h 358"/>
                <a:gd name="T34" fmla="*/ 5 w 631"/>
                <a:gd name="T35" fmla="*/ 1 h 358"/>
                <a:gd name="T36" fmla="*/ 5 w 631"/>
                <a:gd name="T37" fmla="*/ 1 h 358"/>
                <a:gd name="T38" fmla="*/ 6 w 631"/>
                <a:gd name="T39" fmla="*/ 0 h 358"/>
                <a:gd name="T40" fmla="*/ 6 w 631"/>
                <a:gd name="T41" fmla="*/ 0 h 358"/>
                <a:gd name="T42" fmla="*/ 6 w 631"/>
                <a:gd name="T43" fmla="*/ 0 h 358"/>
                <a:gd name="T44" fmla="*/ 6 w 631"/>
                <a:gd name="T45" fmla="*/ 0 h 358"/>
                <a:gd name="T46" fmla="*/ 6 w 631"/>
                <a:gd name="T47" fmla="*/ 0 h 358"/>
                <a:gd name="T48" fmla="*/ 6 w 631"/>
                <a:gd name="T49" fmla="*/ 1 h 358"/>
                <a:gd name="T50" fmla="*/ 6 w 631"/>
                <a:gd name="T51" fmla="*/ 1 h 358"/>
                <a:gd name="T52" fmla="*/ 6 w 631"/>
                <a:gd name="T53" fmla="*/ 1 h 358"/>
                <a:gd name="T54" fmla="*/ 5 w 631"/>
                <a:gd name="T55" fmla="*/ 2 h 358"/>
                <a:gd name="T56" fmla="*/ 5 w 631"/>
                <a:gd name="T57" fmla="*/ 2 h 358"/>
                <a:gd name="T58" fmla="*/ 4 w 631"/>
                <a:gd name="T59" fmla="*/ 2 h 358"/>
                <a:gd name="T60" fmla="*/ 4 w 631"/>
                <a:gd name="T61" fmla="*/ 2 h 358"/>
                <a:gd name="T62" fmla="*/ 4 w 631"/>
                <a:gd name="T63" fmla="*/ 2 h 358"/>
                <a:gd name="T64" fmla="*/ 4 w 631"/>
                <a:gd name="T65" fmla="*/ 2 h 358"/>
                <a:gd name="T66" fmla="*/ 4 w 631"/>
                <a:gd name="T67" fmla="*/ 3 h 358"/>
                <a:gd name="T68" fmla="*/ 4 w 631"/>
                <a:gd name="T69" fmla="*/ 3 h 358"/>
                <a:gd name="T70" fmla="*/ 4 w 631"/>
                <a:gd name="T71" fmla="*/ 2 h 358"/>
                <a:gd name="T72" fmla="*/ 3 w 631"/>
                <a:gd name="T73" fmla="*/ 3 h 358"/>
                <a:gd name="T74" fmla="*/ 3 w 631"/>
                <a:gd name="T75" fmla="*/ 3 h 358"/>
                <a:gd name="T76" fmla="*/ 2 w 631"/>
                <a:gd name="T77" fmla="*/ 4 h 358"/>
                <a:gd name="T78" fmla="*/ 2 w 631"/>
                <a:gd name="T79" fmla="*/ 4 h 358"/>
                <a:gd name="T80" fmla="*/ 1 w 631"/>
                <a:gd name="T81" fmla="*/ 4 h 358"/>
                <a:gd name="T82" fmla="*/ 1 w 631"/>
                <a:gd name="T83" fmla="*/ 4 h 358"/>
                <a:gd name="T84" fmla="*/ 1 w 631"/>
                <a:gd name="T85" fmla="*/ 4 h 358"/>
                <a:gd name="T86" fmla="*/ 0 w 631"/>
                <a:gd name="T87" fmla="*/ 4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9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 w 359"/>
                <a:gd name="T1" fmla="*/ 3 h 431"/>
                <a:gd name="T2" fmla="*/ 1 w 359"/>
                <a:gd name="T3" fmla="*/ 3 h 431"/>
                <a:gd name="T4" fmla="*/ 2 w 359"/>
                <a:gd name="T5" fmla="*/ 2 h 431"/>
                <a:gd name="T6" fmla="*/ 2 w 359"/>
                <a:gd name="T7" fmla="*/ 2 h 431"/>
                <a:gd name="T8" fmla="*/ 2 w 359"/>
                <a:gd name="T9" fmla="*/ 2 h 431"/>
                <a:gd name="T10" fmla="*/ 2 w 359"/>
                <a:gd name="T11" fmla="*/ 2 h 431"/>
                <a:gd name="T12" fmla="*/ 2 w 359"/>
                <a:gd name="T13" fmla="*/ 1 h 431"/>
                <a:gd name="T14" fmla="*/ 2 w 359"/>
                <a:gd name="T15" fmla="*/ 1 h 431"/>
                <a:gd name="T16" fmla="*/ 2 w 359"/>
                <a:gd name="T17" fmla="*/ 0 h 431"/>
                <a:gd name="T18" fmla="*/ 2 w 359"/>
                <a:gd name="T19" fmla="*/ 0 h 431"/>
                <a:gd name="T20" fmla="*/ 2 w 359"/>
                <a:gd name="T21" fmla="*/ 0 h 431"/>
                <a:gd name="T22" fmla="*/ 2 w 359"/>
                <a:gd name="T23" fmla="*/ 0 h 431"/>
                <a:gd name="T24" fmla="*/ 3 w 359"/>
                <a:gd name="T25" fmla="*/ 1 h 431"/>
                <a:gd name="T26" fmla="*/ 3 w 359"/>
                <a:gd name="T27" fmla="*/ 1 h 431"/>
                <a:gd name="T28" fmla="*/ 3 w 359"/>
                <a:gd name="T29" fmla="*/ 1 h 431"/>
                <a:gd name="T30" fmla="*/ 3 w 359"/>
                <a:gd name="T31" fmla="*/ 1 h 431"/>
                <a:gd name="T32" fmla="*/ 2 w 359"/>
                <a:gd name="T33" fmla="*/ 1 h 431"/>
                <a:gd name="T34" fmla="*/ 2 w 359"/>
                <a:gd name="T35" fmla="*/ 2 h 431"/>
                <a:gd name="T36" fmla="*/ 2 w 359"/>
                <a:gd name="T37" fmla="*/ 2 h 431"/>
                <a:gd name="T38" fmla="*/ 2 w 359"/>
                <a:gd name="T39" fmla="*/ 2 h 431"/>
                <a:gd name="T40" fmla="*/ 3 w 359"/>
                <a:gd name="T41" fmla="*/ 2 h 431"/>
                <a:gd name="T42" fmla="*/ 3 w 359"/>
                <a:gd name="T43" fmla="*/ 2 h 431"/>
                <a:gd name="T44" fmla="*/ 3 w 359"/>
                <a:gd name="T45" fmla="*/ 2 h 431"/>
                <a:gd name="T46" fmla="*/ 3 w 359"/>
                <a:gd name="T47" fmla="*/ 2 h 431"/>
                <a:gd name="T48" fmla="*/ 3 w 359"/>
                <a:gd name="T49" fmla="*/ 2 h 431"/>
                <a:gd name="T50" fmla="*/ 3 w 359"/>
                <a:gd name="T51" fmla="*/ 3 h 431"/>
                <a:gd name="T52" fmla="*/ 3 w 359"/>
                <a:gd name="T53" fmla="*/ 3 h 431"/>
                <a:gd name="T54" fmla="*/ 4 w 359"/>
                <a:gd name="T55" fmla="*/ 2 h 431"/>
                <a:gd name="T56" fmla="*/ 4 w 359"/>
                <a:gd name="T57" fmla="*/ 2 h 431"/>
                <a:gd name="T58" fmla="*/ 4 w 359"/>
                <a:gd name="T59" fmla="*/ 2 h 431"/>
                <a:gd name="T60" fmla="*/ 4 w 359"/>
                <a:gd name="T61" fmla="*/ 3 h 431"/>
                <a:gd name="T62" fmla="*/ 4 w 359"/>
                <a:gd name="T63" fmla="*/ 3 h 431"/>
                <a:gd name="T64" fmla="*/ 3 w 359"/>
                <a:gd name="T65" fmla="*/ 3 h 431"/>
                <a:gd name="T66" fmla="*/ 3 w 359"/>
                <a:gd name="T67" fmla="*/ 3 h 431"/>
                <a:gd name="T68" fmla="*/ 2 w 359"/>
                <a:gd name="T69" fmla="*/ 3 h 431"/>
                <a:gd name="T70" fmla="*/ 2 w 359"/>
                <a:gd name="T71" fmla="*/ 4 h 431"/>
                <a:gd name="T72" fmla="*/ 2 w 359"/>
                <a:gd name="T73" fmla="*/ 4 h 431"/>
                <a:gd name="T74" fmla="*/ 2 w 359"/>
                <a:gd name="T75" fmla="*/ 4 h 431"/>
                <a:gd name="T76" fmla="*/ 1 w 359"/>
                <a:gd name="T77" fmla="*/ 5 h 431"/>
                <a:gd name="T78" fmla="*/ 1 w 359"/>
                <a:gd name="T79" fmla="*/ 5 h 431"/>
                <a:gd name="T80" fmla="*/ 0 w 359"/>
                <a:gd name="T81" fmla="*/ 5 h 431"/>
                <a:gd name="T82" fmla="*/ 0 w 359"/>
                <a:gd name="T83" fmla="*/ 5 h 431"/>
                <a:gd name="T84" fmla="*/ 0 w 359"/>
                <a:gd name="T85" fmla="*/ 5 h 431"/>
                <a:gd name="T86" fmla="*/ 0 w 359"/>
                <a:gd name="T87" fmla="*/ 5 h 431"/>
                <a:gd name="T88" fmla="*/ 0 w 359"/>
                <a:gd name="T89" fmla="*/ 5 h 431"/>
                <a:gd name="T90" fmla="*/ 1 w 359"/>
                <a:gd name="T91" fmla="*/ 4 h 431"/>
                <a:gd name="T92" fmla="*/ 1 w 359"/>
                <a:gd name="T93" fmla="*/ 4 h 431"/>
                <a:gd name="T94" fmla="*/ 1 w 359"/>
                <a:gd name="T95" fmla="*/ 4 h 431"/>
                <a:gd name="T96" fmla="*/ 1 w 359"/>
                <a:gd name="T97" fmla="*/ 4 h 431"/>
                <a:gd name="T98" fmla="*/ 1 w 359"/>
                <a:gd name="T99" fmla="*/ 4 h 431"/>
                <a:gd name="T100" fmla="*/ 0 w 359"/>
                <a:gd name="T101" fmla="*/ 4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06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530965" y="4358903"/>
            <a:ext cx="9525" cy="57150"/>
          </a:xfrm>
          <a:custGeom>
            <a:avLst/>
            <a:gdLst>
              <a:gd name="T0" fmla="*/ 0 w 21"/>
              <a:gd name="T1" fmla="*/ 2147483647 h 62"/>
              <a:gd name="T2" fmla="*/ 2147483647 w 21"/>
              <a:gd name="T3" fmla="*/ 2147483647 h 62"/>
              <a:gd name="T4" fmla="*/ 2147483647 w 21"/>
              <a:gd name="T5" fmla="*/ 2147483647 h 62"/>
              <a:gd name="T6" fmla="*/ 2147483647 w 21"/>
              <a:gd name="T7" fmla="*/ 2147483647 h 62"/>
              <a:gd name="T8" fmla="*/ 2147483647 w 21"/>
              <a:gd name="T9" fmla="*/ 2147483647 h 62"/>
              <a:gd name="T10" fmla="*/ 2147483647 w 21"/>
              <a:gd name="T11" fmla="*/ 2147483647 h 62"/>
              <a:gd name="T12" fmla="*/ 2147483647 w 21"/>
              <a:gd name="T13" fmla="*/ 0 h 62"/>
              <a:gd name="T14" fmla="*/ 2147483647 w 21"/>
              <a:gd name="T15" fmla="*/ 2147483647 h 62"/>
              <a:gd name="T16" fmla="*/ 2147483647 w 21"/>
              <a:gd name="T17" fmla="*/ 2147483647 h 62"/>
              <a:gd name="T18" fmla="*/ 2147483647 w 21"/>
              <a:gd name="T19" fmla="*/ 2147483647 h 62"/>
              <a:gd name="T20" fmla="*/ 2147483647 w 21"/>
              <a:gd name="T21" fmla="*/ 2147483647 h 62"/>
              <a:gd name="T22" fmla="*/ 2147483647 w 21"/>
              <a:gd name="T23" fmla="*/ 2147483647 h 62"/>
              <a:gd name="T24" fmla="*/ 0 w 21"/>
              <a:gd name="T25" fmla="*/ 2147483647 h 62"/>
              <a:gd name="T26" fmla="*/ 0 w 21"/>
              <a:gd name="T27" fmla="*/ 2147483647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7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258040" y="5260603"/>
            <a:ext cx="14288" cy="57150"/>
          </a:xfrm>
          <a:custGeom>
            <a:avLst/>
            <a:gdLst>
              <a:gd name="T0" fmla="*/ 0 w 33"/>
              <a:gd name="T1" fmla="*/ 0 h 24"/>
              <a:gd name="T2" fmla="*/ 2147483647 w 33"/>
              <a:gd name="T3" fmla="*/ 2147483647 h 24"/>
              <a:gd name="T4" fmla="*/ 2147483647 w 33"/>
              <a:gd name="T5" fmla="*/ 2147483647 h 24"/>
              <a:gd name="T6" fmla="*/ 2147483647 w 33"/>
              <a:gd name="T7" fmla="*/ 2147483647 h 24"/>
              <a:gd name="T8" fmla="*/ 2147483647 w 33"/>
              <a:gd name="T9" fmla="*/ 2147483647 h 24"/>
              <a:gd name="T10" fmla="*/ 2147483647 w 33"/>
              <a:gd name="T11" fmla="*/ 2147483647 h 24"/>
              <a:gd name="T12" fmla="*/ 2147483647 w 33"/>
              <a:gd name="T13" fmla="*/ 2147483647 h 24"/>
              <a:gd name="T14" fmla="*/ 2147483647 w 33"/>
              <a:gd name="T15" fmla="*/ 0 h 24"/>
              <a:gd name="T16" fmla="*/ 2147483647 w 33"/>
              <a:gd name="T17" fmla="*/ 0 h 24"/>
              <a:gd name="T18" fmla="*/ 2147483647 w 33"/>
              <a:gd name="T19" fmla="*/ 0 h 24"/>
              <a:gd name="T20" fmla="*/ 214748364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8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280265" y="5270128"/>
            <a:ext cx="17463" cy="58737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0 h 25"/>
              <a:gd name="T8" fmla="*/ 2147483647 w 33"/>
              <a:gd name="T9" fmla="*/ 0 h 25"/>
              <a:gd name="T10" fmla="*/ 2147483647 w 33"/>
              <a:gd name="T11" fmla="*/ 0 h 25"/>
              <a:gd name="T12" fmla="*/ 2147483647 w 33"/>
              <a:gd name="T13" fmla="*/ 0 h 25"/>
              <a:gd name="T14" fmla="*/ 0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9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594465" y="4347790"/>
            <a:ext cx="1588" cy="55563"/>
          </a:xfrm>
          <a:custGeom>
            <a:avLst/>
            <a:gdLst>
              <a:gd name="T0" fmla="*/ 0 w 7"/>
              <a:gd name="T1" fmla="*/ 0 h 55563"/>
              <a:gd name="T2" fmla="*/ 2147483647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0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653203" y="4292228"/>
            <a:ext cx="6350" cy="57150"/>
          </a:xfrm>
          <a:custGeom>
            <a:avLst/>
            <a:gdLst>
              <a:gd name="T0" fmla="*/ 2147483647 w 16"/>
              <a:gd name="T1" fmla="*/ 0 h 25"/>
              <a:gd name="T2" fmla="*/ 2147483647 w 16"/>
              <a:gd name="T3" fmla="*/ 2147483647 h 25"/>
              <a:gd name="T4" fmla="*/ 2147483647 w 16"/>
              <a:gd name="T5" fmla="*/ 2147483647 h 25"/>
              <a:gd name="T6" fmla="*/ 2147483647 w 16"/>
              <a:gd name="T7" fmla="*/ 2147483647 h 25"/>
              <a:gd name="T8" fmla="*/ 2147483647 w 16"/>
              <a:gd name="T9" fmla="*/ 2147483647 h 25"/>
              <a:gd name="T10" fmla="*/ 2147483647 w 16"/>
              <a:gd name="T11" fmla="*/ 2147483647 h 25"/>
              <a:gd name="T12" fmla="*/ 2147483647 w 16"/>
              <a:gd name="T13" fmla="*/ 2147483647 h 25"/>
              <a:gd name="T14" fmla="*/ 2147483647 w 16"/>
              <a:gd name="T15" fmla="*/ 2147483647 h 25"/>
              <a:gd name="T16" fmla="*/ 0 w 16"/>
              <a:gd name="T17" fmla="*/ 2147483647 h 25"/>
              <a:gd name="T18" fmla="*/ 2147483647 w 16"/>
              <a:gd name="T19" fmla="*/ 2147483647 h 25"/>
              <a:gd name="T20" fmla="*/ 2147483647 w 16"/>
              <a:gd name="T21" fmla="*/ 2147483647 h 25"/>
              <a:gd name="T22" fmla="*/ 2147483647 w 16"/>
              <a:gd name="T23" fmla="*/ 2147483647 h 25"/>
              <a:gd name="T24" fmla="*/ 2147483647 w 16"/>
              <a:gd name="T25" fmla="*/ 2147483647 h 25"/>
              <a:gd name="T26" fmla="*/ 2147483647 w 16"/>
              <a:gd name="T27" fmla="*/ 2147483647 h 25"/>
              <a:gd name="T28" fmla="*/ 2147483647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1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765915" y="4181103"/>
            <a:ext cx="4763" cy="57150"/>
          </a:xfrm>
          <a:custGeom>
            <a:avLst/>
            <a:gdLst>
              <a:gd name="T0" fmla="*/ 0 w 14"/>
              <a:gd name="T1" fmla="*/ 0 h 18"/>
              <a:gd name="T2" fmla="*/ 2147483647 w 14"/>
              <a:gd name="T3" fmla="*/ 2147483647 h 18"/>
              <a:gd name="T4" fmla="*/ 2147483647 w 14"/>
              <a:gd name="T5" fmla="*/ 2147483647 h 18"/>
              <a:gd name="T6" fmla="*/ 2147483647 w 14"/>
              <a:gd name="T7" fmla="*/ 2147483647 h 18"/>
              <a:gd name="T8" fmla="*/ 2147483647 w 14"/>
              <a:gd name="T9" fmla="*/ 2147483647 h 18"/>
              <a:gd name="T10" fmla="*/ 2147483647 w 14"/>
              <a:gd name="T11" fmla="*/ 2147483647 h 18"/>
              <a:gd name="T12" fmla="*/ 2147483647 w 14"/>
              <a:gd name="T13" fmla="*/ 2147483647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2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918315" y="4879603"/>
            <a:ext cx="26988" cy="58737"/>
          </a:xfrm>
          <a:custGeom>
            <a:avLst/>
            <a:gdLst>
              <a:gd name="T0" fmla="*/ 0 w 67"/>
              <a:gd name="T1" fmla="*/ 0 h 74"/>
              <a:gd name="T2" fmla="*/ 2147483647 w 67"/>
              <a:gd name="T3" fmla="*/ 2147483647 h 74"/>
              <a:gd name="T4" fmla="*/ 2147483647 w 67"/>
              <a:gd name="T5" fmla="*/ 2147483647 h 74"/>
              <a:gd name="T6" fmla="*/ 2147483647 w 67"/>
              <a:gd name="T7" fmla="*/ 2147483647 h 74"/>
              <a:gd name="T8" fmla="*/ 2147483647 w 67"/>
              <a:gd name="T9" fmla="*/ 2147483647 h 74"/>
              <a:gd name="T10" fmla="*/ 2147483647 w 67"/>
              <a:gd name="T11" fmla="*/ 2147483647 h 74"/>
              <a:gd name="T12" fmla="*/ 2147483647 w 67"/>
              <a:gd name="T13" fmla="*/ 2147483647 h 74"/>
              <a:gd name="T14" fmla="*/ 2147483647 w 67"/>
              <a:gd name="T15" fmla="*/ 2147483647 h 74"/>
              <a:gd name="T16" fmla="*/ 2147483647 w 67"/>
              <a:gd name="T17" fmla="*/ 2147483647 h 74"/>
              <a:gd name="T18" fmla="*/ 2147483647 w 67"/>
              <a:gd name="T19" fmla="*/ 2147483647 h 74"/>
              <a:gd name="T20" fmla="*/ 2147483647 w 67"/>
              <a:gd name="T21" fmla="*/ 2147483647 h 74"/>
              <a:gd name="T22" fmla="*/ 2147483647 w 67"/>
              <a:gd name="T23" fmla="*/ 2147483647 h 74"/>
              <a:gd name="T24" fmla="*/ 2147483647 w 67"/>
              <a:gd name="T25" fmla="*/ 2147483647 h 74"/>
              <a:gd name="T26" fmla="*/ 2147483647 w 67"/>
              <a:gd name="T27" fmla="*/ 2147483647 h 74"/>
              <a:gd name="T28" fmla="*/ 2147483647 w 67"/>
              <a:gd name="T29" fmla="*/ 2147483647 h 74"/>
              <a:gd name="T30" fmla="*/ 2147483647 w 67"/>
              <a:gd name="T31" fmla="*/ 2147483647 h 74"/>
              <a:gd name="T32" fmla="*/ 2147483647 w 67"/>
              <a:gd name="T33" fmla="*/ 2147483647 h 74"/>
              <a:gd name="T34" fmla="*/ 2147483647 w 67"/>
              <a:gd name="T35" fmla="*/ 2147483647 h 74"/>
              <a:gd name="T36" fmla="*/ 2147483647 w 67"/>
              <a:gd name="T37" fmla="*/ 0 h 74"/>
              <a:gd name="T38" fmla="*/ 2147483647 w 67"/>
              <a:gd name="T39" fmla="*/ 0 h 74"/>
              <a:gd name="T40" fmla="*/ 2147483647 w 67"/>
              <a:gd name="T41" fmla="*/ 0 h 74"/>
              <a:gd name="T42" fmla="*/ 2147483647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3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981815" y="4893890"/>
            <a:ext cx="12700" cy="57150"/>
          </a:xfrm>
          <a:custGeom>
            <a:avLst/>
            <a:gdLst>
              <a:gd name="T0" fmla="*/ 0 w 34"/>
              <a:gd name="T1" fmla="*/ 0 h 38"/>
              <a:gd name="T2" fmla="*/ 2147483647 w 34"/>
              <a:gd name="T3" fmla="*/ 2147483647 h 38"/>
              <a:gd name="T4" fmla="*/ 2147483647 w 34"/>
              <a:gd name="T5" fmla="*/ 2147483647 h 38"/>
              <a:gd name="T6" fmla="*/ 2147483647 w 34"/>
              <a:gd name="T7" fmla="*/ 2147483647 h 38"/>
              <a:gd name="T8" fmla="*/ 2147483647 w 34"/>
              <a:gd name="T9" fmla="*/ 2147483647 h 38"/>
              <a:gd name="T10" fmla="*/ 2147483647 w 34"/>
              <a:gd name="T11" fmla="*/ 2147483647 h 38"/>
              <a:gd name="T12" fmla="*/ 2147483647 w 34"/>
              <a:gd name="T13" fmla="*/ 2147483647 h 38"/>
              <a:gd name="T14" fmla="*/ 2147483647 w 34"/>
              <a:gd name="T15" fmla="*/ 2147483647 h 38"/>
              <a:gd name="T16" fmla="*/ 2147483647 w 34"/>
              <a:gd name="T17" fmla="*/ 2147483647 h 38"/>
              <a:gd name="T18" fmla="*/ 2147483647 w 34"/>
              <a:gd name="T19" fmla="*/ 2147483647 h 38"/>
              <a:gd name="T20" fmla="*/ 2147483647 w 34"/>
              <a:gd name="T21" fmla="*/ 2147483647 h 38"/>
              <a:gd name="T22" fmla="*/ 2147483647 w 34"/>
              <a:gd name="T23" fmla="*/ 2147483647 h 38"/>
              <a:gd name="T24" fmla="*/ 2147483647 w 34"/>
              <a:gd name="T25" fmla="*/ 2147483647 h 38"/>
              <a:gd name="T26" fmla="*/ 2147483647 w 34"/>
              <a:gd name="T27" fmla="*/ 2147483647 h 38"/>
              <a:gd name="T28" fmla="*/ 2147483647 w 34"/>
              <a:gd name="T29" fmla="*/ 2147483647 h 38"/>
              <a:gd name="T30" fmla="*/ 2147483647 w 34"/>
              <a:gd name="T31" fmla="*/ 2147483647 h 38"/>
              <a:gd name="T32" fmla="*/ 2147483647 w 34"/>
              <a:gd name="T33" fmla="*/ 2147483647 h 38"/>
              <a:gd name="T34" fmla="*/ 2147483647 w 34"/>
              <a:gd name="T35" fmla="*/ 2147483647 h 38"/>
              <a:gd name="T36" fmla="*/ 2147483647 w 34"/>
              <a:gd name="T37" fmla="*/ 2147483647 h 38"/>
              <a:gd name="T38" fmla="*/ 2147483647 w 34"/>
              <a:gd name="T39" fmla="*/ 2147483647 h 38"/>
              <a:gd name="T40" fmla="*/ 2147483647 w 34"/>
              <a:gd name="T41" fmla="*/ 0 h 38"/>
              <a:gd name="T42" fmla="*/ 2147483647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4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838940" y="4670053"/>
            <a:ext cx="25400" cy="55562"/>
          </a:xfrm>
          <a:custGeom>
            <a:avLst/>
            <a:gdLst>
              <a:gd name="T0" fmla="*/ 2147483647 w 53"/>
              <a:gd name="T1" fmla="*/ 2147483647 h 23"/>
              <a:gd name="T2" fmla="*/ 2147483647 w 53"/>
              <a:gd name="T3" fmla="*/ 2147483647 h 23"/>
              <a:gd name="T4" fmla="*/ 2147483647 w 53"/>
              <a:gd name="T5" fmla="*/ 2147483647 h 23"/>
              <a:gd name="T6" fmla="*/ 2147483647 w 53"/>
              <a:gd name="T7" fmla="*/ 2147483647 h 23"/>
              <a:gd name="T8" fmla="*/ 2147483647 w 53"/>
              <a:gd name="T9" fmla="*/ 0 h 23"/>
              <a:gd name="T10" fmla="*/ 2147483647 w 53"/>
              <a:gd name="T11" fmla="*/ 0 h 23"/>
              <a:gd name="T12" fmla="*/ 2147483647 w 53"/>
              <a:gd name="T13" fmla="*/ 2147483647 h 23"/>
              <a:gd name="T14" fmla="*/ 2147483647 w 53"/>
              <a:gd name="T15" fmla="*/ 2147483647 h 23"/>
              <a:gd name="T16" fmla="*/ 2147483647 w 53"/>
              <a:gd name="T17" fmla="*/ 2147483647 h 23"/>
              <a:gd name="T18" fmla="*/ 0 w 53"/>
              <a:gd name="T19" fmla="*/ 2147483647 h 23"/>
              <a:gd name="T20" fmla="*/ 2147483647 w 53"/>
              <a:gd name="T21" fmla="*/ 2147483647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115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781790" y="4644653"/>
            <a:ext cx="11113" cy="57150"/>
          </a:xfrm>
          <a:custGeom>
            <a:avLst/>
            <a:gdLst>
              <a:gd name="T0" fmla="*/ 0 w 26"/>
              <a:gd name="T1" fmla="*/ 0 h 12"/>
              <a:gd name="T2" fmla="*/ 2147483647 w 26"/>
              <a:gd name="T3" fmla="*/ 2147483647 h 12"/>
              <a:gd name="T4" fmla="*/ 2147483647 w 26"/>
              <a:gd name="T5" fmla="*/ 2147483647 h 12"/>
              <a:gd name="T6" fmla="*/ 2147483647 w 26"/>
              <a:gd name="T7" fmla="*/ 2147483647 h 12"/>
              <a:gd name="T8" fmla="*/ 2147483647 w 26"/>
              <a:gd name="T9" fmla="*/ 2147483647 h 12"/>
              <a:gd name="T10" fmla="*/ 2147483647 w 26"/>
              <a:gd name="T11" fmla="*/ 2147483647 h 12"/>
              <a:gd name="T12" fmla="*/ 2147483647 w 26"/>
              <a:gd name="T13" fmla="*/ 2147483647 h 12"/>
              <a:gd name="T14" fmla="*/ 2147483647 w 26"/>
              <a:gd name="T15" fmla="*/ 2147483647 h 12"/>
              <a:gd name="T16" fmla="*/ 2147483647 w 26"/>
              <a:gd name="T17" fmla="*/ 2147483647 h 12"/>
              <a:gd name="T18" fmla="*/ 2147483647 w 26"/>
              <a:gd name="T19" fmla="*/ 2147483647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6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981815" y="4976440"/>
            <a:ext cx="31750" cy="57150"/>
          </a:xfrm>
          <a:custGeom>
            <a:avLst/>
            <a:gdLst>
              <a:gd name="T0" fmla="*/ 0 w 73"/>
              <a:gd name="T1" fmla="*/ 0 h 57150"/>
              <a:gd name="T2" fmla="*/ 2147483647 w 73"/>
              <a:gd name="T3" fmla="*/ 0 h 57150"/>
              <a:gd name="T4" fmla="*/ 2147483647 w 73"/>
              <a:gd name="T5" fmla="*/ 0 h 57150"/>
              <a:gd name="T6" fmla="*/ 2147483647 w 73"/>
              <a:gd name="T7" fmla="*/ 0 h 57150"/>
              <a:gd name="T8" fmla="*/ 2147483647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7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937365" y="4965328"/>
            <a:ext cx="22225" cy="57150"/>
          </a:xfrm>
          <a:custGeom>
            <a:avLst/>
            <a:gdLst>
              <a:gd name="T0" fmla="*/ 0 w 53"/>
              <a:gd name="T1" fmla="*/ 0 h 3"/>
              <a:gd name="T2" fmla="*/ 2147483647 w 53"/>
              <a:gd name="T3" fmla="*/ 0 h 3"/>
              <a:gd name="T4" fmla="*/ 2147483647 w 53"/>
              <a:gd name="T5" fmla="*/ 2147483647 h 3"/>
              <a:gd name="T6" fmla="*/ 2147483647 w 53"/>
              <a:gd name="T7" fmla="*/ 2147483647 h 3"/>
              <a:gd name="T8" fmla="*/ 2147483647 w 53"/>
              <a:gd name="T9" fmla="*/ 2147483647 h 3"/>
              <a:gd name="T10" fmla="*/ 2147483647 w 53"/>
              <a:gd name="T11" fmla="*/ 2147483647 h 3"/>
              <a:gd name="T12" fmla="*/ 2147483647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8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970703" y="495104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19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991340" y="495739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147483647 h 13"/>
              <a:gd name="T4" fmla="*/ 0 w 1588"/>
              <a:gd name="T5" fmla="*/ 2147483647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0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945303" y="4951040"/>
            <a:ext cx="14287" cy="58738"/>
          </a:xfrm>
          <a:custGeom>
            <a:avLst/>
            <a:gdLst>
              <a:gd name="T0" fmla="*/ 0 w 26"/>
              <a:gd name="T1" fmla="*/ 0 h 58738"/>
              <a:gd name="T2" fmla="*/ 2147483647 w 26"/>
              <a:gd name="T3" fmla="*/ 0 h 58738"/>
              <a:gd name="T4" fmla="*/ 214748364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1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938953" y="4931990"/>
            <a:ext cx="6350" cy="60325"/>
          </a:xfrm>
          <a:custGeom>
            <a:avLst/>
            <a:gdLst>
              <a:gd name="T0" fmla="*/ 2147483647 w 20"/>
              <a:gd name="T1" fmla="*/ 0 h 25"/>
              <a:gd name="T2" fmla="*/ 0 w 20"/>
              <a:gd name="T3" fmla="*/ 2147483647 h 25"/>
              <a:gd name="T4" fmla="*/ 2147483647 w 20"/>
              <a:gd name="T5" fmla="*/ 2147483647 h 25"/>
              <a:gd name="T6" fmla="*/ 2147483647 w 20"/>
              <a:gd name="T7" fmla="*/ 2147483647 h 25"/>
              <a:gd name="T8" fmla="*/ 2147483647 w 20"/>
              <a:gd name="T9" fmla="*/ 2147483647 h 25"/>
              <a:gd name="T10" fmla="*/ 2147483647 w 20"/>
              <a:gd name="T11" fmla="*/ 2147483647 h 25"/>
              <a:gd name="T12" fmla="*/ 2147483647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2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8019915" y="4658940"/>
            <a:ext cx="1588" cy="57150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0 h 24"/>
              <a:gd name="T4" fmla="*/ 2147483647 w 6"/>
              <a:gd name="T5" fmla="*/ 2147483647 h 24"/>
              <a:gd name="T6" fmla="*/ 0 w 6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23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894503" y="4330328"/>
            <a:ext cx="163512" cy="114300"/>
            <a:chOff x="5379" y="2466"/>
            <a:chExt cx="122" cy="71"/>
          </a:xfrm>
        </p:grpSpPr>
        <p:sp>
          <p:nvSpPr>
            <p:cNvPr id="2558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0 w 19"/>
                <a:gd name="T1" fmla="*/ 0 h 25"/>
                <a:gd name="T2" fmla="*/ 0 w 19"/>
                <a:gd name="T3" fmla="*/ 0 h 25"/>
                <a:gd name="T4" fmla="*/ 0 w 19"/>
                <a:gd name="T5" fmla="*/ 0 h 25"/>
                <a:gd name="T6" fmla="*/ 0 w 19"/>
                <a:gd name="T7" fmla="*/ 0 h 25"/>
                <a:gd name="T8" fmla="*/ 0 w 19"/>
                <a:gd name="T9" fmla="*/ 0 h 25"/>
                <a:gd name="T10" fmla="*/ 0 w 19"/>
                <a:gd name="T11" fmla="*/ 0 h 25"/>
                <a:gd name="T12" fmla="*/ 0 w 19"/>
                <a:gd name="T13" fmla="*/ 0 h 25"/>
                <a:gd name="T14" fmla="*/ 0 w 19"/>
                <a:gd name="T15" fmla="*/ 0 h 25"/>
                <a:gd name="T16" fmla="*/ 0 w 19"/>
                <a:gd name="T17" fmla="*/ 0 h 25"/>
                <a:gd name="T18" fmla="*/ 0 w 19"/>
                <a:gd name="T19" fmla="*/ 0 h 25"/>
                <a:gd name="T20" fmla="*/ 0 w 19"/>
                <a:gd name="T21" fmla="*/ 0 h 25"/>
                <a:gd name="T22" fmla="*/ 0 w 19"/>
                <a:gd name="T23" fmla="*/ 0 h 25"/>
                <a:gd name="T24" fmla="*/ 0 w 19"/>
                <a:gd name="T25" fmla="*/ 0 h 25"/>
                <a:gd name="T26" fmla="*/ 0 w 19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9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0 w 26"/>
                <a:gd name="T1" fmla="*/ 0 h 18"/>
                <a:gd name="T2" fmla="*/ 0 w 26"/>
                <a:gd name="T3" fmla="*/ 0 h 18"/>
                <a:gd name="T4" fmla="*/ 0 w 26"/>
                <a:gd name="T5" fmla="*/ 0 h 18"/>
                <a:gd name="T6" fmla="*/ 0 w 26"/>
                <a:gd name="T7" fmla="*/ 0 h 18"/>
                <a:gd name="T8" fmla="*/ 0 w 26"/>
                <a:gd name="T9" fmla="*/ 0 h 18"/>
                <a:gd name="T10" fmla="*/ 0 w 26"/>
                <a:gd name="T11" fmla="*/ 0 h 18"/>
                <a:gd name="T12" fmla="*/ 0 w 26"/>
                <a:gd name="T13" fmla="*/ 0 h 18"/>
                <a:gd name="T14" fmla="*/ 0 w 2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0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1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0 h 24"/>
                <a:gd name="T2" fmla="*/ 0 w 26"/>
                <a:gd name="T3" fmla="*/ 0 h 24"/>
                <a:gd name="T4" fmla="*/ 0 w 26"/>
                <a:gd name="T5" fmla="*/ 0 h 24"/>
                <a:gd name="T6" fmla="*/ 0 w 26"/>
                <a:gd name="T7" fmla="*/ 0 h 24"/>
                <a:gd name="T8" fmla="*/ 0 w 26"/>
                <a:gd name="T9" fmla="*/ 0 h 24"/>
                <a:gd name="T10" fmla="*/ 0 w 26"/>
                <a:gd name="T11" fmla="*/ 0 h 24"/>
                <a:gd name="T12" fmla="*/ 0 w 26"/>
                <a:gd name="T13" fmla="*/ 0 h 24"/>
                <a:gd name="T14" fmla="*/ 0 w 26"/>
                <a:gd name="T15" fmla="*/ 0 h 24"/>
                <a:gd name="T16" fmla="*/ 0 w 26"/>
                <a:gd name="T17" fmla="*/ 0 h 24"/>
                <a:gd name="T18" fmla="*/ 0 w 2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2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0 h 6"/>
                <a:gd name="T2" fmla="*/ 0 w 34"/>
                <a:gd name="T3" fmla="*/ 0 h 6"/>
                <a:gd name="T4" fmla="*/ 0 w 34"/>
                <a:gd name="T5" fmla="*/ 0 h 6"/>
                <a:gd name="T6" fmla="*/ 0 w 34"/>
                <a:gd name="T7" fmla="*/ 0 h 6"/>
                <a:gd name="T8" fmla="*/ 0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3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4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0 h 19"/>
                <a:gd name="T2" fmla="*/ 0 w 1"/>
                <a:gd name="T3" fmla="*/ 0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5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6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0 w 14"/>
                <a:gd name="T1" fmla="*/ 0 h 6"/>
                <a:gd name="T2" fmla="*/ 0 w 14"/>
                <a:gd name="T3" fmla="*/ 0 h 6"/>
                <a:gd name="T4" fmla="*/ 0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24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478453" y="4192215"/>
            <a:ext cx="6350" cy="57150"/>
          </a:xfrm>
          <a:custGeom>
            <a:avLst/>
            <a:gdLst>
              <a:gd name="T0" fmla="*/ 2147483647 w 26"/>
              <a:gd name="T1" fmla="*/ 2147483647 h 111"/>
              <a:gd name="T2" fmla="*/ 2147483647 w 26"/>
              <a:gd name="T3" fmla="*/ 2147483647 h 111"/>
              <a:gd name="T4" fmla="*/ 2147483647 w 26"/>
              <a:gd name="T5" fmla="*/ 2147483647 h 111"/>
              <a:gd name="T6" fmla="*/ 2147483647 w 26"/>
              <a:gd name="T7" fmla="*/ 2147483647 h 111"/>
              <a:gd name="T8" fmla="*/ 2147483647 w 26"/>
              <a:gd name="T9" fmla="*/ 2147483647 h 111"/>
              <a:gd name="T10" fmla="*/ 0 w 26"/>
              <a:gd name="T11" fmla="*/ 2147483647 h 111"/>
              <a:gd name="T12" fmla="*/ 0 w 26"/>
              <a:gd name="T13" fmla="*/ 2147483647 h 111"/>
              <a:gd name="T14" fmla="*/ 0 w 26"/>
              <a:gd name="T15" fmla="*/ 2147483647 h 111"/>
              <a:gd name="T16" fmla="*/ 2147483647 w 26"/>
              <a:gd name="T17" fmla="*/ 2147483647 h 111"/>
              <a:gd name="T18" fmla="*/ 2147483647 w 26"/>
              <a:gd name="T19" fmla="*/ 2147483647 h 111"/>
              <a:gd name="T20" fmla="*/ 2147483647 w 26"/>
              <a:gd name="T21" fmla="*/ 2147483647 h 111"/>
              <a:gd name="T22" fmla="*/ 2147483647 w 26"/>
              <a:gd name="T23" fmla="*/ 2147483647 h 111"/>
              <a:gd name="T24" fmla="*/ 2147483647 w 26"/>
              <a:gd name="T25" fmla="*/ 2147483647 h 111"/>
              <a:gd name="T26" fmla="*/ 2147483647 w 26"/>
              <a:gd name="T27" fmla="*/ 2147483647 h 111"/>
              <a:gd name="T28" fmla="*/ 2147483647 w 26"/>
              <a:gd name="T29" fmla="*/ 0 h 111"/>
              <a:gd name="T30" fmla="*/ 2147483647 w 26"/>
              <a:gd name="T31" fmla="*/ 2147483647 h 111"/>
              <a:gd name="T32" fmla="*/ 2147483647 w 26"/>
              <a:gd name="T33" fmla="*/ 2147483647 h 111"/>
              <a:gd name="T34" fmla="*/ 2147483647 w 26"/>
              <a:gd name="T35" fmla="*/ 2147483647 h 111"/>
              <a:gd name="T36" fmla="*/ 2147483647 w 26"/>
              <a:gd name="T37" fmla="*/ 2147483647 h 111"/>
              <a:gd name="T38" fmla="*/ 2147483647 w 26"/>
              <a:gd name="T39" fmla="*/ 2147483647 h 111"/>
              <a:gd name="T40" fmla="*/ 2147483647 w 26"/>
              <a:gd name="T41" fmla="*/ 2147483647 h 111"/>
              <a:gd name="T42" fmla="*/ 2147483647 w 26"/>
              <a:gd name="T43" fmla="*/ 2147483647 h 111"/>
              <a:gd name="T44" fmla="*/ 2147483647 w 26"/>
              <a:gd name="T45" fmla="*/ 2147483647 h 111"/>
              <a:gd name="T46" fmla="*/ 2147483647 w 26"/>
              <a:gd name="T47" fmla="*/ 214748364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5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378065" y="6332165"/>
            <a:ext cx="53975" cy="58738"/>
          </a:xfrm>
          <a:custGeom>
            <a:avLst/>
            <a:gdLst>
              <a:gd name="T0" fmla="*/ 0 w 126"/>
              <a:gd name="T1" fmla="*/ 2147483647 h 62"/>
              <a:gd name="T2" fmla="*/ 2147483647 w 126"/>
              <a:gd name="T3" fmla="*/ 2147483647 h 62"/>
              <a:gd name="T4" fmla="*/ 2147483647 w 126"/>
              <a:gd name="T5" fmla="*/ 2147483647 h 62"/>
              <a:gd name="T6" fmla="*/ 2147483647 w 126"/>
              <a:gd name="T7" fmla="*/ 2147483647 h 62"/>
              <a:gd name="T8" fmla="*/ 2147483647 w 126"/>
              <a:gd name="T9" fmla="*/ 2147483647 h 62"/>
              <a:gd name="T10" fmla="*/ 2147483647 w 126"/>
              <a:gd name="T11" fmla="*/ 2147483647 h 62"/>
              <a:gd name="T12" fmla="*/ 2147483647 w 126"/>
              <a:gd name="T13" fmla="*/ 2147483647 h 62"/>
              <a:gd name="T14" fmla="*/ 2147483647 w 126"/>
              <a:gd name="T15" fmla="*/ 2147483647 h 62"/>
              <a:gd name="T16" fmla="*/ 2147483647 w 126"/>
              <a:gd name="T17" fmla="*/ 2147483647 h 62"/>
              <a:gd name="T18" fmla="*/ 2147483647 w 126"/>
              <a:gd name="T19" fmla="*/ 2147483647 h 62"/>
              <a:gd name="T20" fmla="*/ 2147483647 w 126"/>
              <a:gd name="T21" fmla="*/ 2147483647 h 62"/>
              <a:gd name="T22" fmla="*/ 2147483647 w 126"/>
              <a:gd name="T23" fmla="*/ 2147483647 h 62"/>
              <a:gd name="T24" fmla="*/ 2147483647 w 126"/>
              <a:gd name="T25" fmla="*/ 2147483647 h 62"/>
              <a:gd name="T26" fmla="*/ 2147483647 w 126"/>
              <a:gd name="T27" fmla="*/ 2147483647 h 62"/>
              <a:gd name="T28" fmla="*/ 2147483647 w 126"/>
              <a:gd name="T29" fmla="*/ 2147483647 h 62"/>
              <a:gd name="T30" fmla="*/ 2147483647 w 126"/>
              <a:gd name="T31" fmla="*/ 2147483647 h 62"/>
              <a:gd name="T32" fmla="*/ 2147483647 w 126"/>
              <a:gd name="T33" fmla="*/ 2147483647 h 62"/>
              <a:gd name="T34" fmla="*/ 2147483647 w 126"/>
              <a:gd name="T35" fmla="*/ 2147483647 h 62"/>
              <a:gd name="T36" fmla="*/ 2147483647 w 126"/>
              <a:gd name="T37" fmla="*/ 2147483647 h 62"/>
              <a:gd name="T38" fmla="*/ 2147483647 w 126"/>
              <a:gd name="T39" fmla="*/ 2147483647 h 62"/>
              <a:gd name="T40" fmla="*/ 2147483647 w 126"/>
              <a:gd name="T41" fmla="*/ 2147483647 h 62"/>
              <a:gd name="T42" fmla="*/ 2147483647 w 126"/>
              <a:gd name="T43" fmla="*/ 2147483647 h 62"/>
              <a:gd name="T44" fmla="*/ 2147483647 w 126"/>
              <a:gd name="T45" fmla="*/ 2147483647 h 62"/>
              <a:gd name="T46" fmla="*/ 2147483647 w 126"/>
              <a:gd name="T47" fmla="*/ 2147483647 h 62"/>
              <a:gd name="T48" fmla="*/ 2147483647 w 126"/>
              <a:gd name="T49" fmla="*/ 0 h 62"/>
              <a:gd name="T50" fmla="*/ 0 w 126"/>
              <a:gd name="T51" fmla="*/ 0 h 62"/>
              <a:gd name="T52" fmla="*/ 0 w 126"/>
              <a:gd name="T53" fmla="*/ 2147483647 h 62"/>
              <a:gd name="T54" fmla="*/ 0 w 126"/>
              <a:gd name="T55" fmla="*/ 2147483647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6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679940" y="6170240"/>
            <a:ext cx="30163" cy="55563"/>
          </a:xfrm>
          <a:custGeom>
            <a:avLst/>
            <a:gdLst>
              <a:gd name="T0" fmla="*/ 0 w 66"/>
              <a:gd name="T1" fmla="*/ 0 h 44"/>
              <a:gd name="T2" fmla="*/ 2147483647 w 66"/>
              <a:gd name="T3" fmla="*/ 2147483647 h 44"/>
              <a:gd name="T4" fmla="*/ 2147483647 w 66"/>
              <a:gd name="T5" fmla="*/ 2147483647 h 44"/>
              <a:gd name="T6" fmla="*/ 2147483647 w 66"/>
              <a:gd name="T7" fmla="*/ 2147483647 h 44"/>
              <a:gd name="T8" fmla="*/ 2147483647 w 66"/>
              <a:gd name="T9" fmla="*/ 2147483647 h 44"/>
              <a:gd name="T10" fmla="*/ 2147483647 w 66"/>
              <a:gd name="T11" fmla="*/ 2147483647 h 44"/>
              <a:gd name="T12" fmla="*/ 2147483647 w 66"/>
              <a:gd name="T13" fmla="*/ 2147483647 h 44"/>
              <a:gd name="T14" fmla="*/ 2147483647 w 66"/>
              <a:gd name="T15" fmla="*/ 2147483647 h 44"/>
              <a:gd name="T16" fmla="*/ 2147483647 w 66"/>
              <a:gd name="T17" fmla="*/ 2147483647 h 44"/>
              <a:gd name="T18" fmla="*/ 2147483647 w 66"/>
              <a:gd name="T19" fmla="*/ 2147483647 h 44"/>
              <a:gd name="T20" fmla="*/ 2147483647 w 66"/>
              <a:gd name="T21" fmla="*/ 2147483647 h 44"/>
              <a:gd name="T22" fmla="*/ 2147483647 w 66"/>
              <a:gd name="T23" fmla="*/ 2147483647 h 44"/>
              <a:gd name="T24" fmla="*/ 2147483647 w 66"/>
              <a:gd name="T25" fmla="*/ 2147483647 h 44"/>
              <a:gd name="T26" fmla="*/ 2147483647 w 66"/>
              <a:gd name="T27" fmla="*/ 2147483647 h 44"/>
              <a:gd name="T28" fmla="*/ 2147483647 w 66"/>
              <a:gd name="T29" fmla="*/ 2147483647 h 44"/>
              <a:gd name="T30" fmla="*/ 2147483647 w 66"/>
              <a:gd name="T31" fmla="*/ 2147483647 h 44"/>
              <a:gd name="T32" fmla="*/ 2147483647 w 66"/>
              <a:gd name="T33" fmla="*/ 2147483647 h 44"/>
              <a:gd name="T34" fmla="*/ 2147483647 w 66"/>
              <a:gd name="T35" fmla="*/ 2147483647 h 44"/>
              <a:gd name="T36" fmla="*/ 0 w 66"/>
              <a:gd name="T37" fmla="*/ 2147483647 h 44"/>
              <a:gd name="T38" fmla="*/ 0 w 66"/>
              <a:gd name="T39" fmla="*/ 2147483647 h 44"/>
              <a:gd name="T40" fmla="*/ 0 w 66"/>
              <a:gd name="T41" fmla="*/ 2147483647 h 44"/>
              <a:gd name="T42" fmla="*/ 0 w 66"/>
              <a:gd name="T43" fmla="*/ 2147483647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7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834178" y="2941265"/>
            <a:ext cx="20637" cy="57150"/>
          </a:xfrm>
          <a:custGeom>
            <a:avLst/>
            <a:gdLst>
              <a:gd name="T0" fmla="*/ 2147483647 w 46"/>
              <a:gd name="T1" fmla="*/ 0 h 16"/>
              <a:gd name="T2" fmla="*/ 2147483647 w 46"/>
              <a:gd name="T3" fmla="*/ 2147483647 h 16"/>
              <a:gd name="T4" fmla="*/ 2147483647 w 46"/>
              <a:gd name="T5" fmla="*/ 2147483647 h 16"/>
              <a:gd name="T6" fmla="*/ 2147483647 w 46"/>
              <a:gd name="T7" fmla="*/ 2147483647 h 16"/>
              <a:gd name="T8" fmla="*/ 2147483647 w 46"/>
              <a:gd name="T9" fmla="*/ 2147483647 h 16"/>
              <a:gd name="T10" fmla="*/ 2147483647 w 46"/>
              <a:gd name="T11" fmla="*/ 2147483647 h 16"/>
              <a:gd name="T12" fmla="*/ 2147483647 w 46"/>
              <a:gd name="T13" fmla="*/ 2147483647 h 16"/>
              <a:gd name="T14" fmla="*/ 2147483647 w 46"/>
              <a:gd name="T15" fmla="*/ 2147483647 h 16"/>
              <a:gd name="T16" fmla="*/ 2147483647 w 46"/>
              <a:gd name="T17" fmla="*/ 2147483647 h 16"/>
              <a:gd name="T18" fmla="*/ 2147483647 w 46"/>
              <a:gd name="T19" fmla="*/ 2147483647 h 16"/>
              <a:gd name="T20" fmla="*/ 0 w 46"/>
              <a:gd name="T21" fmla="*/ 0 h 16"/>
              <a:gd name="T22" fmla="*/ 214748364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8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010390" y="2974603"/>
            <a:ext cx="15875" cy="57150"/>
          </a:xfrm>
          <a:custGeom>
            <a:avLst/>
            <a:gdLst>
              <a:gd name="T0" fmla="*/ 2147483647 w 39"/>
              <a:gd name="T1" fmla="*/ 2147483647 h 26"/>
              <a:gd name="T2" fmla="*/ 2147483647 w 39"/>
              <a:gd name="T3" fmla="*/ 2147483647 h 26"/>
              <a:gd name="T4" fmla="*/ 2147483647 w 39"/>
              <a:gd name="T5" fmla="*/ 2147483647 h 26"/>
              <a:gd name="T6" fmla="*/ 2147483647 w 39"/>
              <a:gd name="T7" fmla="*/ 2147483647 h 26"/>
              <a:gd name="T8" fmla="*/ 2147483647 w 39"/>
              <a:gd name="T9" fmla="*/ 2147483647 h 26"/>
              <a:gd name="T10" fmla="*/ 2147483647 w 39"/>
              <a:gd name="T11" fmla="*/ 2147483647 h 26"/>
              <a:gd name="T12" fmla="*/ 2147483647 w 39"/>
              <a:gd name="T13" fmla="*/ 2147483647 h 26"/>
              <a:gd name="T14" fmla="*/ 2147483647 w 39"/>
              <a:gd name="T15" fmla="*/ 2147483647 h 26"/>
              <a:gd name="T16" fmla="*/ 2147483647 w 39"/>
              <a:gd name="T17" fmla="*/ 2147483647 h 26"/>
              <a:gd name="T18" fmla="*/ 2147483647 w 39"/>
              <a:gd name="T19" fmla="*/ 2147483647 h 26"/>
              <a:gd name="T20" fmla="*/ 0 w 39"/>
              <a:gd name="T21" fmla="*/ 0 h 26"/>
              <a:gd name="T22" fmla="*/ 2147483647 w 39"/>
              <a:gd name="T23" fmla="*/ 2147483647 h 26"/>
              <a:gd name="T24" fmla="*/ 2147483647 w 39"/>
              <a:gd name="T25" fmla="*/ 2147483647 h 26"/>
              <a:gd name="T26" fmla="*/ 2147483647 w 39"/>
              <a:gd name="T27" fmla="*/ 2147483647 h 26"/>
              <a:gd name="T28" fmla="*/ 2147483647 w 39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9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459528" y="3204790"/>
            <a:ext cx="4762" cy="58738"/>
          </a:xfrm>
          <a:custGeom>
            <a:avLst/>
            <a:gdLst>
              <a:gd name="T0" fmla="*/ 2147483647 w 11"/>
              <a:gd name="T1" fmla="*/ 0 h 25"/>
              <a:gd name="T2" fmla="*/ 2147483647 w 11"/>
              <a:gd name="T3" fmla="*/ 2147483647 h 25"/>
              <a:gd name="T4" fmla="*/ 2147483647 w 11"/>
              <a:gd name="T5" fmla="*/ 2147483647 h 25"/>
              <a:gd name="T6" fmla="*/ 2147483647 w 11"/>
              <a:gd name="T7" fmla="*/ 2147483647 h 25"/>
              <a:gd name="T8" fmla="*/ 2147483647 w 11"/>
              <a:gd name="T9" fmla="*/ 2147483647 h 25"/>
              <a:gd name="T10" fmla="*/ 2147483647 w 11"/>
              <a:gd name="T11" fmla="*/ 2147483647 h 25"/>
              <a:gd name="T12" fmla="*/ 2147483647 w 11"/>
              <a:gd name="T13" fmla="*/ 2147483647 h 25"/>
              <a:gd name="T14" fmla="*/ 0 w 11"/>
              <a:gd name="T15" fmla="*/ 2147483647 h 25"/>
              <a:gd name="T16" fmla="*/ 0 w 11"/>
              <a:gd name="T17" fmla="*/ 2147483647 h 25"/>
              <a:gd name="T18" fmla="*/ 2147483647 w 11"/>
              <a:gd name="T19" fmla="*/ 2147483647 h 25"/>
              <a:gd name="T20" fmla="*/ 2147483647 w 11"/>
              <a:gd name="T21" fmla="*/ 2147483647 h 25"/>
              <a:gd name="T22" fmla="*/ 2147483647 w 11"/>
              <a:gd name="T23" fmla="*/ 2147483647 h 25"/>
              <a:gd name="T24" fmla="*/ 2147483647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0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273790" y="3766765"/>
            <a:ext cx="14288" cy="58738"/>
          </a:xfrm>
          <a:custGeom>
            <a:avLst/>
            <a:gdLst>
              <a:gd name="T0" fmla="*/ 2147483647 w 20"/>
              <a:gd name="T1" fmla="*/ 0 h 31"/>
              <a:gd name="T2" fmla="*/ 2147483647 w 20"/>
              <a:gd name="T3" fmla="*/ 2147483647 h 31"/>
              <a:gd name="T4" fmla="*/ 2147483647 w 20"/>
              <a:gd name="T5" fmla="*/ 2147483647 h 31"/>
              <a:gd name="T6" fmla="*/ 2147483647 w 20"/>
              <a:gd name="T7" fmla="*/ 2147483647 h 31"/>
              <a:gd name="T8" fmla="*/ 0 w 20"/>
              <a:gd name="T9" fmla="*/ 2147483647 h 31"/>
              <a:gd name="T10" fmla="*/ 0 w 20"/>
              <a:gd name="T11" fmla="*/ 2147483647 h 31"/>
              <a:gd name="T12" fmla="*/ 2147483647 w 20"/>
              <a:gd name="T13" fmla="*/ 2147483647 h 31"/>
              <a:gd name="T14" fmla="*/ 2147483647 w 20"/>
              <a:gd name="T15" fmla="*/ 2147483647 h 31"/>
              <a:gd name="T16" fmla="*/ 2147483647 w 20"/>
              <a:gd name="T17" fmla="*/ 2147483647 h 31"/>
              <a:gd name="T18" fmla="*/ 2147483647 w 20"/>
              <a:gd name="T19" fmla="*/ 2147483647 h 31"/>
              <a:gd name="T20" fmla="*/ 2147483647 w 20"/>
              <a:gd name="T21" fmla="*/ 2147483647 h 31"/>
              <a:gd name="T22" fmla="*/ 2147483647 w 20"/>
              <a:gd name="T23" fmla="*/ 0 h 31"/>
              <a:gd name="T24" fmla="*/ 21474836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1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291253" y="3701678"/>
            <a:ext cx="15875" cy="57150"/>
          </a:xfrm>
          <a:custGeom>
            <a:avLst/>
            <a:gdLst>
              <a:gd name="T0" fmla="*/ 2147483647 w 26"/>
              <a:gd name="T1" fmla="*/ 2147483647 h 37"/>
              <a:gd name="T2" fmla="*/ 0 w 26"/>
              <a:gd name="T3" fmla="*/ 2147483647 h 37"/>
              <a:gd name="T4" fmla="*/ 2147483647 w 26"/>
              <a:gd name="T5" fmla="*/ 2147483647 h 37"/>
              <a:gd name="T6" fmla="*/ 2147483647 w 26"/>
              <a:gd name="T7" fmla="*/ 2147483647 h 37"/>
              <a:gd name="T8" fmla="*/ 2147483647 w 26"/>
              <a:gd name="T9" fmla="*/ 2147483647 h 37"/>
              <a:gd name="T10" fmla="*/ 2147483647 w 26"/>
              <a:gd name="T11" fmla="*/ 0 h 37"/>
              <a:gd name="T12" fmla="*/ 2147483647 w 26"/>
              <a:gd name="T13" fmla="*/ 2147483647 h 37"/>
              <a:gd name="T14" fmla="*/ 2147483647 w 26"/>
              <a:gd name="T15" fmla="*/ 2147483647 h 37"/>
              <a:gd name="T16" fmla="*/ 2147483647 w 26"/>
              <a:gd name="T17" fmla="*/ 2147483647 h 37"/>
              <a:gd name="T18" fmla="*/ 2147483647 w 26"/>
              <a:gd name="T19" fmla="*/ 2147483647 h 37"/>
              <a:gd name="T20" fmla="*/ 2147483647 w 26"/>
              <a:gd name="T21" fmla="*/ 2147483647 h 37"/>
              <a:gd name="T22" fmla="*/ 2147483647 w 26"/>
              <a:gd name="T23" fmla="*/ 2147483647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2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180128" y="3550865"/>
            <a:ext cx="1587" cy="60325"/>
          </a:xfrm>
          <a:custGeom>
            <a:avLst/>
            <a:gdLst>
              <a:gd name="T0" fmla="*/ 0 w 7"/>
              <a:gd name="T1" fmla="*/ 2147483647 h 18"/>
              <a:gd name="T2" fmla="*/ 0 w 7"/>
              <a:gd name="T3" fmla="*/ 0 h 18"/>
              <a:gd name="T4" fmla="*/ 2147483647 w 7"/>
              <a:gd name="T5" fmla="*/ 2147483647 h 18"/>
              <a:gd name="T6" fmla="*/ 0 w 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3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032115" y="2677740"/>
            <a:ext cx="9525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0 w 33"/>
              <a:gd name="T23" fmla="*/ 2147483647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4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017828" y="2445965"/>
            <a:ext cx="3175" cy="5715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5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498965" y="4223965"/>
            <a:ext cx="25400" cy="55563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6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202103" y="4085853"/>
            <a:ext cx="19050" cy="58737"/>
          </a:xfrm>
          <a:custGeom>
            <a:avLst/>
            <a:gdLst>
              <a:gd name="T0" fmla="*/ 2147483647 w 47"/>
              <a:gd name="T1" fmla="*/ 0 h 68"/>
              <a:gd name="T2" fmla="*/ 2147483647 w 47"/>
              <a:gd name="T3" fmla="*/ 2147483647 h 68"/>
              <a:gd name="T4" fmla="*/ 2147483647 w 47"/>
              <a:gd name="T5" fmla="*/ 2147483647 h 68"/>
              <a:gd name="T6" fmla="*/ 2147483647 w 47"/>
              <a:gd name="T7" fmla="*/ 2147483647 h 68"/>
              <a:gd name="T8" fmla="*/ 0 w 47"/>
              <a:gd name="T9" fmla="*/ 2147483647 h 68"/>
              <a:gd name="T10" fmla="*/ 0 w 47"/>
              <a:gd name="T11" fmla="*/ 2147483647 h 68"/>
              <a:gd name="T12" fmla="*/ 2147483647 w 47"/>
              <a:gd name="T13" fmla="*/ 2147483647 h 68"/>
              <a:gd name="T14" fmla="*/ 2147483647 w 47"/>
              <a:gd name="T15" fmla="*/ 2147483647 h 68"/>
              <a:gd name="T16" fmla="*/ 2147483647 w 47"/>
              <a:gd name="T17" fmla="*/ 2147483647 h 68"/>
              <a:gd name="T18" fmla="*/ 2147483647 w 47"/>
              <a:gd name="T19" fmla="*/ 2147483647 h 68"/>
              <a:gd name="T20" fmla="*/ 2147483647 w 47"/>
              <a:gd name="T21" fmla="*/ 2147483647 h 68"/>
              <a:gd name="T22" fmla="*/ 2147483647 w 47"/>
              <a:gd name="T23" fmla="*/ 2147483647 h 68"/>
              <a:gd name="T24" fmla="*/ 2147483647 w 47"/>
              <a:gd name="T25" fmla="*/ 2147483647 h 68"/>
              <a:gd name="T26" fmla="*/ 2147483647 w 47"/>
              <a:gd name="T27" fmla="*/ 2147483647 h 68"/>
              <a:gd name="T28" fmla="*/ 2147483647 w 47"/>
              <a:gd name="T29" fmla="*/ 2147483647 h 68"/>
              <a:gd name="T30" fmla="*/ 2147483647 w 47"/>
              <a:gd name="T31" fmla="*/ 2147483647 h 68"/>
              <a:gd name="T32" fmla="*/ 2147483647 w 47"/>
              <a:gd name="T33" fmla="*/ 2147483647 h 68"/>
              <a:gd name="T34" fmla="*/ 2147483647 w 47"/>
              <a:gd name="T35" fmla="*/ 2147483647 h 68"/>
              <a:gd name="T36" fmla="*/ 2147483647 w 47"/>
              <a:gd name="T37" fmla="*/ 2147483647 h 68"/>
              <a:gd name="T38" fmla="*/ 2147483647 w 47"/>
              <a:gd name="T39" fmla="*/ 2147483647 h 68"/>
              <a:gd name="T40" fmla="*/ 2147483647 w 47"/>
              <a:gd name="T41" fmla="*/ 2147483647 h 68"/>
              <a:gd name="T42" fmla="*/ 2147483647 w 47"/>
              <a:gd name="T43" fmla="*/ 2147483647 h 68"/>
              <a:gd name="T44" fmla="*/ 2147483647 w 47"/>
              <a:gd name="T45" fmla="*/ 2147483647 h 68"/>
              <a:gd name="T46" fmla="*/ 2147483647 w 47"/>
              <a:gd name="T47" fmla="*/ 2147483647 h 68"/>
              <a:gd name="T48" fmla="*/ 2147483647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3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973628" y="4273178"/>
            <a:ext cx="46037" cy="374650"/>
            <a:chOff x="3950" y="2430"/>
            <a:chExt cx="36" cy="234"/>
          </a:xfrm>
          <a:solidFill>
            <a:schemeClr val="bg1">
              <a:lumMod val="75000"/>
            </a:schemeClr>
          </a:solidFill>
        </p:grpSpPr>
        <p:sp>
          <p:nvSpPr>
            <p:cNvPr id="2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8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9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0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1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2532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3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4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2535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6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7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2538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9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0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1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2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3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4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5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6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2547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8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9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2550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1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2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2553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4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5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6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7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213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8038965" y="4773240"/>
            <a:ext cx="185738" cy="214313"/>
            <a:chOff x="5486" y="2743"/>
            <a:chExt cx="137" cy="132"/>
          </a:xfrm>
          <a:solidFill>
            <a:schemeClr val="bg1">
              <a:lumMod val="75000"/>
            </a:schemeClr>
          </a:solidFill>
        </p:grpSpPr>
        <p:sp>
          <p:nvSpPr>
            <p:cNvPr id="3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0 h 87"/>
                <a:gd name="T2" fmla="*/ 0 w 40"/>
                <a:gd name="T3" fmla="*/ 1 h 87"/>
                <a:gd name="T4" fmla="*/ 0 w 40"/>
                <a:gd name="T5" fmla="*/ 1 h 87"/>
                <a:gd name="T6" fmla="*/ 0 w 40"/>
                <a:gd name="T7" fmla="*/ 1 h 87"/>
                <a:gd name="T8" fmla="*/ 0 w 40"/>
                <a:gd name="T9" fmla="*/ 1 h 87"/>
                <a:gd name="T10" fmla="*/ 0 w 40"/>
                <a:gd name="T11" fmla="*/ 1 h 87"/>
                <a:gd name="T12" fmla="*/ 0 w 40"/>
                <a:gd name="T13" fmla="*/ 1 h 87"/>
                <a:gd name="T14" fmla="*/ 0 w 40"/>
                <a:gd name="T15" fmla="*/ 1 h 87"/>
                <a:gd name="T16" fmla="*/ 0 w 40"/>
                <a:gd name="T17" fmla="*/ 1 h 87"/>
                <a:gd name="T18" fmla="*/ 0 w 40"/>
                <a:gd name="T19" fmla="*/ 1 h 87"/>
                <a:gd name="T20" fmla="*/ 0 w 40"/>
                <a:gd name="T21" fmla="*/ 1 h 87"/>
                <a:gd name="T22" fmla="*/ 0 w 40"/>
                <a:gd name="T23" fmla="*/ 1 h 87"/>
                <a:gd name="T24" fmla="*/ 0 w 40"/>
                <a:gd name="T25" fmla="*/ 1 h 87"/>
                <a:gd name="T26" fmla="*/ 0 w 40"/>
                <a:gd name="T27" fmla="*/ 1 h 87"/>
                <a:gd name="T28" fmla="*/ 0 w 40"/>
                <a:gd name="T29" fmla="*/ 0 h 87"/>
                <a:gd name="T30" fmla="*/ 0 w 40"/>
                <a:gd name="T31" fmla="*/ 0 h 87"/>
                <a:gd name="T32" fmla="*/ 0 w 40"/>
                <a:gd name="T33" fmla="*/ 0 h 87"/>
                <a:gd name="T34" fmla="*/ 0 w 40"/>
                <a:gd name="T35" fmla="*/ 0 h 87"/>
                <a:gd name="T36" fmla="*/ 0 w 40"/>
                <a:gd name="T37" fmla="*/ 0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0 h 87"/>
                <a:gd name="T44" fmla="*/ 0 w 40"/>
                <a:gd name="T45" fmla="*/ 0 h 87"/>
                <a:gd name="T46" fmla="*/ 0 w 40"/>
                <a:gd name="T47" fmla="*/ 0 h 87"/>
                <a:gd name="T48" fmla="*/ 0 w 40"/>
                <a:gd name="T49" fmla="*/ 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0 h 37"/>
                <a:gd name="T2" fmla="*/ 0 w 61"/>
                <a:gd name="T3" fmla="*/ 0 h 37"/>
                <a:gd name="T4" fmla="*/ 0 w 61"/>
                <a:gd name="T5" fmla="*/ 0 h 37"/>
                <a:gd name="T6" fmla="*/ 1 w 61"/>
                <a:gd name="T7" fmla="*/ 0 h 37"/>
                <a:gd name="T8" fmla="*/ 1 w 61"/>
                <a:gd name="T9" fmla="*/ 0 h 37"/>
                <a:gd name="T10" fmla="*/ 1 w 61"/>
                <a:gd name="T11" fmla="*/ 0 h 37"/>
                <a:gd name="T12" fmla="*/ 1 w 61"/>
                <a:gd name="T13" fmla="*/ 0 h 37"/>
                <a:gd name="T14" fmla="*/ 1 w 61"/>
                <a:gd name="T15" fmla="*/ 0 h 37"/>
                <a:gd name="T16" fmla="*/ 0 w 61"/>
                <a:gd name="T17" fmla="*/ 0 h 37"/>
                <a:gd name="T18" fmla="*/ 0 w 61"/>
                <a:gd name="T19" fmla="*/ 0 h 37"/>
                <a:gd name="T20" fmla="*/ 0 w 61"/>
                <a:gd name="T21" fmla="*/ 0 h 37"/>
                <a:gd name="T22" fmla="*/ 0 w 61"/>
                <a:gd name="T23" fmla="*/ 0 h 37"/>
                <a:gd name="T24" fmla="*/ 0 w 61"/>
                <a:gd name="T25" fmla="*/ 0 h 37"/>
                <a:gd name="T26" fmla="*/ 0 w 61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0 w 40"/>
                <a:gd name="T1" fmla="*/ 0 h 30"/>
                <a:gd name="T2" fmla="*/ 0 w 40"/>
                <a:gd name="T3" fmla="*/ 0 h 30"/>
                <a:gd name="T4" fmla="*/ 0 w 40"/>
                <a:gd name="T5" fmla="*/ 0 h 30"/>
                <a:gd name="T6" fmla="*/ 0 w 40"/>
                <a:gd name="T7" fmla="*/ 0 h 30"/>
                <a:gd name="T8" fmla="*/ 0 w 40"/>
                <a:gd name="T9" fmla="*/ 0 h 30"/>
                <a:gd name="T10" fmla="*/ 0 w 40"/>
                <a:gd name="T11" fmla="*/ 0 h 30"/>
                <a:gd name="T12" fmla="*/ 0 w 40"/>
                <a:gd name="T13" fmla="*/ 0 h 30"/>
                <a:gd name="T14" fmla="*/ 0 w 40"/>
                <a:gd name="T15" fmla="*/ 0 h 30"/>
                <a:gd name="T16" fmla="*/ 0 w 40"/>
                <a:gd name="T17" fmla="*/ 0 h 30"/>
                <a:gd name="T18" fmla="*/ 0 w 40"/>
                <a:gd name="T19" fmla="*/ 0 h 30"/>
                <a:gd name="T20" fmla="*/ 0 w 40"/>
                <a:gd name="T21" fmla="*/ 0 h 30"/>
                <a:gd name="T22" fmla="*/ 0 w 40"/>
                <a:gd name="T23" fmla="*/ 0 h 30"/>
                <a:gd name="T24" fmla="*/ 0 w 40"/>
                <a:gd name="T25" fmla="*/ 0 h 30"/>
                <a:gd name="T26" fmla="*/ 0 w 40"/>
                <a:gd name="T27" fmla="*/ 0 h 30"/>
                <a:gd name="T28" fmla="*/ 0 w 40"/>
                <a:gd name="T29" fmla="*/ 0 h 30"/>
                <a:gd name="T30" fmla="*/ 0 w 40"/>
                <a:gd name="T31" fmla="*/ 0 h 30"/>
                <a:gd name="T32" fmla="*/ 0 w 40"/>
                <a:gd name="T33" fmla="*/ 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1 w 74"/>
                <a:gd name="T1" fmla="*/ 1 h 80"/>
                <a:gd name="T2" fmla="*/ 1 w 74"/>
                <a:gd name="T3" fmla="*/ 1 h 80"/>
                <a:gd name="T4" fmla="*/ 1 w 74"/>
                <a:gd name="T5" fmla="*/ 1 h 80"/>
                <a:gd name="T6" fmla="*/ 1 w 74"/>
                <a:gd name="T7" fmla="*/ 1 h 80"/>
                <a:gd name="T8" fmla="*/ 1 w 74"/>
                <a:gd name="T9" fmla="*/ 1 h 80"/>
                <a:gd name="T10" fmla="*/ 1 w 74"/>
                <a:gd name="T11" fmla="*/ 1 h 80"/>
                <a:gd name="T12" fmla="*/ 1 w 74"/>
                <a:gd name="T13" fmla="*/ 0 h 80"/>
                <a:gd name="T14" fmla="*/ 0 w 74"/>
                <a:gd name="T15" fmla="*/ 0 h 80"/>
                <a:gd name="T16" fmla="*/ 0 w 74"/>
                <a:gd name="T17" fmla="*/ 0 h 80"/>
                <a:gd name="T18" fmla="*/ 0 w 74"/>
                <a:gd name="T19" fmla="*/ 0 h 80"/>
                <a:gd name="T20" fmla="*/ 0 w 74"/>
                <a:gd name="T21" fmla="*/ 0 h 80"/>
                <a:gd name="T22" fmla="*/ 0 w 74"/>
                <a:gd name="T23" fmla="*/ 0 h 80"/>
                <a:gd name="T24" fmla="*/ 0 w 74"/>
                <a:gd name="T25" fmla="*/ 0 h 80"/>
                <a:gd name="T26" fmla="*/ 0 w 74"/>
                <a:gd name="T27" fmla="*/ 0 h 80"/>
                <a:gd name="T28" fmla="*/ 0 w 74"/>
                <a:gd name="T29" fmla="*/ 0 h 80"/>
                <a:gd name="T30" fmla="*/ 0 w 74"/>
                <a:gd name="T31" fmla="*/ 0 h 80"/>
                <a:gd name="T32" fmla="*/ 0 w 74"/>
                <a:gd name="T33" fmla="*/ 0 h 80"/>
                <a:gd name="T34" fmla="*/ 0 w 74"/>
                <a:gd name="T35" fmla="*/ 0 h 80"/>
                <a:gd name="T36" fmla="*/ 0 w 74"/>
                <a:gd name="T37" fmla="*/ 0 h 80"/>
                <a:gd name="T38" fmla="*/ 0 w 74"/>
                <a:gd name="T39" fmla="*/ 1 h 80"/>
                <a:gd name="T40" fmla="*/ 0 w 74"/>
                <a:gd name="T41" fmla="*/ 1 h 80"/>
                <a:gd name="T42" fmla="*/ 0 w 74"/>
                <a:gd name="T43" fmla="*/ 1 h 80"/>
                <a:gd name="T44" fmla="*/ 0 w 74"/>
                <a:gd name="T45" fmla="*/ 1 h 80"/>
                <a:gd name="T46" fmla="*/ 0 w 74"/>
                <a:gd name="T47" fmla="*/ 1 h 80"/>
                <a:gd name="T48" fmla="*/ 0 w 74"/>
                <a:gd name="T49" fmla="*/ 1 h 80"/>
                <a:gd name="T50" fmla="*/ 1 w 74"/>
                <a:gd name="T51" fmla="*/ 1 h 80"/>
                <a:gd name="T52" fmla="*/ 1 w 74"/>
                <a:gd name="T53" fmla="*/ 1 h 80"/>
                <a:gd name="T54" fmla="*/ 1 w 74"/>
                <a:gd name="T55" fmla="*/ 1 h 80"/>
                <a:gd name="T56" fmla="*/ 1 w 74"/>
                <a:gd name="T57" fmla="*/ 1 h 80"/>
                <a:gd name="T58" fmla="*/ 1 w 74"/>
                <a:gd name="T59" fmla="*/ 1 h 80"/>
                <a:gd name="T60" fmla="*/ 1 w 74"/>
                <a:gd name="T61" fmla="*/ 1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 w 86"/>
                <a:gd name="T1" fmla="*/ 1 h 80"/>
                <a:gd name="T2" fmla="*/ 1 w 86"/>
                <a:gd name="T3" fmla="*/ 1 h 80"/>
                <a:gd name="T4" fmla="*/ 1 w 86"/>
                <a:gd name="T5" fmla="*/ 1 h 80"/>
                <a:gd name="T6" fmla="*/ 1 w 86"/>
                <a:gd name="T7" fmla="*/ 1 h 80"/>
                <a:gd name="T8" fmla="*/ 1 w 86"/>
                <a:gd name="T9" fmla="*/ 1 h 80"/>
                <a:gd name="T10" fmla="*/ 1 w 86"/>
                <a:gd name="T11" fmla="*/ 1 h 80"/>
                <a:gd name="T12" fmla="*/ 1 w 86"/>
                <a:gd name="T13" fmla="*/ 1 h 80"/>
                <a:gd name="T14" fmla="*/ 1 w 86"/>
                <a:gd name="T15" fmla="*/ 1 h 80"/>
                <a:gd name="T16" fmla="*/ 0 w 86"/>
                <a:gd name="T17" fmla="*/ 0 h 80"/>
                <a:gd name="T18" fmla="*/ 0 w 86"/>
                <a:gd name="T19" fmla="*/ 0 h 80"/>
                <a:gd name="T20" fmla="*/ 0 w 86"/>
                <a:gd name="T21" fmla="*/ 0 h 80"/>
                <a:gd name="T22" fmla="*/ 0 w 86"/>
                <a:gd name="T23" fmla="*/ 0 h 80"/>
                <a:gd name="T24" fmla="*/ 0 w 86"/>
                <a:gd name="T25" fmla="*/ 0 h 80"/>
                <a:gd name="T26" fmla="*/ 0 w 86"/>
                <a:gd name="T27" fmla="*/ 0 h 80"/>
                <a:gd name="T28" fmla="*/ 0 w 86"/>
                <a:gd name="T29" fmla="*/ 0 h 80"/>
                <a:gd name="T30" fmla="*/ 0 w 86"/>
                <a:gd name="T31" fmla="*/ 0 h 80"/>
                <a:gd name="T32" fmla="*/ 0 w 86"/>
                <a:gd name="T33" fmla="*/ 1 h 80"/>
                <a:gd name="T34" fmla="*/ 0 w 86"/>
                <a:gd name="T35" fmla="*/ 1 h 80"/>
                <a:gd name="T36" fmla="*/ 0 w 86"/>
                <a:gd name="T37" fmla="*/ 1 h 80"/>
                <a:gd name="T38" fmla="*/ 0 w 86"/>
                <a:gd name="T39" fmla="*/ 1 h 80"/>
                <a:gd name="T40" fmla="*/ 0 w 86"/>
                <a:gd name="T41" fmla="*/ 1 h 80"/>
                <a:gd name="T42" fmla="*/ 1 w 86"/>
                <a:gd name="T43" fmla="*/ 1 h 80"/>
                <a:gd name="T44" fmla="*/ 1 w 86"/>
                <a:gd name="T45" fmla="*/ 1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0 h 31"/>
                <a:gd name="T2" fmla="*/ 0 w 74"/>
                <a:gd name="T3" fmla="*/ 0 h 31"/>
                <a:gd name="T4" fmla="*/ 0 w 74"/>
                <a:gd name="T5" fmla="*/ 0 h 31"/>
                <a:gd name="T6" fmla="*/ 0 w 74"/>
                <a:gd name="T7" fmla="*/ 0 h 31"/>
                <a:gd name="T8" fmla="*/ 0 w 74"/>
                <a:gd name="T9" fmla="*/ 0 h 31"/>
                <a:gd name="T10" fmla="*/ 0 w 74"/>
                <a:gd name="T11" fmla="*/ 0 h 31"/>
                <a:gd name="T12" fmla="*/ 0 w 74"/>
                <a:gd name="T13" fmla="*/ 0 h 31"/>
                <a:gd name="T14" fmla="*/ 0 w 74"/>
                <a:gd name="T15" fmla="*/ 0 h 31"/>
                <a:gd name="T16" fmla="*/ 0 w 74"/>
                <a:gd name="T17" fmla="*/ 0 h 31"/>
                <a:gd name="T18" fmla="*/ 1 w 74"/>
                <a:gd name="T19" fmla="*/ 0 h 31"/>
                <a:gd name="T20" fmla="*/ 1 w 74"/>
                <a:gd name="T21" fmla="*/ 0 h 31"/>
                <a:gd name="T22" fmla="*/ 1 w 74"/>
                <a:gd name="T23" fmla="*/ 0 h 31"/>
                <a:gd name="T24" fmla="*/ 1 w 74"/>
                <a:gd name="T25" fmla="*/ 0 h 31"/>
                <a:gd name="T26" fmla="*/ 1 w 74"/>
                <a:gd name="T27" fmla="*/ 0 h 31"/>
                <a:gd name="T28" fmla="*/ 1 w 74"/>
                <a:gd name="T29" fmla="*/ 0 h 31"/>
                <a:gd name="T30" fmla="*/ 1 w 74"/>
                <a:gd name="T31" fmla="*/ 0 h 31"/>
                <a:gd name="T32" fmla="*/ 1 w 74"/>
                <a:gd name="T33" fmla="*/ 0 h 31"/>
                <a:gd name="T34" fmla="*/ 1 w 74"/>
                <a:gd name="T35" fmla="*/ 0 h 31"/>
                <a:gd name="T36" fmla="*/ 1 w 74"/>
                <a:gd name="T37" fmla="*/ 0 h 31"/>
                <a:gd name="T38" fmla="*/ 1 w 74"/>
                <a:gd name="T39" fmla="*/ 0 h 31"/>
                <a:gd name="T40" fmla="*/ 1 w 74"/>
                <a:gd name="T41" fmla="*/ 0 h 31"/>
                <a:gd name="T42" fmla="*/ 0 w 74"/>
                <a:gd name="T43" fmla="*/ 0 h 31"/>
                <a:gd name="T44" fmla="*/ 0 w 74"/>
                <a:gd name="T45" fmla="*/ 0 h 31"/>
                <a:gd name="T46" fmla="*/ 0 w 74"/>
                <a:gd name="T47" fmla="*/ 0 h 31"/>
                <a:gd name="T48" fmla="*/ 0 w 74"/>
                <a:gd name="T49" fmla="*/ 0 h 31"/>
                <a:gd name="T50" fmla="*/ 0 w 74"/>
                <a:gd name="T51" fmla="*/ 0 h 31"/>
                <a:gd name="T52" fmla="*/ 0 w 74"/>
                <a:gd name="T53" fmla="*/ 0 h 31"/>
                <a:gd name="T54" fmla="*/ 0 w 74"/>
                <a:gd name="T55" fmla="*/ 0 h 31"/>
                <a:gd name="T56" fmla="*/ 0 w 74"/>
                <a:gd name="T57" fmla="*/ 0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0 w 20"/>
                <a:gd name="T1" fmla="*/ 0 h 1"/>
                <a:gd name="T2" fmla="*/ 0 w 20"/>
                <a:gd name="T3" fmla="*/ 0 h 1"/>
                <a:gd name="T4" fmla="*/ 0 w 20"/>
                <a:gd name="T5" fmla="*/ 0 h 1"/>
                <a:gd name="T6" fmla="*/ 0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0 w 100"/>
                <a:gd name="T1" fmla="*/ 0 h 65"/>
                <a:gd name="T2" fmla="*/ 0 w 100"/>
                <a:gd name="T3" fmla="*/ 0 h 65"/>
                <a:gd name="T4" fmla="*/ 1 w 100"/>
                <a:gd name="T5" fmla="*/ 1 h 65"/>
                <a:gd name="T6" fmla="*/ 1 w 100"/>
                <a:gd name="T7" fmla="*/ 1 h 65"/>
                <a:gd name="T8" fmla="*/ 1 w 100"/>
                <a:gd name="T9" fmla="*/ 1 h 65"/>
                <a:gd name="T10" fmla="*/ 1 w 100"/>
                <a:gd name="T11" fmla="*/ 1 h 65"/>
                <a:gd name="T12" fmla="*/ 1 w 100"/>
                <a:gd name="T13" fmla="*/ 1 h 65"/>
                <a:gd name="T14" fmla="*/ 1 w 100"/>
                <a:gd name="T15" fmla="*/ 1 h 65"/>
                <a:gd name="T16" fmla="*/ 1 w 100"/>
                <a:gd name="T17" fmla="*/ 1 h 65"/>
                <a:gd name="T18" fmla="*/ 1 w 100"/>
                <a:gd name="T19" fmla="*/ 1 h 65"/>
                <a:gd name="T20" fmla="*/ 1 w 100"/>
                <a:gd name="T21" fmla="*/ 1 h 65"/>
                <a:gd name="T22" fmla="*/ 1 w 100"/>
                <a:gd name="T23" fmla="*/ 1 h 65"/>
                <a:gd name="T24" fmla="*/ 1 w 100"/>
                <a:gd name="T25" fmla="*/ 1 h 65"/>
                <a:gd name="T26" fmla="*/ 1 w 100"/>
                <a:gd name="T27" fmla="*/ 0 h 65"/>
                <a:gd name="T28" fmla="*/ 1 w 100"/>
                <a:gd name="T29" fmla="*/ 0 h 65"/>
                <a:gd name="T30" fmla="*/ 1 w 100"/>
                <a:gd name="T31" fmla="*/ 0 h 65"/>
                <a:gd name="T32" fmla="*/ 1 w 100"/>
                <a:gd name="T33" fmla="*/ 0 h 65"/>
                <a:gd name="T34" fmla="*/ 0 w 100"/>
                <a:gd name="T35" fmla="*/ 0 h 65"/>
                <a:gd name="T36" fmla="*/ 0 w 100"/>
                <a:gd name="T37" fmla="*/ 0 h 65"/>
                <a:gd name="T38" fmla="*/ 0 w 100"/>
                <a:gd name="T39" fmla="*/ 0 h 65"/>
                <a:gd name="T40" fmla="*/ 0 w 100"/>
                <a:gd name="T41" fmla="*/ 0 h 65"/>
                <a:gd name="T42" fmla="*/ 0 w 100"/>
                <a:gd name="T43" fmla="*/ 0 h 65"/>
                <a:gd name="T44" fmla="*/ 0 w 100"/>
                <a:gd name="T45" fmla="*/ 0 h 65"/>
                <a:gd name="T46" fmla="*/ 0 w 100"/>
                <a:gd name="T47" fmla="*/ 0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1 w 79"/>
                <a:gd name="T1" fmla="*/ 1 h 104"/>
                <a:gd name="T2" fmla="*/ 1 w 79"/>
                <a:gd name="T3" fmla="*/ 1 h 104"/>
                <a:gd name="T4" fmla="*/ 0 w 79"/>
                <a:gd name="T5" fmla="*/ 0 h 104"/>
                <a:gd name="T6" fmla="*/ 0 w 79"/>
                <a:gd name="T7" fmla="*/ 0 h 104"/>
                <a:gd name="T8" fmla="*/ 0 w 79"/>
                <a:gd name="T9" fmla="*/ 0 h 104"/>
                <a:gd name="T10" fmla="*/ 0 w 79"/>
                <a:gd name="T11" fmla="*/ 0 h 104"/>
                <a:gd name="T12" fmla="*/ 0 w 79"/>
                <a:gd name="T13" fmla="*/ 0 h 104"/>
                <a:gd name="T14" fmla="*/ 0 w 79"/>
                <a:gd name="T15" fmla="*/ 0 h 104"/>
                <a:gd name="T16" fmla="*/ 0 w 79"/>
                <a:gd name="T17" fmla="*/ 1 h 104"/>
                <a:gd name="T18" fmla="*/ 0 w 79"/>
                <a:gd name="T19" fmla="*/ 1 h 104"/>
                <a:gd name="T20" fmla="*/ 0 w 79"/>
                <a:gd name="T21" fmla="*/ 1 h 104"/>
                <a:gd name="T22" fmla="*/ 0 w 79"/>
                <a:gd name="T23" fmla="*/ 1 h 104"/>
                <a:gd name="T24" fmla="*/ 0 w 79"/>
                <a:gd name="T25" fmla="*/ 1 h 104"/>
                <a:gd name="T26" fmla="*/ 0 w 79"/>
                <a:gd name="T27" fmla="*/ 1 h 104"/>
                <a:gd name="T28" fmla="*/ 0 w 79"/>
                <a:gd name="T29" fmla="*/ 1 h 104"/>
                <a:gd name="T30" fmla="*/ 0 w 79"/>
                <a:gd name="T31" fmla="*/ 1 h 104"/>
                <a:gd name="T32" fmla="*/ 0 w 79"/>
                <a:gd name="T33" fmla="*/ 1 h 104"/>
                <a:gd name="T34" fmla="*/ 0 w 79"/>
                <a:gd name="T35" fmla="*/ 1 h 104"/>
                <a:gd name="T36" fmla="*/ 0 w 79"/>
                <a:gd name="T37" fmla="*/ 1 h 104"/>
                <a:gd name="T38" fmla="*/ 0 w 79"/>
                <a:gd name="T39" fmla="*/ 1 h 104"/>
                <a:gd name="T40" fmla="*/ 1 w 79"/>
                <a:gd name="T41" fmla="*/ 1 h 104"/>
                <a:gd name="T42" fmla="*/ 1 w 79"/>
                <a:gd name="T43" fmla="*/ 1 h 104"/>
                <a:gd name="T44" fmla="*/ 1 w 79"/>
                <a:gd name="T45" fmla="*/ 1 h 104"/>
                <a:gd name="T46" fmla="*/ 1 w 79"/>
                <a:gd name="T47" fmla="*/ 1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39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384540" y="4511303"/>
            <a:ext cx="11113" cy="55562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0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308340" y="4651003"/>
            <a:ext cx="14288" cy="57150"/>
          </a:xfrm>
          <a:custGeom>
            <a:avLst/>
            <a:gdLst>
              <a:gd name="T0" fmla="*/ 0 w 39"/>
              <a:gd name="T1" fmla="*/ 0 h 35"/>
              <a:gd name="T2" fmla="*/ 2147483647 w 39"/>
              <a:gd name="T3" fmla="*/ 0 h 35"/>
              <a:gd name="T4" fmla="*/ 2147483647 w 39"/>
              <a:gd name="T5" fmla="*/ 2147483647 h 35"/>
              <a:gd name="T6" fmla="*/ 2147483647 w 39"/>
              <a:gd name="T7" fmla="*/ 2147483647 h 35"/>
              <a:gd name="T8" fmla="*/ 2147483647 w 39"/>
              <a:gd name="T9" fmla="*/ 2147483647 h 35"/>
              <a:gd name="T10" fmla="*/ 2147483647 w 39"/>
              <a:gd name="T11" fmla="*/ 2147483647 h 35"/>
              <a:gd name="T12" fmla="*/ 2147483647 w 39"/>
              <a:gd name="T13" fmla="*/ 2147483647 h 35"/>
              <a:gd name="T14" fmla="*/ 2147483647 w 39"/>
              <a:gd name="T15" fmla="*/ 2147483647 h 35"/>
              <a:gd name="T16" fmla="*/ 2147483647 w 39"/>
              <a:gd name="T17" fmla="*/ 2147483647 h 35"/>
              <a:gd name="T18" fmla="*/ 2147483647 w 39"/>
              <a:gd name="T19" fmla="*/ 2147483647 h 35"/>
              <a:gd name="T20" fmla="*/ 2147483647 w 39"/>
              <a:gd name="T21" fmla="*/ 2147483647 h 35"/>
              <a:gd name="T22" fmla="*/ 2147483647 w 39"/>
              <a:gd name="T23" fmla="*/ 2147483647 h 35"/>
              <a:gd name="T24" fmla="*/ 2147483647 w 39"/>
              <a:gd name="T25" fmla="*/ 21474836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1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106978" y="2977778"/>
            <a:ext cx="728662" cy="331787"/>
          </a:xfrm>
          <a:custGeom>
            <a:avLst/>
            <a:gdLst>
              <a:gd name="T0" fmla="*/ 2147483647 w 1688"/>
              <a:gd name="T1" fmla="*/ 2147483647 h 630"/>
              <a:gd name="T2" fmla="*/ 2147483647 w 1688"/>
              <a:gd name="T3" fmla="*/ 2147483647 h 630"/>
              <a:gd name="T4" fmla="*/ 2147483647 w 1688"/>
              <a:gd name="T5" fmla="*/ 2147483647 h 630"/>
              <a:gd name="T6" fmla="*/ 2147483647 w 1688"/>
              <a:gd name="T7" fmla="*/ 2147483647 h 630"/>
              <a:gd name="T8" fmla="*/ 2147483647 w 1688"/>
              <a:gd name="T9" fmla="*/ 2147483647 h 630"/>
              <a:gd name="T10" fmla="*/ 2147483647 w 1688"/>
              <a:gd name="T11" fmla="*/ 2147483647 h 630"/>
              <a:gd name="T12" fmla="*/ 2147483647 w 1688"/>
              <a:gd name="T13" fmla="*/ 2147483647 h 630"/>
              <a:gd name="T14" fmla="*/ 2147483647 w 1688"/>
              <a:gd name="T15" fmla="*/ 2147483647 h 630"/>
              <a:gd name="T16" fmla="*/ 2147483647 w 1688"/>
              <a:gd name="T17" fmla="*/ 2147483647 h 630"/>
              <a:gd name="T18" fmla="*/ 2147483647 w 1688"/>
              <a:gd name="T19" fmla="*/ 2147483647 h 630"/>
              <a:gd name="T20" fmla="*/ 2147483647 w 1688"/>
              <a:gd name="T21" fmla="*/ 2147483647 h 630"/>
              <a:gd name="T22" fmla="*/ 2147483647 w 1688"/>
              <a:gd name="T23" fmla="*/ 2147483647 h 630"/>
              <a:gd name="T24" fmla="*/ 2147483647 w 1688"/>
              <a:gd name="T25" fmla="*/ 2147483647 h 630"/>
              <a:gd name="T26" fmla="*/ 2147483647 w 1688"/>
              <a:gd name="T27" fmla="*/ 2147483647 h 630"/>
              <a:gd name="T28" fmla="*/ 2147483647 w 1688"/>
              <a:gd name="T29" fmla="*/ 2147483647 h 630"/>
              <a:gd name="T30" fmla="*/ 2147483647 w 1688"/>
              <a:gd name="T31" fmla="*/ 2147483647 h 630"/>
              <a:gd name="T32" fmla="*/ 2147483647 w 1688"/>
              <a:gd name="T33" fmla="*/ 2147483647 h 630"/>
              <a:gd name="T34" fmla="*/ 2147483647 w 1688"/>
              <a:gd name="T35" fmla="*/ 2147483647 h 630"/>
              <a:gd name="T36" fmla="*/ 2147483647 w 1688"/>
              <a:gd name="T37" fmla="*/ 2147483647 h 630"/>
              <a:gd name="T38" fmla="*/ 2147483647 w 1688"/>
              <a:gd name="T39" fmla="*/ 2147483647 h 630"/>
              <a:gd name="T40" fmla="*/ 2147483647 w 1688"/>
              <a:gd name="T41" fmla="*/ 2147483647 h 630"/>
              <a:gd name="T42" fmla="*/ 2147483647 w 1688"/>
              <a:gd name="T43" fmla="*/ 2147483647 h 630"/>
              <a:gd name="T44" fmla="*/ 2147483647 w 1688"/>
              <a:gd name="T45" fmla="*/ 2147483647 h 630"/>
              <a:gd name="T46" fmla="*/ 2147483647 w 1688"/>
              <a:gd name="T47" fmla="*/ 2147483647 h 630"/>
              <a:gd name="T48" fmla="*/ 2147483647 w 1688"/>
              <a:gd name="T49" fmla="*/ 2147483647 h 630"/>
              <a:gd name="T50" fmla="*/ 2147483647 w 1688"/>
              <a:gd name="T51" fmla="*/ 2147483647 h 630"/>
              <a:gd name="T52" fmla="*/ 2147483647 w 1688"/>
              <a:gd name="T53" fmla="*/ 2147483647 h 630"/>
              <a:gd name="T54" fmla="*/ 2147483647 w 1688"/>
              <a:gd name="T55" fmla="*/ 2147483647 h 630"/>
              <a:gd name="T56" fmla="*/ 2147483647 w 1688"/>
              <a:gd name="T57" fmla="*/ 2147483647 h 630"/>
              <a:gd name="T58" fmla="*/ 2147483647 w 1688"/>
              <a:gd name="T59" fmla="*/ 2147483647 h 630"/>
              <a:gd name="T60" fmla="*/ 2147483647 w 1688"/>
              <a:gd name="T61" fmla="*/ 2147483647 h 630"/>
              <a:gd name="T62" fmla="*/ 2147483647 w 1688"/>
              <a:gd name="T63" fmla="*/ 2147483647 h 630"/>
              <a:gd name="T64" fmla="*/ 2147483647 w 1688"/>
              <a:gd name="T65" fmla="*/ 2147483647 h 630"/>
              <a:gd name="T66" fmla="*/ 2147483647 w 1688"/>
              <a:gd name="T67" fmla="*/ 2147483647 h 630"/>
              <a:gd name="T68" fmla="*/ 2147483647 w 1688"/>
              <a:gd name="T69" fmla="*/ 2147483647 h 630"/>
              <a:gd name="T70" fmla="*/ 2147483647 w 1688"/>
              <a:gd name="T71" fmla="*/ 2147483647 h 630"/>
              <a:gd name="T72" fmla="*/ 2147483647 w 1688"/>
              <a:gd name="T73" fmla="*/ 2147483647 h 630"/>
              <a:gd name="T74" fmla="*/ 2147483647 w 1688"/>
              <a:gd name="T75" fmla="*/ 2147483647 h 630"/>
              <a:gd name="T76" fmla="*/ 2147483647 w 1688"/>
              <a:gd name="T77" fmla="*/ 2147483647 h 630"/>
              <a:gd name="T78" fmla="*/ 2147483647 w 1688"/>
              <a:gd name="T79" fmla="*/ 2147483647 h 630"/>
              <a:gd name="T80" fmla="*/ 2147483647 w 1688"/>
              <a:gd name="T81" fmla="*/ 2147483647 h 630"/>
              <a:gd name="T82" fmla="*/ 2147483647 w 1688"/>
              <a:gd name="T83" fmla="*/ 2147483647 h 630"/>
              <a:gd name="T84" fmla="*/ 2147483647 w 1688"/>
              <a:gd name="T85" fmla="*/ 2147483647 h 630"/>
              <a:gd name="T86" fmla="*/ 2147483647 w 1688"/>
              <a:gd name="T87" fmla="*/ 2147483647 h 630"/>
              <a:gd name="T88" fmla="*/ 2147483647 w 1688"/>
              <a:gd name="T89" fmla="*/ 2147483647 h 630"/>
              <a:gd name="T90" fmla="*/ 2147483647 w 1688"/>
              <a:gd name="T91" fmla="*/ 2147483647 h 630"/>
              <a:gd name="T92" fmla="*/ 2147483647 w 1688"/>
              <a:gd name="T93" fmla="*/ 2147483647 h 630"/>
              <a:gd name="T94" fmla="*/ 2147483647 w 1688"/>
              <a:gd name="T95" fmla="*/ 2147483647 h 630"/>
              <a:gd name="T96" fmla="*/ 2147483647 w 1688"/>
              <a:gd name="T97" fmla="*/ 2147483647 h 630"/>
              <a:gd name="T98" fmla="*/ 2147483647 w 1688"/>
              <a:gd name="T99" fmla="*/ 2147483647 h 630"/>
              <a:gd name="T100" fmla="*/ 2147483647 w 1688"/>
              <a:gd name="T101" fmla="*/ 2147483647 h 630"/>
              <a:gd name="T102" fmla="*/ 2147483647 w 1688"/>
              <a:gd name="T103" fmla="*/ 2147483647 h 630"/>
              <a:gd name="T104" fmla="*/ 2147483647 w 1688"/>
              <a:gd name="T105" fmla="*/ 2147483647 h 630"/>
              <a:gd name="T106" fmla="*/ 2147483647 w 1688"/>
              <a:gd name="T107" fmla="*/ 2147483647 h 630"/>
              <a:gd name="T108" fmla="*/ 2147483647 w 1688"/>
              <a:gd name="T109" fmla="*/ 2147483647 h 630"/>
              <a:gd name="T110" fmla="*/ 2147483647 w 1688"/>
              <a:gd name="T111" fmla="*/ 2147483647 h 630"/>
              <a:gd name="T112" fmla="*/ 2147483647 w 1688"/>
              <a:gd name="T113" fmla="*/ 2147483647 h 630"/>
              <a:gd name="T114" fmla="*/ 2147483647 w 1688"/>
              <a:gd name="T115" fmla="*/ 2147483647 h 630"/>
              <a:gd name="T116" fmla="*/ 2147483647 w 1688"/>
              <a:gd name="T117" fmla="*/ 214748364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2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433503" y="4944690"/>
            <a:ext cx="328612" cy="415925"/>
          </a:xfrm>
          <a:custGeom>
            <a:avLst/>
            <a:gdLst>
              <a:gd name="T0" fmla="*/ 2147483647 w 758"/>
              <a:gd name="T1" fmla="*/ 2147483647 h 795"/>
              <a:gd name="T2" fmla="*/ 2147483647 w 758"/>
              <a:gd name="T3" fmla="*/ 2147483647 h 795"/>
              <a:gd name="T4" fmla="*/ 2147483647 w 758"/>
              <a:gd name="T5" fmla="*/ 2147483647 h 795"/>
              <a:gd name="T6" fmla="*/ 2147483647 w 758"/>
              <a:gd name="T7" fmla="*/ 2147483647 h 795"/>
              <a:gd name="T8" fmla="*/ 2147483647 w 758"/>
              <a:gd name="T9" fmla="*/ 2147483647 h 795"/>
              <a:gd name="T10" fmla="*/ 2147483647 w 758"/>
              <a:gd name="T11" fmla="*/ 2147483647 h 795"/>
              <a:gd name="T12" fmla="*/ 2147483647 w 758"/>
              <a:gd name="T13" fmla="*/ 2147483647 h 795"/>
              <a:gd name="T14" fmla="*/ 2147483647 w 758"/>
              <a:gd name="T15" fmla="*/ 2147483647 h 795"/>
              <a:gd name="T16" fmla="*/ 2147483647 w 758"/>
              <a:gd name="T17" fmla="*/ 2147483647 h 795"/>
              <a:gd name="T18" fmla="*/ 2147483647 w 758"/>
              <a:gd name="T19" fmla="*/ 2147483647 h 795"/>
              <a:gd name="T20" fmla="*/ 2147483647 w 758"/>
              <a:gd name="T21" fmla="*/ 2147483647 h 795"/>
              <a:gd name="T22" fmla="*/ 2147483647 w 758"/>
              <a:gd name="T23" fmla="*/ 2147483647 h 795"/>
              <a:gd name="T24" fmla="*/ 2147483647 w 758"/>
              <a:gd name="T25" fmla="*/ 2147483647 h 795"/>
              <a:gd name="T26" fmla="*/ 2147483647 w 758"/>
              <a:gd name="T27" fmla="*/ 2147483647 h 795"/>
              <a:gd name="T28" fmla="*/ 2147483647 w 758"/>
              <a:gd name="T29" fmla="*/ 2147483647 h 795"/>
              <a:gd name="T30" fmla="*/ 2147483647 w 758"/>
              <a:gd name="T31" fmla="*/ 2147483647 h 795"/>
              <a:gd name="T32" fmla="*/ 2147483647 w 758"/>
              <a:gd name="T33" fmla="*/ 2147483647 h 795"/>
              <a:gd name="T34" fmla="*/ 2147483647 w 758"/>
              <a:gd name="T35" fmla="*/ 2147483647 h 795"/>
              <a:gd name="T36" fmla="*/ 2147483647 w 758"/>
              <a:gd name="T37" fmla="*/ 2147483647 h 795"/>
              <a:gd name="T38" fmla="*/ 2147483647 w 758"/>
              <a:gd name="T39" fmla="*/ 2147483647 h 795"/>
              <a:gd name="T40" fmla="*/ 2147483647 w 758"/>
              <a:gd name="T41" fmla="*/ 2147483647 h 795"/>
              <a:gd name="T42" fmla="*/ 2147483647 w 758"/>
              <a:gd name="T43" fmla="*/ 2147483647 h 795"/>
              <a:gd name="T44" fmla="*/ 2147483647 w 758"/>
              <a:gd name="T45" fmla="*/ 2147483647 h 795"/>
              <a:gd name="T46" fmla="*/ 2147483647 w 758"/>
              <a:gd name="T47" fmla="*/ 2147483647 h 795"/>
              <a:gd name="T48" fmla="*/ 2147483647 w 758"/>
              <a:gd name="T49" fmla="*/ 2147483647 h 795"/>
              <a:gd name="T50" fmla="*/ 2147483647 w 758"/>
              <a:gd name="T51" fmla="*/ 2147483647 h 795"/>
              <a:gd name="T52" fmla="*/ 2147483647 w 758"/>
              <a:gd name="T53" fmla="*/ 2147483647 h 795"/>
              <a:gd name="T54" fmla="*/ 2147483647 w 758"/>
              <a:gd name="T55" fmla="*/ 2147483647 h 795"/>
              <a:gd name="T56" fmla="*/ 2147483647 w 758"/>
              <a:gd name="T57" fmla="*/ 2147483647 h 795"/>
              <a:gd name="T58" fmla="*/ 2147483647 w 758"/>
              <a:gd name="T59" fmla="*/ 2147483647 h 795"/>
              <a:gd name="T60" fmla="*/ 2147483647 w 758"/>
              <a:gd name="T61" fmla="*/ 2147483647 h 795"/>
              <a:gd name="T62" fmla="*/ 2147483647 w 758"/>
              <a:gd name="T63" fmla="*/ 2147483647 h 795"/>
              <a:gd name="T64" fmla="*/ 2147483647 w 758"/>
              <a:gd name="T65" fmla="*/ 2147483647 h 795"/>
              <a:gd name="T66" fmla="*/ 2147483647 w 758"/>
              <a:gd name="T67" fmla="*/ 2147483647 h 795"/>
              <a:gd name="T68" fmla="*/ 2147483647 w 758"/>
              <a:gd name="T69" fmla="*/ 2147483647 h 795"/>
              <a:gd name="T70" fmla="*/ 2147483647 w 758"/>
              <a:gd name="T71" fmla="*/ 2147483647 h 795"/>
              <a:gd name="T72" fmla="*/ 2147483647 w 758"/>
              <a:gd name="T73" fmla="*/ 2147483647 h 795"/>
              <a:gd name="T74" fmla="*/ 2147483647 w 758"/>
              <a:gd name="T75" fmla="*/ 2147483647 h 795"/>
              <a:gd name="T76" fmla="*/ 2147483647 w 758"/>
              <a:gd name="T77" fmla="*/ 2147483647 h 795"/>
              <a:gd name="T78" fmla="*/ 2147483647 w 758"/>
              <a:gd name="T79" fmla="*/ 2147483647 h 795"/>
              <a:gd name="T80" fmla="*/ 2147483647 w 758"/>
              <a:gd name="T81" fmla="*/ 2147483647 h 795"/>
              <a:gd name="T82" fmla="*/ 2147483647 w 758"/>
              <a:gd name="T83" fmla="*/ 2147483647 h 795"/>
              <a:gd name="T84" fmla="*/ 2147483647 w 758"/>
              <a:gd name="T85" fmla="*/ 2147483647 h 795"/>
              <a:gd name="T86" fmla="*/ 2147483647 w 758"/>
              <a:gd name="T87" fmla="*/ 2147483647 h 795"/>
              <a:gd name="T88" fmla="*/ 2147483647 w 758"/>
              <a:gd name="T89" fmla="*/ 2147483647 h 795"/>
              <a:gd name="T90" fmla="*/ 2147483647 w 758"/>
              <a:gd name="T91" fmla="*/ 2147483647 h 795"/>
              <a:gd name="T92" fmla="*/ 2147483647 w 758"/>
              <a:gd name="T93" fmla="*/ 2147483647 h 795"/>
              <a:gd name="T94" fmla="*/ 2147483647 w 758"/>
              <a:gd name="T95" fmla="*/ 2147483647 h 795"/>
              <a:gd name="T96" fmla="*/ 2147483647 w 758"/>
              <a:gd name="T97" fmla="*/ 2147483647 h 795"/>
              <a:gd name="T98" fmla="*/ 2147483647 w 758"/>
              <a:gd name="T99" fmla="*/ 2147483647 h 795"/>
              <a:gd name="T100" fmla="*/ 2147483647 w 758"/>
              <a:gd name="T101" fmla="*/ 2147483647 h 795"/>
              <a:gd name="T102" fmla="*/ 2147483647 w 758"/>
              <a:gd name="T103" fmla="*/ 2147483647 h 795"/>
              <a:gd name="T104" fmla="*/ 2147483647 w 758"/>
              <a:gd name="T105" fmla="*/ 2147483647 h 795"/>
              <a:gd name="T106" fmla="*/ 2147483647 w 758"/>
              <a:gd name="T107" fmla="*/ 2147483647 h 795"/>
              <a:gd name="T108" fmla="*/ 2147483647 w 758"/>
              <a:gd name="T109" fmla="*/ 2147483647 h 795"/>
              <a:gd name="T110" fmla="*/ 2147483647 w 758"/>
              <a:gd name="T111" fmla="*/ 2147483647 h 795"/>
              <a:gd name="T112" fmla="*/ 2147483647 w 758"/>
              <a:gd name="T113" fmla="*/ 2147483647 h 795"/>
              <a:gd name="T114" fmla="*/ 2147483647 w 758"/>
              <a:gd name="T115" fmla="*/ 2147483647 h 795"/>
              <a:gd name="T116" fmla="*/ 2147483647 w 758"/>
              <a:gd name="T117" fmla="*/ 2147483647 h 795"/>
              <a:gd name="T118" fmla="*/ 0 w 758"/>
              <a:gd name="T119" fmla="*/ 2147483647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3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647815" y="4374778"/>
            <a:ext cx="119063" cy="215900"/>
          </a:xfrm>
          <a:custGeom>
            <a:avLst/>
            <a:gdLst>
              <a:gd name="T0" fmla="*/ 2147483647 w 273"/>
              <a:gd name="T1" fmla="*/ 2147483647 h 414"/>
              <a:gd name="T2" fmla="*/ 2147483647 w 273"/>
              <a:gd name="T3" fmla="*/ 2147483647 h 414"/>
              <a:gd name="T4" fmla="*/ 2147483647 w 273"/>
              <a:gd name="T5" fmla="*/ 2147483647 h 414"/>
              <a:gd name="T6" fmla="*/ 2147483647 w 273"/>
              <a:gd name="T7" fmla="*/ 2147483647 h 414"/>
              <a:gd name="T8" fmla="*/ 2147483647 w 273"/>
              <a:gd name="T9" fmla="*/ 2147483647 h 414"/>
              <a:gd name="T10" fmla="*/ 2147483647 w 273"/>
              <a:gd name="T11" fmla="*/ 2147483647 h 414"/>
              <a:gd name="T12" fmla="*/ 2147483647 w 273"/>
              <a:gd name="T13" fmla="*/ 2147483647 h 414"/>
              <a:gd name="T14" fmla="*/ 2147483647 w 273"/>
              <a:gd name="T15" fmla="*/ 2147483647 h 414"/>
              <a:gd name="T16" fmla="*/ 2147483647 w 273"/>
              <a:gd name="T17" fmla="*/ 2147483647 h 414"/>
              <a:gd name="T18" fmla="*/ 2147483647 w 273"/>
              <a:gd name="T19" fmla="*/ 2147483647 h 414"/>
              <a:gd name="T20" fmla="*/ 2147483647 w 273"/>
              <a:gd name="T21" fmla="*/ 2147483647 h 414"/>
              <a:gd name="T22" fmla="*/ 2147483647 w 273"/>
              <a:gd name="T23" fmla="*/ 2147483647 h 414"/>
              <a:gd name="T24" fmla="*/ 2147483647 w 273"/>
              <a:gd name="T25" fmla="*/ 2147483647 h 414"/>
              <a:gd name="T26" fmla="*/ 2147483647 w 273"/>
              <a:gd name="T27" fmla="*/ 2147483647 h 414"/>
              <a:gd name="T28" fmla="*/ 2147483647 w 273"/>
              <a:gd name="T29" fmla="*/ 2147483647 h 414"/>
              <a:gd name="T30" fmla="*/ 2147483647 w 273"/>
              <a:gd name="T31" fmla="*/ 2147483647 h 414"/>
              <a:gd name="T32" fmla="*/ 2147483647 w 273"/>
              <a:gd name="T33" fmla="*/ 2147483647 h 414"/>
              <a:gd name="T34" fmla="*/ 2147483647 w 273"/>
              <a:gd name="T35" fmla="*/ 2147483647 h 414"/>
              <a:gd name="T36" fmla="*/ 2147483647 w 273"/>
              <a:gd name="T37" fmla="*/ 2147483647 h 414"/>
              <a:gd name="T38" fmla="*/ 2147483647 w 273"/>
              <a:gd name="T39" fmla="*/ 2147483647 h 414"/>
              <a:gd name="T40" fmla="*/ 2147483647 w 273"/>
              <a:gd name="T41" fmla="*/ 2147483647 h 414"/>
              <a:gd name="T42" fmla="*/ 2147483647 w 273"/>
              <a:gd name="T43" fmla="*/ 2147483647 h 414"/>
              <a:gd name="T44" fmla="*/ 2147483647 w 273"/>
              <a:gd name="T45" fmla="*/ 2147483647 h 414"/>
              <a:gd name="T46" fmla="*/ 2147483647 w 273"/>
              <a:gd name="T47" fmla="*/ 2147483647 h 414"/>
              <a:gd name="T48" fmla="*/ 2147483647 w 273"/>
              <a:gd name="T49" fmla="*/ 2147483647 h 414"/>
              <a:gd name="T50" fmla="*/ 2147483647 w 273"/>
              <a:gd name="T51" fmla="*/ 2147483647 h 414"/>
              <a:gd name="T52" fmla="*/ 2147483647 w 273"/>
              <a:gd name="T53" fmla="*/ 2147483647 h 414"/>
              <a:gd name="T54" fmla="*/ 2147483647 w 273"/>
              <a:gd name="T55" fmla="*/ 2147483647 h 414"/>
              <a:gd name="T56" fmla="*/ 2147483647 w 273"/>
              <a:gd name="T57" fmla="*/ 2147483647 h 414"/>
              <a:gd name="T58" fmla="*/ 2147483647 w 273"/>
              <a:gd name="T59" fmla="*/ 2147483647 h 414"/>
              <a:gd name="T60" fmla="*/ 2147483647 w 273"/>
              <a:gd name="T61" fmla="*/ 2147483647 h 414"/>
              <a:gd name="T62" fmla="*/ 2147483647 w 273"/>
              <a:gd name="T63" fmla="*/ 2147483647 h 414"/>
              <a:gd name="T64" fmla="*/ 2147483647 w 273"/>
              <a:gd name="T65" fmla="*/ 2147483647 h 414"/>
              <a:gd name="T66" fmla="*/ 2147483647 w 273"/>
              <a:gd name="T67" fmla="*/ 2147483647 h 414"/>
              <a:gd name="T68" fmla="*/ 2147483647 w 273"/>
              <a:gd name="T69" fmla="*/ 2147483647 h 414"/>
              <a:gd name="T70" fmla="*/ 2147483647 w 273"/>
              <a:gd name="T71" fmla="*/ 2147483647 h 414"/>
              <a:gd name="T72" fmla="*/ 2147483647 w 273"/>
              <a:gd name="T73" fmla="*/ 2147483647 h 414"/>
              <a:gd name="T74" fmla="*/ 2147483647 w 273"/>
              <a:gd name="T75" fmla="*/ 2147483647 h 414"/>
              <a:gd name="T76" fmla="*/ 2147483647 w 273"/>
              <a:gd name="T77" fmla="*/ 2147483647 h 414"/>
              <a:gd name="T78" fmla="*/ 2147483647 w 273"/>
              <a:gd name="T79" fmla="*/ 2147483647 h 414"/>
              <a:gd name="T80" fmla="*/ 2147483647 w 273"/>
              <a:gd name="T81" fmla="*/ 2147483647 h 414"/>
              <a:gd name="T82" fmla="*/ 2147483647 w 273"/>
              <a:gd name="T83" fmla="*/ 2147483647 h 414"/>
              <a:gd name="T84" fmla="*/ 2147483647 w 273"/>
              <a:gd name="T85" fmla="*/ 2147483647 h 414"/>
              <a:gd name="T86" fmla="*/ 2147483647 w 273"/>
              <a:gd name="T87" fmla="*/ 2147483647 h 414"/>
              <a:gd name="T88" fmla="*/ 2147483647 w 273"/>
              <a:gd name="T89" fmla="*/ 2147483647 h 414"/>
              <a:gd name="T90" fmla="*/ 2147483647 w 273"/>
              <a:gd name="T91" fmla="*/ 2147483647 h 414"/>
              <a:gd name="T92" fmla="*/ 2147483647 w 273"/>
              <a:gd name="T93" fmla="*/ 2147483647 h 414"/>
              <a:gd name="T94" fmla="*/ 2147483647 w 273"/>
              <a:gd name="T95" fmla="*/ 2147483647 h 414"/>
              <a:gd name="T96" fmla="*/ 2147483647 w 273"/>
              <a:gd name="T97" fmla="*/ 2147483647 h 414"/>
              <a:gd name="T98" fmla="*/ 2147483647 w 273"/>
              <a:gd name="T99" fmla="*/ 2147483647 h 414"/>
              <a:gd name="T100" fmla="*/ 2147483647 w 273"/>
              <a:gd name="T101" fmla="*/ 2147483647 h 414"/>
              <a:gd name="T102" fmla="*/ 2147483647 w 273"/>
              <a:gd name="T103" fmla="*/ 2147483647 h 414"/>
              <a:gd name="T104" fmla="*/ 2147483647 w 273"/>
              <a:gd name="T105" fmla="*/ 2147483647 h 414"/>
              <a:gd name="T106" fmla="*/ 2147483647 w 273"/>
              <a:gd name="T107" fmla="*/ 2147483647 h 414"/>
              <a:gd name="T108" fmla="*/ 2147483647 w 273"/>
              <a:gd name="T109" fmla="*/ 2147483647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44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362065" y="4209678"/>
            <a:ext cx="323850" cy="401637"/>
            <a:chOff x="1486" y="2412"/>
            <a:chExt cx="244" cy="256"/>
          </a:xfrm>
          <a:solidFill>
            <a:schemeClr val="bg1">
              <a:lumMod val="75000"/>
            </a:schemeClr>
          </a:solidFill>
        </p:grpSpPr>
        <p:sp>
          <p:nvSpPr>
            <p:cNvPr id="12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0 h 22"/>
                <a:gd name="T4" fmla="*/ 0 w 54"/>
                <a:gd name="T5" fmla="*/ 0 h 22"/>
                <a:gd name="T6" fmla="*/ 0 w 54"/>
                <a:gd name="T7" fmla="*/ 0 h 22"/>
                <a:gd name="T8" fmla="*/ 0 w 54"/>
                <a:gd name="T9" fmla="*/ 0 h 22"/>
                <a:gd name="T10" fmla="*/ 0 w 54"/>
                <a:gd name="T11" fmla="*/ 0 h 22"/>
                <a:gd name="T12" fmla="*/ 0 w 54"/>
                <a:gd name="T13" fmla="*/ 0 h 22"/>
                <a:gd name="T14" fmla="*/ 0 w 54"/>
                <a:gd name="T15" fmla="*/ 0 h 22"/>
                <a:gd name="T16" fmla="*/ 0 w 54"/>
                <a:gd name="T17" fmla="*/ 0 h 22"/>
                <a:gd name="T18" fmla="*/ 0 w 54"/>
                <a:gd name="T19" fmla="*/ 0 h 22"/>
                <a:gd name="T20" fmla="*/ 0 w 54"/>
                <a:gd name="T21" fmla="*/ 0 h 22"/>
                <a:gd name="T22" fmla="*/ 1 w 54"/>
                <a:gd name="T23" fmla="*/ 0 h 22"/>
                <a:gd name="T24" fmla="*/ 1 w 54"/>
                <a:gd name="T25" fmla="*/ 0 h 22"/>
                <a:gd name="T26" fmla="*/ 1 w 54"/>
                <a:gd name="T27" fmla="*/ 0 h 22"/>
                <a:gd name="T28" fmla="*/ 0 w 54"/>
                <a:gd name="T29" fmla="*/ 0 h 22"/>
                <a:gd name="T30" fmla="*/ 0 w 54"/>
                <a:gd name="T31" fmla="*/ 0 h 22"/>
                <a:gd name="T32" fmla="*/ 0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0 w 6"/>
                <a:gd name="T1" fmla="*/ 0 h 24"/>
                <a:gd name="T2" fmla="*/ 0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0 h 24"/>
                <a:gd name="T10" fmla="*/ 0 w 6"/>
                <a:gd name="T11" fmla="*/ 0 h 24"/>
                <a:gd name="T12" fmla="*/ 0 w 6"/>
                <a:gd name="T13" fmla="*/ 0 h 24"/>
                <a:gd name="T14" fmla="*/ 0 w 6"/>
                <a:gd name="T15" fmla="*/ 0 h 24"/>
                <a:gd name="T16" fmla="*/ 0 w 6"/>
                <a:gd name="T17" fmla="*/ 0 h 24"/>
                <a:gd name="T18" fmla="*/ 0 w 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0 h 12"/>
                <a:gd name="T2" fmla="*/ 0 w 27"/>
                <a:gd name="T3" fmla="*/ 0 h 12"/>
                <a:gd name="T4" fmla="*/ 0 w 27"/>
                <a:gd name="T5" fmla="*/ 0 h 12"/>
                <a:gd name="T6" fmla="*/ 0 w 27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0 w 743"/>
                <a:gd name="T1" fmla="*/ 3 h 672"/>
                <a:gd name="T2" fmla="*/ 1 w 743"/>
                <a:gd name="T3" fmla="*/ 3 h 672"/>
                <a:gd name="T4" fmla="*/ 1 w 743"/>
                <a:gd name="T5" fmla="*/ 4 h 672"/>
                <a:gd name="T6" fmla="*/ 2 w 743"/>
                <a:gd name="T7" fmla="*/ 4 h 672"/>
                <a:gd name="T8" fmla="*/ 2 w 743"/>
                <a:gd name="T9" fmla="*/ 4 h 672"/>
                <a:gd name="T10" fmla="*/ 4 w 743"/>
                <a:gd name="T11" fmla="*/ 5 h 672"/>
                <a:gd name="T12" fmla="*/ 3 w 743"/>
                <a:gd name="T13" fmla="*/ 5 h 672"/>
                <a:gd name="T14" fmla="*/ 4 w 743"/>
                <a:gd name="T15" fmla="*/ 6 h 672"/>
                <a:gd name="T16" fmla="*/ 4 w 743"/>
                <a:gd name="T17" fmla="*/ 7 h 672"/>
                <a:gd name="T18" fmla="*/ 4 w 743"/>
                <a:gd name="T19" fmla="*/ 7 h 672"/>
                <a:gd name="T20" fmla="*/ 4 w 743"/>
                <a:gd name="T21" fmla="*/ 8 h 672"/>
                <a:gd name="T22" fmla="*/ 4 w 743"/>
                <a:gd name="T23" fmla="*/ 8 h 672"/>
                <a:gd name="T24" fmla="*/ 5 w 743"/>
                <a:gd name="T25" fmla="*/ 8 h 672"/>
                <a:gd name="T26" fmla="*/ 5 w 743"/>
                <a:gd name="T27" fmla="*/ 8 h 672"/>
                <a:gd name="T28" fmla="*/ 6 w 743"/>
                <a:gd name="T29" fmla="*/ 8 h 672"/>
                <a:gd name="T30" fmla="*/ 6 w 743"/>
                <a:gd name="T31" fmla="*/ 7 h 672"/>
                <a:gd name="T32" fmla="*/ 6 w 743"/>
                <a:gd name="T33" fmla="*/ 6 h 672"/>
                <a:gd name="T34" fmla="*/ 7 w 743"/>
                <a:gd name="T35" fmla="*/ 6 h 672"/>
                <a:gd name="T36" fmla="*/ 7 w 743"/>
                <a:gd name="T37" fmla="*/ 6 h 672"/>
                <a:gd name="T38" fmla="*/ 8 w 743"/>
                <a:gd name="T39" fmla="*/ 5 h 672"/>
                <a:gd name="T40" fmla="*/ 8 w 743"/>
                <a:gd name="T41" fmla="*/ 5 h 672"/>
                <a:gd name="T42" fmla="*/ 8 w 743"/>
                <a:gd name="T43" fmla="*/ 5 h 672"/>
                <a:gd name="T44" fmla="*/ 8 w 743"/>
                <a:gd name="T45" fmla="*/ 4 h 672"/>
                <a:gd name="T46" fmla="*/ 8 w 743"/>
                <a:gd name="T47" fmla="*/ 4 h 672"/>
                <a:gd name="T48" fmla="*/ 8 w 743"/>
                <a:gd name="T49" fmla="*/ 3 h 672"/>
                <a:gd name="T50" fmla="*/ 9 w 743"/>
                <a:gd name="T51" fmla="*/ 3 h 672"/>
                <a:gd name="T52" fmla="*/ 9 w 743"/>
                <a:gd name="T53" fmla="*/ 3 h 672"/>
                <a:gd name="T54" fmla="*/ 8 w 743"/>
                <a:gd name="T55" fmla="*/ 2 h 672"/>
                <a:gd name="T56" fmla="*/ 8 w 743"/>
                <a:gd name="T57" fmla="*/ 2 h 672"/>
                <a:gd name="T58" fmla="*/ 8 w 743"/>
                <a:gd name="T59" fmla="*/ 2 h 672"/>
                <a:gd name="T60" fmla="*/ 8 w 743"/>
                <a:gd name="T61" fmla="*/ 2 h 672"/>
                <a:gd name="T62" fmla="*/ 7 w 743"/>
                <a:gd name="T63" fmla="*/ 2 h 672"/>
                <a:gd name="T64" fmla="*/ 7 w 743"/>
                <a:gd name="T65" fmla="*/ 1 h 672"/>
                <a:gd name="T66" fmla="*/ 7 w 743"/>
                <a:gd name="T67" fmla="*/ 1 h 672"/>
                <a:gd name="T68" fmla="*/ 6 w 743"/>
                <a:gd name="T69" fmla="*/ 1 h 672"/>
                <a:gd name="T70" fmla="*/ 6 w 743"/>
                <a:gd name="T71" fmla="*/ 1 h 672"/>
                <a:gd name="T72" fmla="*/ 6 w 743"/>
                <a:gd name="T73" fmla="*/ 1 h 672"/>
                <a:gd name="T74" fmla="*/ 5 w 743"/>
                <a:gd name="T75" fmla="*/ 1 h 672"/>
                <a:gd name="T76" fmla="*/ 5 w 743"/>
                <a:gd name="T77" fmla="*/ 1 h 672"/>
                <a:gd name="T78" fmla="*/ 5 w 743"/>
                <a:gd name="T79" fmla="*/ 1 h 672"/>
                <a:gd name="T80" fmla="*/ 4 w 743"/>
                <a:gd name="T81" fmla="*/ 1 h 672"/>
                <a:gd name="T82" fmla="*/ 4 w 743"/>
                <a:gd name="T83" fmla="*/ 1 h 672"/>
                <a:gd name="T84" fmla="*/ 4 w 743"/>
                <a:gd name="T85" fmla="*/ 1 h 672"/>
                <a:gd name="T86" fmla="*/ 3 w 743"/>
                <a:gd name="T87" fmla="*/ 1 h 672"/>
                <a:gd name="T88" fmla="*/ 3 w 743"/>
                <a:gd name="T89" fmla="*/ 1 h 672"/>
                <a:gd name="T90" fmla="*/ 2 w 743"/>
                <a:gd name="T91" fmla="*/ 0 h 672"/>
                <a:gd name="T92" fmla="*/ 2 w 743"/>
                <a:gd name="T93" fmla="*/ 0 h 672"/>
                <a:gd name="T94" fmla="*/ 2 w 743"/>
                <a:gd name="T95" fmla="*/ 1 h 672"/>
                <a:gd name="T96" fmla="*/ 1 w 743"/>
                <a:gd name="T97" fmla="*/ 1 h 672"/>
                <a:gd name="T98" fmla="*/ 1 w 743"/>
                <a:gd name="T99" fmla="*/ 2 h 672"/>
                <a:gd name="T100" fmla="*/ 1 w 743"/>
                <a:gd name="T101" fmla="*/ 2 h 672"/>
                <a:gd name="T102" fmla="*/ 1 w 743"/>
                <a:gd name="T103" fmla="*/ 2 h 672"/>
                <a:gd name="T104" fmla="*/ 1 w 743"/>
                <a:gd name="T105" fmla="*/ 2 h 672"/>
                <a:gd name="T106" fmla="*/ 1 w 743"/>
                <a:gd name="T107" fmla="*/ 2 h 672"/>
                <a:gd name="T108" fmla="*/ 1 w 743"/>
                <a:gd name="T109" fmla="*/ 1 h 672"/>
                <a:gd name="T110" fmla="*/ 1 w 743"/>
                <a:gd name="T111" fmla="*/ 1 h 672"/>
                <a:gd name="T112" fmla="*/ 1 w 743"/>
                <a:gd name="T113" fmla="*/ 0 h 672"/>
                <a:gd name="T114" fmla="*/ 1 w 743"/>
                <a:gd name="T115" fmla="*/ 0 h 672"/>
                <a:gd name="T116" fmla="*/ 0 w 743"/>
                <a:gd name="T117" fmla="*/ 1 h 672"/>
                <a:gd name="T118" fmla="*/ 0 w 743"/>
                <a:gd name="T119" fmla="*/ 1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45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383328" y="5749553"/>
            <a:ext cx="31750" cy="11112"/>
          </a:xfrm>
          <a:custGeom>
            <a:avLst/>
            <a:gdLst>
              <a:gd name="T0" fmla="*/ 0 w 79"/>
              <a:gd name="T1" fmla="*/ 2147483647 h 23"/>
              <a:gd name="T2" fmla="*/ 2147483647 w 79"/>
              <a:gd name="T3" fmla="*/ 2147483647 h 23"/>
              <a:gd name="T4" fmla="*/ 2147483647 w 79"/>
              <a:gd name="T5" fmla="*/ 2147483647 h 23"/>
              <a:gd name="T6" fmla="*/ 2147483647 w 79"/>
              <a:gd name="T7" fmla="*/ 2147483647 h 23"/>
              <a:gd name="T8" fmla="*/ 2147483647 w 79"/>
              <a:gd name="T9" fmla="*/ 0 h 23"/>
              <a:gd name="T10" fmla="*/ 2147483647 w 79"/>
              <a:gd name="T11" fmla="*/ 0 h 23"/>
              <a:gd name="T12" fmla="*/ 2147483647 w 79"/>
              <a:gd name="T13" fmla="*/ 2147483647 h 23"/>
              <a:gd name="T14" fmla="*/ 2147483647 w 79"/>
              <a:gd name="T15" fmla="*/ 2147483647 h 23"/>
              <a:gd name="T16" fmla="*/ 2147483647 w 79"/>
              <a:gd name="T17" fmla="*/ 2147483647 h 23"/>
              <a:gd name="T18" fmla="*/ 2147483647 w 79"/>
              <a:gd name="T19" fmla="*/ 2147483647 h 23"/>
              <a:gd name="T20" fmla="*/ 2147483647 w 79"/>
              <a:gd name="T21" fmla="*/ 2147483647 h 23"/>
              <a:gd name="T22" fmla="*/ 2147483647 w 79"/>
              <a:gd name="T23" fmla="*/ 2147483647 h 23"/>
              <a:gd name="T24" fmla="*/ 2147483647 w 79"/>
              <a:gd name="T25" fmla="*/ 2147483647 h 23"/>
              <a:gd name="T26" fmla="*/ 2147483647 w 79"/>
              <a:gd name="T27" fmla="*/ 2147483647 h 23"/>
              <a:gd name="T28" fmla="*/ 2147483647 w 79"/>
              <a:gd name="T29" fmla="*/ 2147483647 h 23"/>
              <a:gd name="T30" fmla="*/ 2147483647 w 79"/>
              <a:gd name="T31" fmla="*/ 2147483647 h 23"/>
              <a:gd name="T32" fmla="*/ 2147483647 w 79"/>
              <a:gd name="T33" fmla="*/ 2147483647 h 23"/>
              <a:gd name="T34" fmla="*/ 2147483647 w 79"/>
              <a:gd name="T35" fmla="*/ 2147483647 h 23"/>
              <a:gd name="T36" fmla="*/ 2147483647 w 79"/>
              <a:gd name="T37" fmla="*/ 2147483647 h 23"/>
              <a:gd name="T38" fmla="*/ 2147483647 w 79"/>
              <a:gd name="T39" fmla="*/ 2147483647 h 23"/>
              <a:gd name="T40" fmla="*/ 2147483647 w 79"/>
              <a:gd name="T41" fmla="*/ 2147483647 h 23"/>
              <a:gd name="T42" fmla="*/ 2147483647 w 79"/>
              <a:gd name="T43" fmla="*/ 2147483647 h 23"/>
              <a:gd name="T44" fmla="*/ 2147483647 w 79"/>
              <a:gd name="T45" fmla="*/ 2147483647 h 23"/>
              <a:gd name="T46" fmla="*/ 2147483647 w 79"/>
              <a:gd name="T47" fmla="*/ 2147483647 h 23"/>
              <a:gd name="T48" fmla="*/ 0 w 79"/>
              <a:gd name="T49" fmla="*/ 2147483647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6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499215" y="588290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2147483647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7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589703" y="588131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48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589703" y="5881315"/>
            <a:ext cx="3175" cy="15875"/>
          </a:xfrm>
          <a:custGeom>
            <a:avLst/>
            <a:gdLst>
              <a:gd name="T0" fmla="*/ 0 w 5"/>
              <a:gd name="T1" fmla="*/ 0 h 30"/>
              <a:gd name="T2" fmla="*/ 2147483647 w 5"/>
              <a:gd name="T3" fmla="*/ 2147483647 h 30"/>
              <a:gd name="T4" fmla="*/ 2147483647 w 5"/>
              <a:gd name="T5" fmla="*/ 2147483647 h 30"/>
              <a:gd name="T6" fmla="*/ 2147483647 w 5"/>
              <a:gd name="T7" fmla="*/ 2147483647 h 30"/>
              <a:gd name="T8" fmla="*/ 2147483647 w 5"/>
              <a:gd name="T9" fmla="*/ 2147483647 h 30"/>
              <a:gd name="T10" fmla="*/ 2147483647 w 5"/>
              <a:gd name="T11" fmla="*/ 2147483647 h 30"/>
              <a:gd name="T12" fmla="*/ 2147483647 w 5"/>
              <a:gd name="T13" fmla="*/ 2147483647 h 30"/>
              <a:gd name="T14" fmla="*/ 2147483647 w 5"/>
              <a:gd name="T15" fmla="*/ 2147483647 h 30"/>
              <a:gd name="T16" fmla="*/ 0 w 5"/>
              <a:gd name="T17" fmla="*/ 2147483647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9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888153" y="5351090"/>
            <a:ext cx="22225" cy="28575"/>
          </a:xfrm>
          <a:custGeom>
            <a:avLst/>
            <a:gdLst>
              <a:gd name="T0" fmla="*/ 0 w 53"/>
              <a:gd name="T1" fmla="*/ 2147483647 h 55"/>
              <a:gd name="T2" fmla="*/ 2147483647 w 53"/>
              <a:gd name="T3" fmla="*/ 2147483647 h 55"/>
              <a:gd name="T4" fmla="*/ 2147483647 w 53"/>
              <a:gd name="T5" fmla="*/ 2147483647 h 55"/>
              <a:gd name="T6" fmla="*/ 2147483647 w 53"/>
              <a:gd name="T7" fmla="*/ 2147483647 h 55"/>
              <a:gd name="T8" fmla="*/ 2147483647 w 53"/>
              <a:gd name="T9" fmla="*/ 2147483647 h 55"/>
              <a:gd name="T10" fmla="*/ 2147483647 w 53"/>
              <a:gd name="T11" fmla="*/ 2147483647 h 55"/>
              <a:gd name="T12" fmla="*/ 2147483647 w 53"/>
              <a:gd name="T13" fmla="*/ 2147483647 h 55"/>
              <a:gd name="T14" fmla="*/ 2147483647 w 53"/>
              <a:gd name="T15" fmla="*/ 2147483647 h 55"/>
              <a:gd name="T16" fmla="*/ 2147483647 w 53"/>
              <a:gd name="T17" fmla="*/ 2147483647 h 55"/>
              <a:gd name="T18" fmla="*/ 2147483647 w 53"/>
              <a:gd name="T19" fmla="*/ 2147483647 h 55"/>
              <a:gd name="T20" fmla="*/ 2147483647 w 53"/>
              <a:gd name="T21" fmla="*/ 2147483647 h 55"/>
              <a:gd name="T22" fmla="*/ 2147483647 w 53"/>
              <a:gd name="T23" fmla="*/ 2147483647 h 55"/>
              <a:gd name="T24" fmla="*/ 2147483647 w 53"/>
              <a:gd name="T25" fmla="*/ 2147483647 h 55"/>
              <a:gd name="T26" fmla="*/ 2147483647 w 53"/>
              <a:gd name="T27" fmla="*/ 0 h 55"/>
              <a:gd name="T28" fmla="*/ 2147483647 w 53"/>
              <a:gd name="T29" fmla="*/ 2147483647 h 55"/>
              <a:gd name="T30" fmla="*/ 0 w 53"/>
              <a:gd name="T31" fmla="*/ 2147483647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0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894503" y="5278065"/>
            <a:ext cx="26987" cy="39688"/>
          </a:xfrm>
          <a:custGeom>
            <a:avLst/>
            <a:gdLst>
              <a:gd name="T0" fmla="*/ 0 w 65"/>
              <a:gd name="T1" fmla="*/ 2147483647 h 75"/>
              <a:gd name="T2" fmla="*/ 2147483647 w 65"/>
              <a:gd name="T3" fmla="*/ 2147483647 h 75"/>
              <a:gd name="T4" fmla="*/ 2147483647 w 65"/>
              <a:gd name="T5" fmla="*/ 2147483647 h 75"/>
              <a:gd name="T6" fmla="*/ 2147483647 w 65"/>
              <a:gd name="T7" fmla="*/ 2147483647 h 75"/>
              <a:gd name="T8" fmla="*/ 2147483647 w 65"/>
              <a:gd name="T9" fmla="*/ 2147483647 h 75"/>
              <a:gd name="T10" fmla="*/ 2147483647 w 65"/>
              <a:gd name="T11" fmla="*/ 2147483647 h 75"/>
              <a:gd name="T12" fmla="*/ 2147483647 w 65"/>
              <a:gd name="T13" fmla="*/ 2147483647 h 75"/>
              <a:gd name="T14" fmla="*/ 2147483647 w 65"/>
              <a:gd name="T15" fmla="*/ 2147483647 h 75"/>
              <a:gd name="T16" fmla="*/ 2147483647 w 65"/>
              <a:gd name="T17" fmla="*/ 2147483647 h 75"/>
              <a:gd name="T18" fmla="*/ 2147483647 w 65"/>
              <a:gd name="T19" fmla="*/ 2147483647 h 75"/>
              <a:gd name="T20" fmla="*/ 2147483647 w 65"/>
              <a:gd name="T21" fmla="*/ 2147483647 h 75"/>
              <a:gd name="T22" fmla="*/ 2147483647 w 65"/>
              <a:gd name="T23" fmla="*/ 2147483647 h 75"/>
              <a:gd name="T24" fmla="*/ 2147483647 w 65"/>
              <a:gd name="T25" fmla="*/ 2147483647 h 75"/>
              <a:gd name="T26" fmla="*/ 2147483647 w 65"/>
              <a:gd name="T27" fmla="*/ 2147483647 h 75"/>
              <a:gd name="T28" fmla="*/ 2147483647 w 65"/>
              <a:gd name="T29" fmla="*/ 2147483647 h 75"/>
              <a:gd name="T30" fmla="*/ 2147483647 w 65"/>
              <a:gd name="T31" fmla="*/ 2147483647 h 75"/>
              <a:gd name="T32" fmla="*/ 2147483647 w 65"/>
              <a:gd name="T33" fmla="*/ 2147483647 h 75"/>
              <a:gd name="T34" fmla="*/ 2147483647 w 65"/>
              <a:gd name="T35" fmla="*/ 2147483647 h 75"/>
              <a:gd name="T36" fmla="*/ 2147483647 w 65"/>
              <a:gd name="T37" fmla="*/ 0 h 75"/>
              <a:gd name="T38" fmla="*/ 2147483647 w 65"/>
              <a:gd name="T39" fmla="*/ 0 h 75"/>
              <a:gd name="T40" fmla="*/ 2147483647 w 65"/>
              <a:gd name="T41" fmla="*/ 0 h 75"/>
              <a:gd name="T42" fmla="*/ 2147483647 w 65"/>
              <a:gd name="T43" fmla="*/ 2147483647 h 75"/>
              <a:gd name="T44" fmla="*/ 2147483647 w 65"/>
              <a:gd name="T45" fmla="*/ 2147483647 h 75"/>
              <a:gd name="T46" fmla="*/ 2147483647 w 65"/>
              <a:gd name="T47" fmla="*/ 2147483647 h 75"/>
              <a:gd name="T48" fmla="*/ 2147483647 w 65"/>
              <a:gd name="T49" fmla="*/ 2147483647 h 75"/>
              <a:gd name="T50" fmla="*/ 2147483647 w 65"/>
              <a:gd name="T51" fmla="*/ 2147483647 h 75"/>
              <a:gd name="T52" fmla="*/ 2147483647 w 65"/>
              <a:gd name="T53" fmla="*/ 2147483647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1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870690" y="5254253"/>
            <a:ext cx="17463" cy="30162"/>
          </a:xfrm>
          <a:custGeom>
            <a:avLst/>
            <a:gdLst>
              <a:gd name="T0" fmla="*/ 0 w 40"/>
              <a:gd name="T1" fmla="*/ 2147483647 h 62"/>
              <a:gd name="T2" fmla="*/ 2147483647 w 40"/>
              <a:gd name="T3" fmla="*/ 2147483647 h 62"/>
              <a:gd name="T4" fmla="*/ 2147483647 w 40"/>
              <a:gd name="T5" fmla="*/ 2147483647 h 62"/>
              <a:gd name="T6" fmla="*/ 2147483647 w 40"/>
              <a:gd name="T7" fmla="*/ 2147483647 h 62"/>
              <a:gd name="T8" fmla="*/ 2147483647 w 40"/>
              <a:gd name="T9" fmla="*/ 2147483647 h 62"/>
              <a:gd name="T10" fmla="*/ 2147483647 w 40"/>
              <a:gd name="T11" fmla="*/ 2147483647 h 62"/>
              <a:gd name="T12" fmla="*/ 2147483647 w 40"/>
              <a:gd name="T13" fmla="*/ 2147483647 h 62"/>
              <a:gd name="T14" fmla="*/ 2147483647 w 40"/>
              <a:gd name="T15" fmla="*/ 2147483647 h 62"/>
              <a:gd name="T16" fmla="*/ 2147483647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2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789728" y="5132015"/>
            <a:ext cx="68262" cy="138113"/>
          </a:xfrm>
          <a:custGeom>
            <a:avLst/>
            <a:gdLst>
              <a:gd name="T0" fmla="*/ 2147483647 w 159"/>
              <a:gd name="T1" fmla="*/ 2147483647 h 259"/>
              <a:gd name="T2" fmla="*/ 2147483647 w 159"/>
              <a:gd name="T3" fmla="*/ 2147483647 h 259"/>
              <a:gd name="T4" fmla="*/ 2147483647 w 159"/>
              <a:gd name="T5" fmla="*/ 2147483647 h 259"/>
              <a:gd name="T6" fmla="*/ 2147483647 w 159"/>
              <a:gd name="T7" fmla="*/ 2147483647 h 259"/>
              <a:gd name="T8" fmla="*/ 2147483647 w 159"/>
              <a:gd name="T9" fmla="*/ 2147483647 h 259"/>
              <a:gd name="T10" fmla="*/ 2147483647 w 159"/>
              <a:gd name="T11" fmla="*/ 2147483647 h 259"/>
              <a:gd name="T12" fmla="*/ 2147483647 w 159"/>
              <a:gd name="T13" fmla="*/ 2147483647 h 259"/>
              <a:gd name="T14" fmla="*/ 2147483647 w 159"/>
              <a:gd name="T15" fmla="*/ 2147483647 h 259"/>
              <a:gd name="T16" fmla="*/ 2147483647 w 159"/>
              <a:gd name="T17" fmla="*/ 2147483647 h 259"/>
              <a:gd name="T18" fmla="*/ 2147483647 w 159"/>
              <a:gd name="T19" fmla="*/ 2147483647 h 259"/>
              <a:gd name="T20" fmla="*/ 2147483647 w 159"/>
              <a:gd name="T21" fmla="*/ 2147483647 h 259"/>
              <a:gd name="T22" fmla="*/ 2147483647 w 159"/>
              <a:gd name="T23" fmla="*/ 2147483647 h 259"/>
              <a:gd name="T24" fmla="*/ 2147483647 w 159"/>
              <a:gd name="T25" fmla="*/ 2147483647 h 259"/>
              <a:gd name="T26" fmla="*/ 2147483647 w 159"/>
              <a:gd name="T27" fmla="*/ 2147483647 h 259"/>
              <a:gd name="T28" fmla="*/ 2147483647 w 159"/>
              <a:gd name="T29" fmla="*/ 2147483647 h 259"/>
              <a:gd name="T30" fmla="*/ 2147483647 w 159"/>
              <a:gd name="T31" fmla="*/ 2147483647 h 259"/>
              <a:gd name="T32" fmla="*/ 2147483647 w 159"/>
              <a:gd name="T33" fmla="*/ 2147483647 h 259"/>
              <a:gd name="T34" fmla="*/ 2147483647 w 159"/>
              <a:gd name="T35" fmla="*/ 2147483647 h 259"/>
              <a:gd name="T36" fmla="*/ 2147483647 w 159"/>
              <a:gd name="T37" fmla="*/ 2147483647 h 259"/>
              <a:gd name="T38" fmla="*/ 2147483647 w 159"/>
              <a:gd name="T39" fmla="*/ 2147483647 h 259"/>
              <a:gd name="T40" fmla="*/ 2147483647 w 159"/>
              <a:gd name="T41" fmla="*/ 2147483647 h 259"/>
              <a:gd name="T42" fmla="*/ 2147483647 w 159"/>
              <a:gd name="T43" fmla="*/ 2147483647 h 259"/>
              <a:gd name="T44" fmla="*/ 2147483647 w 159"/>
              <a:gd name="T45" fmla="*/ 2147483647 h 259"/>
              <a:gd name="T46" fmla="*/ 2147483647 w 159"/>
              <a:gd name="T47" fmla="*/ 2147483647 h 259"/>
              <a:gd name="T48" fmla="*/ 2147483647 w 159"/>
              <a:gd name="T49" fmla="*/ 2147483647 h 259"/>
              <a:gd name="T50" fmla="*/ 2147483647 w 159"/>
              <a:gd name="T51" fmla="*/ 2147483647 h 259"/>
              <a:gd name="T52" fmla="*/ 2147483647 w 159"/>
              <a:gd name="T53" fmla="*/ 2147483647 h 259"/>
              <a:gd name="T54" fmla="*/ 2147483647 w 159"/>
              <a:gd name="T55" fmla="*/ 2147483647 h 259"/>
              <a:gd name="T56" fmla="*/ 2147483647 w 159"/>
              <a:gd name="T57" fmla="*/ 2147483647 h 259"/>
              <a:gd name="T58" fmla="*/ 2147483647 w 159"/>
              <a:gd name="T59" fmla="*/ 2147483647 h 259"/>
              <a:gd name="T60" fmla="*/ 2147483647 w 159"/>
              <a:gd name="T61" fmla="*/ 2147483647 h 259"/>
              <a:gd name="T62" fmla="*/ 2147483647 w 159"/>
              <a:gd name="T63" fmla="*/ 2147483647 h 259"/>
              <a:gd name="T64" fmla="*/ 2147483647 w 159"/>
              <a:gd name="T65" fmla="*/ 2147483647 h 259"/>
              <a:gd name="T66" fmla="*/ 2147483647 w 159"/>
              <a:gd name="T67" fmla="*/ 2147483647 h 259"/>
              <a:gd name="T68" fmla="*/ 2147483647 w 159"/>
              <a:gd name="T69" fmla="*/ 2147483647 h 259"/>
              <a:gd name="T70" fmla="*/ 0 w 159"/>
              <a:gd name="T71" fmla="*/ 2147483647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3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783378" y="509867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54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783378" y="5082803"/>
            <a:ext cx="6350" cy="15875"/>
          </a:xfrm>
          <a:custGeom>
            <a:avLst/>
            <a:gdLst>
              <a:gd name="T0" fmla="*/ 0 w 13"/>
              <a:gd name="T1" fmla="*/ 2147483647 h 25"/>
              <a:gd name="T2" fmla="*/ 2147483647 w 13"/>
              <a:gd name="T3" fmla="*/ 2147483647 h 25"/>
              <a:gd name="T4" fmla="*/ 2147483647 w 13"/>
              <a:gd name="T5" fmla="*/ 2147483647 h 25"/>
              <a:gd name="T6" fmla="*/ 2147483647 w 13"/>
              <a:gd name="T7" fmla="*/ 2147483647 h 25"/>
              <a:gd name="T8" fmla="*/ 2147483647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5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789728" y="507010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56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743690" y="5003428"/>
            <a:ext cx="46038" cy="66675"/>
          </a:xfrm>
          <a:custGeom>
            <a:avLst/>
            <a:gdLst>
              <a:gd name="T0" fmla="*/ 2147483647 w 100"/>
              <a:gd name="T1" fmla="*/ 2147483647 h 123"/>
              <a:gd name="T2" fmla="*/ 2147483647 w 100"/>
              <a:gd name="T3" fmla="*/ 2147483647 h 123"/>
              <a:gd name="T4" fmla="*/ 2147483647 w 100"/>
              <a:gd name="T5" fmla="*/ 2147483647 h 123"/>
              <a:gd name="T6" fmla="*/ 2147483647 w 100"/>
              <a:gd name="T7" fmla="*/ 2147483647 h 123"/>
              <a:gd name="T8" fmla="*/ 2147483647 w 100"/>
              <a:gd name="T9" fmla="*/ 2147483647 h 123"/>
              <a:gd name="T10" fmla="*/ 2147483647 w 100"/>
              <a:gd name="T11" fmla="*/ 2147483647 h 123"/>
              <a:gd name="T12" fmla="*/ 2147483647 w 100"/>
              <a:gd name="T13" fmla="*/ 2147483647 h 123"/>
              <a:gd name="T14" fmla="*/ 2147483647 w 100"/>
              <a:gd name="T15" fmla="*/ 2147483647 h 123"/>
              <a:gd name="T16" fmla="*/ 2147483647 w 100"/>
              <a:gd name="T17" fmla="*/ 2147483647 h 123"/>
              <a:gd name="T18" fmla="*/ 2147483647 w 100"/>
              <a:gd name="T19" fmla="*/ 2147483647 h 123"/>
              <a:gd name="T20" fmla="*/ 2147483647 w 100"/>
              <a:gd name="T21" fmla="*/ 2147483647 h 123"/>
              <a:gd name="T22" fmla="*/ 2147483647 w 100"/>
              <a:gd name="T23" fmla="*/ 2147483647 h 123"/>
              <a:gd name="T24" fmla="*/ 0 w 100"/>
              <a:gd name="T25" fmla="*/ 2147483647 h 123"/>
              <a:gd name="T26" fmla="*/ 2147483647 w 100"/>
              <a:gd name="T27" fmla="*/ 2147483647 h 123"/>
              <a:gd name="T28" fmla="*/ 2147483647 w 100"/>
              <a:gd name="T29" fmla="*/ 2147483647 h 123"/>
              <a:gd name="T30" fmla="*/ 2147483647 w 100"/>
              <a:gd name="T31" fmla="*/ 2147483647 h 123"/>
              <a:gd name="T32" fmla="*/ 2147483647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7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757978" y="4946278"/>
            <a:ext cx="1587" cy="50800"/>
          </a:xfrm>
          <a:custGeom>
            <a:avLst/>
            <a:gdLst>
              <a:gd name="T0" fmla="*/ 2147483647 w 5"/>
              <a:gd name="T1" fmla="*/ 0 h 99"/>
              <a:gd name="T2" fmla="*/ 2147483647 w 5"/>
              <a:gd name="T3" fmla="*/ 2147483647 h 99"/>
              <a:gd name="T4" fmla="*/ 2147483647 w 5"/>
              <a:gd name="T5" fmla="*/ 2147483647 h 99"/>
              <a:gd name="T6" fmla="*/ 0 w 5"/>
              <a:gd name="T7" fmla="*/ 2147483647 h 99"/>
              <a:gd name="T8" fmla="*/ 0 w 5"/>
              <a:gd name="T9" fmla="*/ 2147483647 h 99"/>
              <a:gd name="T10" fmla="*/ 2147483647 w 5"/>
              <a:gd name="T11" fmla="*/ 2147483647 h 99"/>
              <a:gd name="T12" fmla="*/ 2147483647 w 5"/>
              <a:gd name="T13" fmla="*/ 2147483647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8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764328" y="4939928"/>
            <a:ext cx="7937" cy="36512"/>
          </a:xfrm>
          <a:custGeom>
            <a:avLst/>
            <a:gdLst>
              <a:gd name="T0" fmla="*/ 2147483647 w 14"/>
              <a:gd name="T1" fmla="*/ 0 h 68"/>
              <a:gd name="T2" fmla="*/ 2147483647 w 14"/>
              <a:gd name="T3" fmla="*/ 2147483647 h 68"/>
              <a:gd name="T4" fmla="*/ 2147483647 w 14"/>
              <a:gd name="T5" fmla="*/ 2147483647 h 68"/>
              <a:gd name="T6" fmla="*/ 2147483647 w 14"/>
              <a:gd name="T7" fmla="*/ 2147483647 h 68"/>
              <a:gd name="T8" fmla="*/ 0 w 14"/>
              <a:gd name="T9" fmla="*/ 2147483647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9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780203" y="492087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2147483647 h 43"/>
              <a:gd name="T4" fmla="*/ 0 w 1587"/>
              <a:gd name="T5" fmla="*/ 2147483647 h 43"/>
              <a:gd name="T6" fmla="*/ 0 w 1587"/>
              <a:gd name="T7" fmla="*/ 2147483647 h 43"/>
              <a:gd name="T8" fmla="*/ 0 w 1587"/>
              <a:gd name="T9" fmla="*/ 2147483647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0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780203" y="493992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61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764328" y="4924053"/>
            <a:ext cx="1587" cy="15875"/>
          </a:xfrm>
          <a:custGeom>
            <a:avLst/>
            <a:gdLst>
              <a:gd name="T0" fmla="*/ 0 w 1587"/>
              <a:gd name="T1" fmla="*/ 2147483647 h 31"/>
              <a:gd name="T2" fmla="*/ 0 w 1587"/>
              <a:gd name="T3" fmla="*/ 2147483647 h 31"/>
              <a:gd name="T4" fmla="*/ 0 w 1587"/>
              <a:gd name="T5" fmla="*/ 2147483647 h 31"/>
              <a:gd name="T6" fmla="*/ 0 w 1587"/>
              <a:gd name="T7" fmla="*/ 214748364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2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484928" y="5913065"/>
            <a:ext cx="96837" cy="87313"/>
          </a:xfrm>
          <a:custGeom>
            <a:avLst/>
            <a:gdLst>
              <a:gd name="T0" fmla="*/ 2147483647 w 225"/>
              <a:gd name="T1" fmla="*/ 2147483647 h 167"/>
              <a:gd name="T2" fmla="*/ 2147483647 w 225"/>
              <a:gd name="T3" fmla="*/ 2147483647 h 167"/>
              <a:gd name="T4" fmla="*/ 0 w 225"/>
              <a:gd name="T5" fmla="*/ 2147483647 h 167"/>
              <a:gd name="T6" fmla="*/ 2147483647 w 225"/>
              <a:gd name="T7" fmla="*/ 2147483647 h 167"/>
              <a:gd name="T8" fmla="*/ 2147483647 w 225"/>
              <a:gd name="T9" fmla="*/ 2147483647 h 167"/>
              <a:gd name="T10" fmla="*/ 2147483647 w 225"/>
              <a:gd name="T11" fmla="*/ 2147483647 h 167"/>
              <a:gd name="T12" fmla="*/ 2147483647 w 225"/>
              <a:gd name="T13" fmla="*/ 2147483647 h 167"/>
              <a:gd name="T14" fmla="*/ 2147483647 w 225"/>
              <a:gd name="T15" fmla="*/ 2147483647 h 167"/>
              <a:gd name="T16" fmla="*/ 2147483647 w 225"/>
              <a:gd name="T17" fmla="*/ 2147483647 h 167"/>
              <a:gd name="T18" fmla="*/ 2147483647 w 225"/>
              <a:gd name="T19" fmla="*/ 2147483647 h 167"/>
              <a:gd name="T20" fmla="*/ 2147483647 w 225"/>
              <a:gd name="T21" fmla="*/ 2147483647 h 167"/>
              <a:gd name="T22" fmla="*/ 2147483647 w 225"/>
              <a:gd name="T23" fmla="*/ 2147483647 h 167"/>
              <a:gd name="T24" fmla="*/ 2147483647 w 225"/>
              <a:gd name="T25" fmla="*/ 2147483647 h 167"/>
              <a:gd name="T26" fmla="*/ 2147483647 w 225"/>
              <a:gd name="T27" fmla="*/ 2147483647 h 167"/>
              <a:gd name="T28" fmla="*/ 2147483647 w 225"/>
              <a:gd name="T29" fmla="*/ 2147483647 h 167"/>
              <a:gd name="T30" fmla="*/ 2147483647 w 225"/>
              <a:gd name="T31" fmla="*/ 2147483647 h 167"/>
              <a:gd name="T32" fmla="*/ 2147483647 w 225"/>
              <a:gd name="T33" fmla="*/ 2147483647 h 167"/>
              <a:gd name="T34" fmla="*/ 2147483647 w 225"/>
              <a:gd name="T35" fmla="*/ 0 h 167"/>
              <a:gd name="T36" fmla="*/ 2147483647 w 225"/>
              <a:gd name="T37" fmla="*/ 2147483647 h 167"/>
              <a:gd name="T38" fmla="*/ 2147483647 w 225"/>
              <a:gd name="T39" fmla="*/ 2147483647 h 167"/>
              <a:gd name="T40" fmla="*/ 2147483647 w 225"/>
              <a:gd name="T41" fmla="*/ 2147483647 h 167"/>
              <a:gd name="T42" fmla="*/ 2147483647 w 225"/>
              <a:gd name="T43" fmla="*/ 2147483647 h 167"/>
              <a:gd name="T44" fmla="*/ 2147483647 w 225"/>
              <a:gd name="T45" fmla="*/ 2147483647 h 167"/>
              <a:gd name="T46" fmla="*/ 2147483647 w 225"/>
              <a:gd name="T47" fmla="*/ 2147483647 h 167"/>
              <a:gd name="T48" fmla="*/ 2147483647 w 225"/>
              <a:gd name="T49" fmla="*/ 2147483647 h 167"/>
              <a:gd name="T50" fmla="*/ 2147483647 w 225"/>
              <a:gd name="T51" fmla="*/ 2147483647 h 167"/>
              <a:gd name="T52" fmla="*/ 2147483647 w 225"/>
              <a:gd name="T53" fmla="*/ 2147483647 h 167"/>
              <a:gd name="T54" fmla="*/ 2147483647 w 225"/>
              <a:gd name="T55" fmla="*/ 2147483647 h 167"/>
              <a:gd name="T56" fmla="*/ 2147483647 w 225"/>
              <a:gd name="T57" fmla="*/ 2147483647 h 167"/>
              <a:gd name="T58" fmla="*/ 2147483647 w 225"/>
              <a:gd name="T59" fmla="*/ 2147483647 h 167"/>
              <a:gd name="T60" fmla="*/ 2147483647 w 225"/>
              <a:gd name="T61" fmla="*/ 2147483647 h 167"/>
              <a:gd name="T62" fmla="*/ 2147483647 w 225"/>
              <a:gd name="T63" fmla="*/ 2147483647 h 167"/>
              <a:gd name="T64" fmla="*/ 2147483647 w 225"/>
              <a:gd name="T65" fmla="*/ 2147483647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3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623040" y="5132015"/>
            <a:ext cx="3175" cy="17463"/>
          </a:xfrm>
          <a:custGeom>
            <a:avLst/>
            <a:gdLst>
              <a:gd name="T0" fmla="*/ 0 w 7"/>
              <a:gd name="T1" fmla="*/ 2147483647 h 31"/>
              <a:gd name="T2" fmla="*/ 2147483647 w 7"/>
              <a:gd name="T3" fmla="*/ 2147483647 h 31"/>
              <a:gd name="T4" fmla="*/ 2147483647 w 7"/>
              <a:gd name="T5" fmla="*/ 2147483647 h 31"/>
              <a:gd name="T6" fmla="*/ 2147483647 w 7"/>
              <a:gd name="T7" fmla="*/ 2147483647 h 31"/>
              <a:gd name="T8" fmla="*/ 2147483647 w 7"/>
              <a:gd name="T9" fmla="*/ 0 h 31"/>
              <a:gd name="T10" fmla="*/ 2147483647 w 7"/>
              <a:gd name="T11" fmla="*/ 2147483647 h 31"/>
              <a:gd name="T12" fmla="*/ 2147483647 w 7"/>
              <a:gd name="T13" fmla="*/ 2147483647 h 31"/>
              <a:gd name="T14" fmla="*/ 2147483647 w 7"/>
              <a:gd name="T15" fmla="*/ 2147483647 h 31"/>
              <a:gd name="T16" fmla="*/ 0 w 7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4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556365" y="5054228"/>
            <a:ext cx="15875" cy="15875"/>
          </a:xfrm>
          <a:custGeom>
            <a:avLst/>
            <a:gdLst>
              <a:gd name="T0" fmla="*/ 2147483647 w 33"/>
              <a:gd name="T1" fmla="*/ 2147483647 h 31"/>
              <a:gd name="T2" fmla="*/ 2147483647 w 33"/>
              <a:gd name="T3" fmla="*/ 0 h 31"/>
              <a:gd name="T4" fmla="*/ 2147483647 w 33"/>
              <a:gd name="T5" fmla="*/ 0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0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2147483647 w 33"/>
              <a:gd name="T29" fmla="*/ 2147483647 h 31"/>
              <a:gd name="T30" fmla="*/ 2147483647 w 33"/>
              <a:gd name="T31" fmla="*/ 2147483647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5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572240" y="4966915"/>
            <a:ext cx="3175" cy="9525"/>
          </a:xfrm>
          <a:custGeom>
            <a:avLst/>
            <a:gdLst>
              <a:gd name="T0" fmla="*/ 0 w 13"/>
              <a:gd name="T1" fmla="*/ 2147483647 h 19"/>
              <a:gd name="T2" fmla="*/ 2147483647 w 13"/>
              <a:gd name="T3" fmla="*/ 2147483647 h 19"/>
              <a:gd name="T4" fmla="*/ 2147483647 w 13"/>
              <a:gd name="T5" fmla="*/ 2147483647 h 19"/>
              <a:gd name="T6" fmla="*/ 2147483647 w 13"/>
              <a:gd name="T7" fmla="*/ 2147483647 h 19"/>
              <a:gd name="T8" fmla="*/ 2147483647 w 13"/>
              <a:gd name="T9" fmla="*/ 2147483647 h 19"/>
              <a:gd name="T10" fmla="*/ 2147483647 w 13"/>
              <a:gd name="T11" fmla="*/ 2147483647 h 19"/>
              <a:gd name="T12" fmla="*/ 2147483647 w 13"/>
              <a:gd name="T13" fmla="*/ 0 h 19"/>
              <a:gd name="T14" fmla="*/ 0 w 13"/>
              <a:gd name="T15" fmla="*/ 2147483647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6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411903" y="4970090"/>
            <a:ext cx="36512" cy="22225"/>
          </a:xfrm>
          <a:custGeom>
            <a:avLst/>
            <a:gdLst>
              <a:gd name="T0" fmla="*/ 2147483647 w 87"/>
              <a:gd name="T1" fmla="*/ 2147483647 h 42"/>
              <a:gd name="T2" fmla="*/ 2147483647 w 87"/>
              <a:gd name="T3" fmla="*/ 2147483647 h 42"/>
              <a:gd name="T4" fmla="*/ 2147483647 w 87"/>
              <a:gd name="T5" fmla="*/ 2147483647 h 42"/>
              <a:gd name="T6" fmla="*/ 2147483647 w 87"/>
              <a:gd name="T7" fmla="*/ 2147483647 h 42"/>
              <a:gd name="T8" fmla="*/ 2147483647 w 87"/>
              <a:gd name="T9" fmla="*/ 2147483647 h 42"/>
              <a:gd name="T10" fmla="*/ 2147483647 w 87"/>
              <a:gd name="T11" fmla="*/ 2147483647 h 42"/>
              <a:gd name="T12" fmla="*/ 2147483647 w 87"/>
              <a:gd name="T13" fmla="*/ 2147483647 h 42"/>
              <a:gd name="T14" fmla="*/ 2147483647 w 87"/>
              <a:gd name="T15" fmla="*/ 2147483647 h 42"/>
              <a:gd name="T16" fmla="*/ 2147483647 w 87"/>
              <a:gd name="T17" fmla="*/ 2147483647 h 42"/>
              <a:gd name="T18" fmla="*/ 2147483647 w 87"/>
              <a:gd name="T19" fmla="*/ 2147483647 h 42"/>
              <a:gd name="T20" fmla="*/ 2147483647 w 87"/>
              <a:gd name="T21" fmla="*/ 2147483647 h 42"/>
              <a:gd name="T22" fmla="*/ 2147483647 w 87"/>
              <a:gd name="T23" fmla="*/ 2147483647 h 42"/>
              <a:gd name="T24" fmla="*/ 2147483647 w 87"/>
              <a:gd name="T25" fmla="*/ 0 h 42"/>
              <a:gd name="T26" fmla="*/ 2147483647 w 87"/>
              <a:gd name="T27" fmla="*/ 0 h 42"/>
              <a:gd name="T28" fmla="*/ 2147483647 w 87"/>
              <a:gd name="T29" fmla="*/ 0 h 42"/>
              <a:gd name="T30" fmla="*/ 2147483647 w 87"/>
              <a:gd name="T31" fmla="*/ 0 h 42"/>
              <a:gd name="T32" fmla="*/ 2147483647 w 87"/>
              <a:gd name="T33" fmla="*/ 2147483647 h 42"/>
              <a:gd name="T34" fmla="*/ 2147483647 w 87"/>
              <a:gd name="T35" fmla="*/ 2147483647 h 42"/>
              <a:gd name="T36" fmla="*/ 2147483647 w 87"/>
              <a:gd name="T37" fmla="*/ 2147483647 h 42"/>
              <a:gd name="T38" fmla="*/ 2147483647 w 87"/>
              <a:gd name="T39" fmla="*/ 2147483647 h 42"/>
              <a:gd name="T40" fmla="*/ 0 w 87"/>
              <a:gd name="T41" fmla="*/ 2147483647 h 42"/>
              <a:gd name="T42" fmla="*/ 2147483647 w 87"/>
              <a:gd name="T43" fmla="*/ 2147483647 h 42"/>
              <a:gd name="T44" fmla="*/ 2147483647 w 87"/>
              <a:gd name="T45" fmla="*/ 2147483647 h 42"/>
              <a:gd name="T46" fmla="*/ 2147483647 w 87"/>
              <a:gd name="T47" fmla="*/ 2147483647 h 42"/>
              <a:gd name="T48" fmla="*/ 2147483647 w 87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7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656378" y="5433640"/>
            <a:ext cx="1587" cy="14288"/>
          </a:xfrm>
          <a:custGeom>
            <a:avLst/>
            <a:gdLst>
              <a:gd name="T0" fmla="*/ 0 w 7"/>
              <a:gd name="T1" fmla="*/ 0 h 31"/>
              <a:gd name="T2" fmla="*/ 2147483647 w 7"/>
              <a:gd name="T3" fmla="*/ 0 h 31"/>
              <a:gd name="T4" fmla="*/ 2147483647 w 7"/>
              <a:gd name="T5" fmla="*/ 2147483647 h 31"/>
              <a:gd name="T6" fmla="*/ 0 w 7"/>
              <a:gd name="T7" fmla="*/ 2147483647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8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892790" y="4939928"/>
            <a:ext cx="1019175" cy="908050"/>
          </a:xfrm>
          <a:custGeom>
            <a:avLst/>
            <a:gdLst>
              <a:gd name="T0" fmla="*/ 2147483647 w 2332"/>
              <a:gd name="T1" fmla="*/ 2147483647 h 1731"/>
              <a:gd name="T2" fmla="*/ 2147483647 w 2332"/>
              <a:gd name="T3" fmla="*/ 2147483647 h 1731"/>
              <a:gd name="T4" fmla="*/ 2147483647 w 2332"/>
              <a:gd name="T5" fmla="*/ 2147483647 h 1731"/>
              <a:gd name="T6" fmla="*/ 2147483647 w 2332"/>
              <a:gd name="T7" fmla="*/ 2147483647 h 1731"/>
              <a:gd name="T8" fmla="*/ 2147483647 w 2332"/>
              <a:gd name="T9" fmla="*/ 2147483647 h 1731"/>
              <a:gd name="T10" fmla="*/ 2147483647 w 2332"/>
              <a:gd name="T11" fmla="*/ 2147483647 h 1731"/>
              <a:gd name="T12" fmla="*/ 2147483647 w 2332"/>
              <a:gd name="T13" fmla="*/ 2147483647 h 1731"/>
              <a:gd name="T14" fmla="*/ 2147483647 w 2332"/>
              <a:gd name="T15" fmla="*/ 2147483647 h 1731"/>
              <a:gd name="T16" fmla="*/ 2147483647 w 2332"/>
              <a:gd name="T17" fmla="*/ 2147483647 h 1731"/>
              <a:gd name="T18" fmla="*/ 2147483647 w 2332"/>
              <a:gd name="T19" fmla="*/ 2147483647 h 1731"/>
              <a:gd name="T20" fmla="*/ 2147483647 w 2332"/>
              <a:gd name="T21" fmla="*/ 2147483647 h 1731"/>
              <a:gd name="T22" fmla="*/ 2147483647 w 2332"/>
              <a:gd name="T23" fmla="*/ 2147483647 h 1731"/>
              <a:gd name="T24" fmla="*/ 2147483647 w 2332"/>
              <a:gd name="T25" fmla="*/ 2147483647 h 1731"/>
              <a:gd name="T26" fmla="*/ 2147483647 w 2332"/>
              <a:gd name="T27" fmla="*/ 2147483647 h 1731"/>
              <a:gd name="T28" fmla="*/ 2147483647 w 2332"/>
              <a:gd name="T29" fmla="*/ 2147483647 h 1731"/>
              <a:gd name="T30" fmla="*/ 2147483647 w 2332"/>
              <a:gd name="T31" fmla="*/ 2147483647 h 1731"/>
              <a:gd name="T32" fmla="*/ 2147483647 w 2332"/>
              <a:gd name="T33" fmla="*/ 2147483647 h 1731"/>
              <a:gd name="T34" fmla="*/ 2147483647 w 2332"/>
              <a:gd name="T35" fmla="*/ 2147483647 h 1731"/>
              <a:gd name="T36" fmla="*/ 2147483647 w 2332"/>
              <a:gd name="T37" fmla="*/ 2147483647 h 1731"/>
              <a:gd name="T38" fmla="*/ 2147483647 w 2332"/>
              <a:gd name="T39" fmla="*/ 2147483647 h 1731"/>
              <a:gd name="T40" fmla="*/ 2147483647 w 2332"/>
              <a:gd name="T41" fmla="*/ 2147483647 h 1731"/>
              <a:gd name="T42" fmla="*/ 2147483647 w 2332"/>
              <a:gd name="T43" fmla="*/ 2147483647 h 1731"/>
              <a:gd name="T44" fmla="*/ 2147483647 w 2332"/>
              <a:gd name="T45" fmla="*/ 2147483647 h 1731"/>
              <a:gd name="T46" fmla="*/ 2147483647 w 2332"/>
              <a:gd name="T47" fmla="*/ 2147483647 h 1731"/>
              <a:gd name="T48" fmla="*/ 2147483647 w 2332"/>
              <a:gd name="T49" fmla="*/ 2147483647 h 1731"/>
              <a:gd name="T50" fmla="*/ 2147483647 w 2332"/>
              <a:gd name="T51" fmla="*/ 2147483647 h 1731"/>
              <a:gd name="T52" fmla="*/ 2147483647 w 2332"/>
              <a:gd name="T53" fmla="*/ 2147483647 h 1731"/>
              <a:gd name="T54" fmla="*/ 2147483647 w 2332"/>
              <a:gd name="T55" fmla="*/ 2147483647 h 1731"/>
              <a:gd name="T56" fmla="*/ 2147483647 w 2332"/>
              <a:gd name="T57" fmla="*/ 2147483647 h 1731"/>
              <a:gd name="T58" fmla="*/ 2147483647 w 2332"/>
              <a:gd name="T59" fmla="*/ 2147483647 h 1731"/>
              <a:gd name="T60" fmla="*/ 2147483647 w 2332"/>
              <a:gd name="T61" fmla="*/ 2147483647 h 1731"/>
              <a:gd name="T62" fmla="*/ 2147483647 w 2332"/>
              <a:gd name="T63" fmla="*/ 2147483647 h 1731"/>
              <a:gd name="T64" fmla="*/ 2147483647 w 2332"/>
              <a:gd name="T65" fmla="*/ 2147483647 h 1731"/>
              <a:gd name="T66" fmla="*/ 2147483647 w 2332"/>
              <a:gd name="T67" fmla="*/ 2147483647 h 1731"/>
              <a:gd name="T68" fmla="*/ 2147483647 w 2332"/>
              <a:gd name="T69" fmla="*/ 2147483647 h 1731"/>
              <a:gd name="T70" fmla="*/ 2147483647 w 2332"/>
              <a:gd name="T71" fmla="*/ 2147483647 h 1731"/>
              <a:gd name="T72" fmla="*/ 2147483647 w 2332"/>
              <a:gd name="T73" fmla="*/ 2147483647 h 1731"/>
              <a:gd name="T74" fmla="*/ 2147483647 w 2332"/>
              <a:gd name="T75" fmla="*/ 2147483647 h 1731"/>
              <a:gd name="T76" fmla="*/ 2147483647 w 2332"/>
              <a:gd name="T77" fmla="*/ 2147483647 h 1731"/>
              <a:gd name="T78" fmla="*/ 2147483647 w 2332"/>
              <a:gd name="T79" fmla="*/ 2147483647 h 1731"/>
              <a:gd name="T80" fmla="*/ 2147483647 w 2332"/>
              <a:gd name="T81" fmla="*/ 2147483647 h 1731"/>
              <a:gd name="T82" fmla="*/ 2147483647 w 2332"/>
              <a:gd name="T83" fmla="*/ 2147483647 h 1731"/>
              <a:gd name="T84" fmla="*/ 2147483647 w 2332"/>
              <a:gd name="T85" fmla="*/ 2147483647 h 1731"/>
              <a:gd name="T86" fmla="*/ 2147483647 w 2332"/>
              <a:gd name="T87" fmla="*/ 2147483647 h 1731"/>
              <a:gd name="T88" fmla="*/ 2147483647 w 2332"/>
              <a:gd name="T89" fmla="*/ 2147483647 h 1731"/>
              <a:gd name="T90" fmla="*/ 2147483647 w 2332"/>
              <a:gd name="T91" fmla="*/ 2147483647 h 1731"/>
              <a:gd name="T92" fmla="*/ 2147483647 w 2332"/>
              <a:gd name="T93" fmla="*/ 2147483647 h 1731"/>
              <a:gd name="T94" fmla="*/ 2147483647 w 2332"/>
              <a:gd name="T95" fmla="*/ 2147483647 h 1731"/>
              <a:gd name="T96" fmla="*/ 2147483647 w 2332"/>
              <a:gd name="T97" fmla="*/ 2147483647 h 1731"/>
              <a:gd name="T98" fmla="*/ 2147483647 w 2332"/>
              <a:gd name="T99" fmla="*/ 2147483647 h 1731"/>
              <a:gd name="T100" fmla="*/ 2147483647 w 2332"/>
              <a:gd name="T101" fmla="*/ 2147483647 h 1731"/>
              <a:gd name="T102" fmla="*/ 2147483647 w 2332"/>
              <a:gd name="T103" fmla="*/ 2147483647 h 1731"/>
              <a:gd name="T104" fmla="*/ 2147483647 w 2332"/>
              <a:gd name="T105" fmla="*/ 2147483647 h 1731"/>
              <a:gd name="T106" fmla="*/ 2147483647 w 2332"/>
              <a:gd name="T107" fmla="*/ 2147483647 h 1731"/>
              <a:gd name="T108" fmla="*/ 2147483647 w 2332"/>
              <a:gd name="T109" fmla="*/ 2147483647 h 1731"/>
              <a:gd name="T110" fmla="*/ 2147483647 w 2332"/>
              <a:gd name="T111" fmla="*/ 2147483647 h 1731"/>
              <a:gd name="T112" fmla="*/ 2147483647 w 2332"/>
              <a:gd name="T113" fmla="*/ 2147483647 h 1731"/>
              <a:gd name="T114" fmla="*/ 2147483647 w 2332"/>
              <a:gd name="T115" fmla="*/ 2147483647 h 1731"/>
              <a:gd name="T116" fmla="*/ 2147483647 w 2332"/>
              <a:gd name="T117" fmla="*/ 2147483647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9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379403" y="3606428"/>
            <a:ext cx="668337" cy="581025"/>
          </a:xfrm>
          <a:custGeom>
            <a:avLst/>
            <a:gdLst>
              <a:gd name="T0" fmla="*/ 2147483647 w 1535"/>
              <a:gd name="T1" fmla="*/ 2147483647 h 1109"/>
              <a:gd name="T2" fmla="*/ 2147483647 w 1535"/>
              <a:gd name="T3" fmla="*/ 2147483647 h 1109"/>
              <a:gd name="T4" fmla="*/ 2147483647 w 1535"/>
              <a:gd name="T5" fmla="*/ 2147483647 h 1109"/>
              <a:gd name="T6" fmla="*/ 2147483647 w 1535"/>
              <a:gd name="T7" fmla="*/ 2147483647 h 1109"/>
              <a:gd name="T8" fmla="*/ 2147483647 w 1535"/>
              <a:gd name="T9" fmla="*/ 2147483647 h 1109"/>
              <a:gd name="T10" fmla="*/ 2147483647 w 1535"/>
              <a:gd name="T11" fmla="*/ 2147483647 h 1109"/>
              <a:gd name="T12" fmla="*/ 2147483647 w 1535"/>
              <a:gd name="T13" fmla="*/ 2147483647 h 1109"/>
              <a:gd name="T14" fmla="*/ 2147483647 w 1535"/>
              <a:gd name="T15" fmla="*/ 2147483647 h 1109"/>
              <a:gd name="T16" fmla="*/ 2147483647 w 1535"/>
              <a:gd name="T17" fmla="*/ 2147483647 h 1109"/>
              <a:gd name="T18" fmla="*/ 2147483647 w 1535"/>
              <a:gd name="T19" fmla="*/ 2147483647 h 1109"/>
              <a:gd name="T20" fmla="*/ 2147483647 w 1535"/>
              <a:gd name="T21" fmla="*/ 2147483647 h 1109"/>
              <a:gd name="T22" fmla="*/ 2147483647 w 1535"/>
              <a:gd name="T23" fmla="*/ 2147483647 h 1109"/>
              <a:gd name="T24" fmla="*/ 2147483647 w 1535"/>
              <a:gd name="T25" fmla="*/ 2147483647 h 1109"/>
              <a:gd name="T26" fmla="*/ 2147483647 w 1535"/>
              <a:gd name="T27" fmla="*/ 2147483647 h 1109"/>
              <a:gd name="T28" fmla="*/ 2147483647 w 1535"/>
              <a:gd name="T29" fmla="*/ 2147483647 h 1109"/>
              <a:gd name="T30" fmla="*/ 2147483647 w 1535"/>
              <a:gd name="T31" fmla="*/ 2147483647 h 1109"/>
              <a:gd name="T32" fmla="*/ 2147483647 w 1535"/>
              <a:gd name="T33" fmla="*/ 2147483647 h 1109"/>
              <a:gd name="T34" fmla="*/ 2147483647 w 1535"/>
              <a:gd name="T35" fmla="*/ 2147483647 h 1109"/>
              <a:gd name="T36" fmla="*/ 2147483647 w 1535"/>
              <a:gd name="T37" fmla="*/ 2147483647 h 1109"/>
              <a:gd name="T38" fmla="*/ 2147483647 w 1535"/>
              <a:gd name="T39" fmla="*/ 2147483647 h 1109"/>
              <a:gd name="T40" fmla="*/ 2147483647 w 1535"/>
              <a:gd name="T41" fmla="*/ 2147483647 h 1109"/>
              <a:gd name="T42" fmla="*/ 2147483647 w 1535"/>
              <a:gd name="T43" fmla="*/ 2147483647 h 1109"/>
              <a:gd name="T44" fmla="*/ 2147483647 w 1535"/>
              <a:gd name="T45" fmla="*/ 2147483647 h 1109"/>
              <a:gd name="T46" fmla="*/ 2147483647 w 1535"/>
              <a:gd name="T47" fmla="*/ 2147483647 h 1109"/>
              <a:gd name="T48" fmla="*/ 2147483647 w 1535"/>
              <a:gd name="T49" fmla="*/ 2147483647 h 1109"/>
              <a:gd name="T50" fmla="*/ 2147483647 w 1535"/>
              <a:gd name="T51" fmla="*/ 2147483647 h 1109"/>
              <a:gd name="T52" fmla="*/ 2147483647 w 1535"/>
              <a:gd name="T53" fmla="*/ 2147483647 h 1109"/>
              <a:gd name="T54" fmla="*/ 2147483647 w 1535"/>
              <a:gd name="T55" fmla="*/ 2147483647 h 1109"/>
              <a:gd name="T56" fmla="*/ 2147483647 w 1535"/>
              <a:gd name="T57" fmla="*/ 2147483647 h 1109"/>
              <a:gd name="T58" fmla="*/ 2147483647 w 1535"/>
              <a:gd name="T59" fmla="*/ 2147483647 h 1109"/>
              <a:gd name="T60" fmla="*/ 2147483647 w 1535"/>
              <a:gd name="T61" fmla="*/ 2147483647 h 1109"/>
              <a:gd name="T62" fmla="*/ 2147483647 w 1535"/>
              <a:gd name="T63" fmla="*/ 2147483647 h 1109"/>
              <a:gd name="T64" fmla="*/ 2147483647 w 1535"/>
              <a:gd name="T65" fmla="*/ 2147483647 h 1109"/>
              <a:gd name="T66" fmla="*/ 2147483647 w 1535"/>
              <a:gd name="T67" fmla="*/ 2147483647 h 1109"/>
              <a:gd name="T68" fmla="*/ 2147483647 w 1535"/>
              <a:gd name="T69" fmla="*/ 2147483647 h 1109"/>
              <a:gd name="T70" fmla="*/ 2147483647 w 1535"/>
              <a:gd name="T71" fmla="*/ 2147483647 h 1109"/>
              <a:gd name="T72" fmla="*/ 2147483647 w 1535"/>
              <a:gd name="T73" fmla="*/ 2147483647 h 1109"/>
              <a:gd name="T74" fmla="*/ 2147483647 w 1535"/>
              <a:gd name="T75" fmla="*/ 2147483647 h 1109"/>
              <a:gd name="T76" fmla="*/ 2147483647 w 1535"/>
              <a:gd name="T77" fmla="*/ 2147483647 h 1109"/>
              <a:gd name="T78" fmla="*/ 2147483647 w 1535"/>
              <a:gd name="T79" fmla="*/ 2147483647 h 1109"/>
              <a:gd name="T80" fmla="*/ 2147483647 w 1535"/>
              <a:gd name="T81" fmla="*/ 2147483647 h 1109"/>
              <a:gd name="T82" fmla="*/ 2147483647 w 1535"/>
              <a:gd name="T83" fmla="*/ 2147483647 h 1109"/>
              <a:gd name="T84" fmla="*/ 2147483647 w 1535"/>
              <a:gd name="T85" fmla="*/ 2147483647 h 1109"/>
              <a:gd name="T86" fmla="*/ 2147483647 w 1535"/>
              <a:gd name="T87" fmla="*/ 2147483647 h 1109"/>
              <a:gd name="T88" fmla="*/ 2147483647 w 1535"/>
              <a:gd name="T89" fmla="*/ 2147483647 h 1109"/>
              <a:gd name="T90" fmla="*/ 2147483647 w 1535"/>
              <a:gd name="T91" fmla="*/ 2147483647 h 1109"/>
              <a:gd name="T92" fmla="*/ 2147483647 w 1535"/>
              <a:gd name="T93" fmla="*/ 2147483647 h 1109"/>
              <a:gd name="T94" fmla="*/ 2147483647 w 1535"/>
              <a:gd name="T95" fmla="*/ 2147483647 h 1109"/>
              <a:gd name="T96" fmla="*/ 2147483647 w 1535"/>
              <a:gd name="T97" fmla="*/ 2147483647 h 1109"/>
              <a:gd name="T98" fmla="*/ 2147483647 w 1535"/>
              <a:gd name="T99" fmla="*/ 2147483647 h 1109"/>
              <a:gd name="T100" fmla="*/ 2147483647 w 1535"/>
              <a:gd name="T101" fmla="*/ 2147483647 h 1109"/>
              <a:gd name="T102" fmla="*/ 2147483647 w 1535"/>
              <a:gd name="T103" fmla="*/ 2147483647 h 1109"/>
              <a:gd name="T104" fmla="*/ 2147483647 w 1535"/>
              <a:gd name="T105" fmla="*/ 2147483647 h 1109"/>
              <a:gd name="T106" fmla="*/ 2147483647 w 1535"/>
              <a:gd name="T107" fmla="*/ 2147483647 h 1109"/>
              <a:gd name="T108" fmla="*/ 2147483647 w 1535"/>
              <a:gd name="T109" fmla="*/ 2147483647 h 1109"/>
              <a:gd name="T110" fmla="*/ 2147483647 w 1535"/>
              <a:gd name="T111" fmla="*/ 2147483647 h 1109"/>
              <a:gd name="T112" fmla="*/ 2147483647 w 1535"/>
              <a:gd name="T113" fmla="*/ 2147483647 h 1109"/>
              <a:gd name="T114" fmla="*/ 2147483647 w 1535"/>
              <a:gd name="T115" fmla="*/ 2147483647 h 1109"/>
              <a:gd name="T116" fmla="*/ 2147483647 w 1535"/>
              <a:gd name="T117" fmla="*/ 2147483647 h 1109"/>
              <a:gd name="T118" fmla="*/ 2147483647 w 1535"/>
              <a:gd name="T119" fmla="*/ 2147483647 h 1109"/>
              <a:gd name="T120" fmla="*/ 2147483647 w 1535"/>
              <a:gd name="T121" fmla="*/ 2147483647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0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654165" y="5246315"/>
            <a:ext cx="211138" cy="265113"/>
          </a:xfrm>
          <a:custGeom>
            <a:avLst/>
            <a:gdLst>
              <a:gd name="T0" fmla="*/ 2147483647 w 486"/>
              <a:gd name="T1" fmla="*/ 2147483647 h 505"/>
              <a:gd name="T2" fmla="*/ 2147483647 w 486"/>
              <a:gd name="T3" fmla="*/ 2147483647 h 505"/>
              <a:gd name="T4" fmla="*/ 2147483647 w 486"/>
              <a:gd name="T5" fmla="*/ 2147483647 h 505"/>
              <a:gd name="T6" fmla="*/ 2147483647 w 486"/>
              <a:gd name="T7" fmla="*/ 2147483647 h 505"/>
              <a:gd name="T8" fmla="*/ 2147483647 w 486"/>
              <a:gd name="T9" fmla="*/ 2147483647 h 505"/>
              <a:gd name="T10" fmla="*/ 2147483647 w 486"/>
              <a:gd name="T11" fmla="*/ 2147483647 h 505"/>
              <a:gd name="T12" fmla="*/ 2147483647 w 486"/>
              <a:gd name="T13" fmla="*/ 2147483647 h 505"/>
              <a:gd name="T14" fmla="*/ 2147483647 w 486"/>
              <a:gd name="T15" fmla="*/ 2147483647 h 505"/>
              <a:gd name="T16" fmla="*/ 2147483647 w 486"/>
              <a:gd name="T17" fmla="*/ 2147483647 h 505"/>
              <a:gd name="T18" fmla="*/ 2147483647 w 486"/>
              <a:gd name="T19" fmla="*/ 2147483647 h 505"/>
              <a:gd name="T20" fmla="*/ 2147483647 w 486"/>
              <a:gd name="T21" fmla="*/ 2147483647 h 505"/>
              <a:gd name="T22" fmla="*/ 2147483647 w 486"/>
              <a:gd name="T23" fmla="*/ 2147483647 h 505"/>
              <a:gd name="T24" fmla="*/ 2147483647 w 486"/>
              <a:gd name="T25" fmla="*/ 2147483647 h 505"/>
              <a:gd name="T26" fmla="*/ 2147483647 w 486"/>
              <a:gd name="T27" fmla="*/ 2147483647 h 505"/>
              <a:gd name="T28" fmla="*/ 2147483647 w 486"/>
              <a:gd name="T29" fmla="*/ 2147483647 h 505"/>
              <a:gd name="T30" fmla="*/ 2147483647 w 486"/>
              <a:gd name="T31" fmla="*/ 2147483647 h 505"/>
              <a:gd name="T32" fmla="*/ 2147483647 w 486"/>
              <a:gd name="T33" fmla="*/ 2147483647 h 505"/>
              <a:gd name="T34" fmla="*/ 2147483647 w 486"/>
              <a:gd name="T35" fmla="*/ 2147483647 h 505"/>
              <a:gd name="T36" fmla="*/ 2147483647 w 486"/>
              <a:gd name="T37" fmla="*/ 2147483647 h 505"/>
              <a:gd name="T38" fmla="*/ 2147483647 w 486"/>
              <a:gd name="T39" fmla="*/ 2147483647 h 505"/>
              <a:gd name="T40" fmla="*/ 2147483647 w 486"/>
              <a:gd name="T41" fmla="*/ 2147483647 h 505"/>
              <a:gd name="T42" fmla="*/ 2147483647 w 486"/>
              <a:gd name="T43" fmla="*/ 2147483647 h 505"/>
              <a:gd name="T44" fmla="*/ 2147483647 w 486"/>
              <a:gd name="T45" fmla="*/ 2147483647 h 505"/>
              <a:gd name="T46" fmla="*/ 2147483647 w 486"/>
              <a:gd name="T47" fmla="*/ 2147483647 h 505"/>
              <a:gd name="T48" fmla="*/ 2147483647 w 486"/>
              <a:gd name="T49" fmla="*/ 2147483647 h 505"/>
              <a:gd name="T50" fmla="*/ 2147483647 w 486"/>
              <a:gd name="T51" fmla="*/ 2147483647 h 505"/>
              <a:gd name="T52" fmla="*/ 2147483647 w 486"/>
              <a:gd name="T53" fmla="*/ 2147483647 h 505"/>
              <a:gd name="T54" fmla="*/ 2147483647 w 486"/>
              <a:gd name="T55" fmla="*/ 2147483647 h 505"/>
              <a:gd name="T56" fmla="*/ 2147483647 w 486"/>
              <a:gd name="T57" fmla="*/ 2147483647 h 505"/>
              <a:gd name="T58" fmla="*/ 2147483647 w 486"/>
              <a:gd name="T59" fmla="*/ 2147483647 h 505"/>
              <a:gd name="T60" fmla="*/ 2147483647 w 486"/>
              <a:gd name="T61" fmla="*/ 2147483647 h 505"/>
              <a:gd name="T62" fmla="*/ 2147483647 w 486"/>
              <a:gd name="T63" fmla="*/ 2147483647 h 505"/>
              <a:gd name="T64" fmla="*/ 2147483647 w 486"/>
              <a:gd name="T65" fmla="*/ 2147483647 h 505"/>
              <a:gd name="T66" fmla="*/ 2147483647 w 486"/>
              <a:gd name="T67" fmla="*/ 2147483647 h 505"/>
              <a:gd name="T68" fmla="*/ 2147483647 w 486"/>
              <a:gd name="T69" fmla="*/ 2147483647 h 505"/>
              <a:gd name="T70" fmla="*/ 2147483647 w 486"/>
              <a:gd name="T71" fmla="*/ 2147483647 h 505"/>
              <a:gd name="T72" fmla="*/ 2147483647 w 486"/>
              <a:gd name="T73" fmla="*/ 2147483647 h 505"/>
              <a:gd name="T74" fmla="*/ 2147483647 w 486"/>
              <a:gd name="T75" fmla="*/ 2147483647 h 505"/>
              <a:gd name="T76" fmla="*/ 2147483647 w 486"/>
              <a:gd name="T77" fmla="*/ 2147483647 h 505"/>
              <a:gd name="T78" fmla="*/ 2147483647 w 486"/>
              <a:gd name="T79" fmla="*/ 2147483647 h 505"/>
              <a:gd name="T80" fmla="*/ 2147483647 w 486"/>
              <a:gd name="T81" fmla="*/ 2147483647 h 505"/>
              <a:gd name="T82" fmla="*/ 2147483647 w 486"/>
              <a:gd name="T83" fmla="*/ 2147483647 h 505"/>
              <a:gd name="T84" fmla="*/ 2147483647 w 486"/>
              <a:gd name="T85" fmla="*/ 2147483647 h 505"/>
              <a:gd name="T86" fmla="*/ 2147483647 w 486"/>
              <a:gd name="T87" fmla="*/ 2147483647 h 505"/>
              <a:gd name="T88" fmla="*/ 2147483647 w 486"/>
              <a:gd name="T89" fmla="*/ 2147483647 h 505"/>
              <a:gd name="T90" fmla="*/ 2147483647 w 486"/>
              <a:gd name="T91" fmla="*/ 2147483647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1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824028" y="4450978"/>
            <a:ext cx="73025" cy="109537"/>
          </a:xfrm>
          <a:custGeom>
            <a:avLst/>
            <a:gdLst>
              <a:gd name="T0" fmla="*/ 2147483647 w 166"/>
              <a:gd name="T1" fmla="*/ 2147483647 h 208"/>
              <a:gd name="T2" fmla="*/ 2147483647 w 166"/>
              <a:gd name="T3" fmla="*/ 2147483647 h 208"/>
              <a:gd name="T4" fmla="*/ 2147483647 w 166"/>
              <a:gd name="T5" fmla="*/ 2147483647 h 208"/>
              <a:gd name="T6" fmla="*/ 2147483647 w 166"/>
              <a:gd name="T7" fmla="*/ 2147483647 h 208"/>
              <a:gd name="T8" fmla="*/ 2147483647 w 166"/>
              <a:gd name="T9" fmla="*/ 2147483647 h 208"/>
              <a:gd name="T10" fmla="*/ 2147483647 w 166"/>
              <a:gd name="T11" fmla="*/ 2147483647 h 208"/>
              <a:gd name="T12" fmla="*/ 2147483647 w 166"/>
              <a:gd name="T13" fmla="*/ 2147483647 h 208"/>
              <a:gd name="T14" fmla="*/ 2147483647 w 166"/>
              <a:gd name="T15" fmla="*/ 2147483647 h 208"/>
              <a:gd name="T16" fmla="*/ 2147483647 w 166"/>
              <a:gd name="T17" fmla="*/ 2147483647 h 208"/>
              <a:gd name="T18" fmla="*/ 2147483647 w 166"/>
              <a:gd name="T19" fmla="*/ 2147483647 h 208"/>
              <a:gd name="T20" fmla="*/ 2147483647 w 166"/>
              <a:gd name="T21" fmla="*/ 2147483647 h 208"/>
              <a:gd name="T22" fmla="*/ 2147483647 w 166"/>
              <a:gd name="T23" fmla="*/ 2147483647 h 208"/>
              <a:gd name="T24" fmla="*/ 2147483647 w 166"/>
              <a:gd name="T25" fmla="*/ 2147483647 h 208"/>
              <a:gd name="T26" fmla="*/ 2147483647 w 166"/>
              <a:gd name="T27" fmla="*/ 2147483647 h 208"/>
              <a:gd name="T28" fmla="*/ 2147483647 w 166"/>
              <a:gd name="T29" fmla="*/ 2147483647 h 208"/>
              <a:gd name="T30" fmla="*/ 2147483647 w 166"/>
              <a:gd name="T31" fmla="*/ 2147483647 h 208"/>
              <a:gd name="T32" fmla="*/ 2147483647 w 166"/>
              <a:gd name="T33" fmla="*/ 2147483647 h 208"/>
              <a:gd name="T34" fmla="*/ 2147483647 w 166"/>
              <a:gd name="T35" fmla="*/ 2147483647 h 208"/>
              <a:gd name="T36" fmla="*/ 2147483647 w 166"/>
              <a:gd name="T37" fmla="*/ 2147483647 h 208"/>
              <a:gd name="T38" fmla="*/ 2147483647 w 166"/>
              <a:gd name="T39" fmla="*/ 2147483647 h 208"/>
              <a:gd name="T40" fmla="*/ 2147483647 w 166"/>
              <a:gd name="T41" fmla="*/ 2147483647 h 208"/>
              <a:gd name="T42" fmla="*/ 2147483647 w 166"/>
              <a:gd name="T43" fmla="*/ 2147483647 h 208"/>
              <a:gd name="T44" fmla="*/ 2147483647 w 166"/>
              <a:gd name="T45" fmla="*/ 2147483647 h 208"/>
              <a:gd name="T46" fmla="*/ 2147483647 w 166"/>
              <a:gd name="T47" fmla="*/ 2147483647 h 208"/>
              <a:gd name="T48" fmla="*/ 2147483647 w 166"/>
              <a:gd name="T49" fmla="*/ 2147483647 h 208"/>
              <a:gd name="T50" fmla="*/ 2147483647 w 166"/>
              <a:gd name="T51" fmla="*/ 2147483647 h 208"/>
              <a:gd name="T52" fmla="*/ 2147483647 w 166"/>
              <a:gd name="T53" fmla="*/ 2147483647 h 208"/>
              <a:gd name="T54" fmla="*/ 2147483647 w 166"/>
              <a:gd name="T55" fmla="*/ 0 h 208"/>
              <a:gd name="T56" fmla="*/ 2147483647 w 166"/>
              <a:gd name="T57" fmla="*/ 2147483647 h 208"/>
              <a:gd name="T58" fmla="*/ 2147483647 w 166"/>
              <a:gd name="T59" fmla="*/ 2147483647 h 208"/>
              <a:gd name="T60" fmla="*/ 2147483647 w 166"/>
              <a:gd name="T61" fmla="*/ 2147483647 h 208"/>
              <a:gd name="T62" fmla="*/ 2147483647 w 166"/>
              <a:gd name="T63" fmla="*/ 2147483647 h 208"/>
              <a:gd name="T64" fmla="*/ 2147483647 w 166"/>
              <a:gd name="T65" fmla="*/ 2147483647 h 208"/>
              <a:gd name="T66" fmla="*/ 2147483647 w 166"/>
              <a:gd name="T67" fmla="*/ 2147483647 h 208"/>
              <a:gd name="T68" fmla="*/ 2147483647 w 166"/>
              <a:gd name="T69" fmla="*/ 2147483647 h 208"/>
              <a:gd name="T70" fmla="*/ 0 w 166"/>
              <a:gd name="T71" fmla="*/ 2147483647 h 208"/>
              <a:gd name="T72" fmla="*/ 0 w 166"/>
              <a:gd name="T73" fmla="*/ 2147483647 h 208"/>
              <a:gd name="T74" fmla="*/ 2147483647 w 166"/>
              <a:gd name="T75" fmla="*/ 2147483647 h 208"/>
              <a:gd name="T76" fmla="*/ 2147483647 w 166"/>
              <a:gd name="T77" fmla="*/ 2147483647 h 208"/>
              <a:gd name="T78" fmla="*/ 2147483647 w 166"/>
              <a:gd name="T79" fmla="*/ 2147483647 h 208"/>
              <a:gd name="T80" fmla="*/ 2147483647 w 166"/>
              <a:gd name="T81" fmla="*/ 2147483647 h 208"/>
              <a:gd name="T82" fmla="*/ 2147483647 w 166"/>
              <a:gd name="T83" fmla="*/ 2147483647 h 208"/>
              <a:gd name="T84" fmla="*/ 2147483647 w 166"/>
              <a:gd name="T85" fmla="*/ 2147483647 h 208"/>
              <a:gd name="T86" fmla="*/ 2147483647 w 166"/>
              <a:gd name="T87" fmla="*/ 2147483647 h 208"/>
              <a:gd name="T88" fmla="*/ 2147483647 w 166"/>
              <a:gd name="T89" fmla="*/ 2147483647 h 208"/>
              <a:gd name="T90" fmla="*/ 2147483647 w 166"/>
              <a:gd name="T91" fmla="*/ 2147483647 h 208"/>
              <a:gd name="T92" fmla="*/ 2147483647 w 166"/>
              <a:gd name="T93" fmla="*/ 2147483647 h 208"/>
              <a:gd name="T94" fmla="*/ 2147483647 w 166"/>
              <a:gd name="T95" fmla="*/ 2147483647 h 208"/>
              <a:gd name="T96" fmla="*/ 2147483647 w 166"/>
              <a:gd name="T97" fmla="*/ 2147483647 h 208"/>
              <a:gd name="T98" fmla="*/ 2147483647 w 166"/>
              <a:gd name="T99" fmla="*/ 2147483647 h 208"/>
              <a:gd name="T100" fmla="*/ 2147483647 w 166"/>
              <a:gd name="T101" fmla="*/ 2147483647 h 208"/>
              <a:gd name="T102" fmla="*/ 2147483647 w 166"/>
              <a:gd name="T103" fmla="*/ 2147483647 h 208"/>
              <a:gd name="T104" fmla="*/ 2147483647 w 166"/>
              <a:gd name="T105" fmla="*/ 2147483647 h 208"/>
              <a:gd name="T106" fmla="*/ 2147483647 w 166"/>
              <a:gd name="T107" fmla="*/ 2147483647 h 208"/>
              <a:gd name="T108" fmla="*/ 2147483647 w 166"/>
              <a:gd name="T109" fmla="*/ 2147483647 h 208"/>
              <a:gd name="T110" fmla="*/ 2147483647 w 166"/>
              <a:gd name="T111" fmla="*/ 2147483647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172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338253" y="4009653"/>
            <a:ext cx="69850" cy="58737"/>
          </a:xfrm>
          <a:custGeom>
            <a:avLst/>
            <a:gdLst>
              <a:gd name="T0" fmla="*/ 2147483647 w 164"/>
              <a:gd name="T1" fmla="*/ 2147483647 h 104"/>
              <a:gd name="T2" fmla="*/ 2147483647 w 164"/>
              <a:gd name="T3" fmla="*/ 2147483647 h 104"/>
              <a:gd name="T4" fmla="*/ 2147483647 w 164"/>
              <a:gd name="T5" fmla="*/ 2147483647 h 104"/>
              <a:gd name="T6" fmla="*/ 2147483647 w 164"/>
              <a:gd name="T7" fmla="*/ 2147483647 h 104"/>
              <a:gd name="T8" fmla="*/ 2147483647 w 164"/>
              <a:gd name="T9" fmla="*/ 2147483647 h 104"/>
              <a:gd name="T10" fmla="*/ 2147483647 w 164"/>
              <a:gd name="T11" fmla="*/ 2147483647 h 104"/>
              <a:gd name="T12" fmla="*/ 2147483647 w 164"/>
              <a:gd name="T13" fmla="*/ 2147483647 h 104"/>
              <a:gd name="T14" fmla="*/ 2147483647 w 164"/>
              <a:gd name="T15" fmla="*/ 2147483647 h 104"/>
              <a:gd name="T16" fmla="*/ 2147483647 w 164"/>
              <a:gd name="T17" fmla="*/ 2147483647 h 104"/>
              <a:gd name="T18" fmla="*/ 2147483647 w 164"/>
              <a:gd name="T19" fmla="*/ 2147483647 h 104"/>
              <a:gd name="T20" fmla="*/ 2147483647 w 164"/>
              <a:gd name="T21" fmla="*/ 2147483647 h 104"/>
              <a:gd name="T22" fmla="*/ 2147483647 w 164"/>
              <a:gd name="T23" fmla="*/ 2147483647 h 104"/>
              <a:gd name="T24" fmla="*/ 2147483647 w 164"/>
              <a:gd name="T25" fmla="*/ 2147483647 h 104"/>
              <a:gd name="T26" fmla="*/ 2147483647 w 164"/>
              <a:gd name="T27" fmla="*/ 2147483647 h 104"/>
              <a:gd name="T28" fmla="*/ 2147483647 w 164"/>
              <a:gd name="T29" fmla="*/ 2147483647 h 104"/>
              <a:gd name="T30" fmla="*/ 2147483647 w 164"/>
              <a:gd name="T31" fmla="*/ 2147483647 h 104"/>
              <a:gd name="T32" fmla="*/ 2147483647 w 164"/>
              <a:gd name="T33" fmla="*/ 2147483647 h 104"/>
              <a:gd name="T34" fmla="*/ 0 w 164"/>
              <a:gd name="T35" fmla="*/ 2147483647 h 104"/>
              <a:gd name="T36" fmla="*/ 0 w 164"/>
              <a:gd name="T37" fmla="*/ 2147483647 h 104"/>
              <a:gd name="T38" fmla="*/ 0 w 164"/>
              <a:gd name="T39" fmla="*/ 2147483647 h 104"/>
              <a:gd name="T40" fmla="*/ 2147483647 w 164"/>
              <a:gd name="T41" fmla="*/ 2147483647 h 104"/>
              <a:gd name="T42" fmla="*/ 2147483647 w 164"/>
              <a:gd name="T43" fmla="*/ 2147483647 h 104"/>
              <a:gd name="T44" fmla="*/ 2147483647 w 164"/>
              <a:gd name="T45" fmla="*/ 2147483647 h 104"/>
              <a:gd name="T46" fmla="*/ 2147483647 w 164"/>
              <a:gd name="T47" fmla="*/ 2147483647 h 104"/>
              <a:gd name="T48" fmla="*/ 2147483647 w 164"/>
              <a:gd name="T49" fmla="*/ 2147483647 h 104"/>
              <a:gd name="T50" fmla="*/ 2147483647 w 164"/>
              <a:gd name="T51" fmla="*/ 2147483647 h 104"/>
              <a:gd name="T52" fmla="*/ 2147483647 w 164"/>
              <a:gd name="T53" fmla="*/ 2147483647 h 104"/>
              <a:gd name="T54" fmla="*/ 2147483647 w 164"/>
              <a:gd name="T55" fmla="*/ 2147483647 h 104"/>
              <a:gd name="T56" fmla="*/ 2147483647 w 164"/>
              <a:gd name="T57" fmla="*/ 2147483647 h 104"/>
              <a:gd name="T58" fmla="*/ 2147483647 w 164"/>
              <a:gd name="T59" fmla="*/ 2147483647 h 104"/>
              <a:gd name="T60" fmla="*/ 2147483647 w 164"/>
              <a:gd name="T61" fmla="*/ 2147483647 h 104"/>
              <a:gd name="T62" fmla="*/ 2147483647 w 164"/>
              <a:gd name="T63" fmla="*/ 2147483647 h 104"/>
              <a:gd name="T64" fmla="*/ 2147483647 w 164"/>
              <a:gd name="T65" fmla="*/ 2147483647 h 104"/>
              <a:gd name="T66" fmla="*/ 2147483647 w 164"/>
              <a:gd name="T67" fmla="*/ 2147483647 h 104"/>
              <a:gd name="T68" fmla="*/ 2147483647 w 164"/>
              <a:gd name="T69" fmla="*/ 2147483647 h 104"/>
              <a:gd name="T70" fmla="*/ 2147483647 w 164"/>
              <a:gd name="T71" fmla="*/ 2147483647 h 104"/>
              <a:gd name="T72" fmla="*/ 2147483647 w 164"/>
              <a:gd name="T73" fmla="*/ 2147483647 h 104"/>
              <a:gd name="T74" fmla="*/ 2147483647 w 164"/>
              <a:gd name="T75" fmla="*/ 2147483647 h 104"/>
              <a:gd name="T76" fmla="*/ 2147483647 w 164"/>
              <a:gd name="T77" fmla="*/ 2147483647 h 104"/>
              <a:gd name="T78" fmla="*/ 2147483647 w 164"/>
              <a:gd name="T79" fmla="*/ 2147483647 h 104"/>
              <a:gd name="T80" fmla="*/ 2147483647 w 164"/>
              <a:gd name="T81" fmla="*/ 0 h 104"/>
              <a:gd name="T82" fmla="*/ 2147483647 w 164"/>
              <a:gd name="T83" fmla="*/ 0 h 104"/>
              <a:gd name="T84" fmla="*/ 2147483647 w 164"/>
              <a:gd name="T85" fmla="*/ 2147483647 h 104"/>
              <a:gd name="T86" fmla="*/ 2147483647 w 164"/>
              <a:gd name="T87" fmla="*/ 2147483647 h 104"/>
              <a:gd name="T88" fmla="*/ 2147483647 w 164"/>
              <a:gd name="T89" fmla="*/ 2147483647 h 104"/>
              <a:gd name="T90" fmla="*/ 2147483647 w 164"/>
              <a:gd name="T91" fmla="*/ 2147483647 h 104"/>
              <a:gd name="T92" fmla="*/ 2147483647 w 164"/>
              <a:gd name="T93" fmla="*/ 2147483647 h 104"/>
              <a:gd name="T94" fmla="*/ 2147483647 w 164"/>
              <a:gd name="T95" fmla="*/ 2147483647 h 104"/>
              <a:gd name="T96" fmla="*/ 2147483647 w 164"/>
              <a:gd name="T97" fmla="*/ 2147483647 h 104"/>
              <a:gd name="T98" fmla="*/ 2147483647 w 164"/>
              <a:gd name="T99" fmla="*/ 2147483647 h 104"/>
              <a:gd name="T100" fmla="*/ 2147483647 w 164"/>
              <a:gd name="T101" fmla="*/ 2147483647 h 104"/>
              <a:gd name="T102" fmla="*/ 2147483647 w 164"/>
              <a:gd name="T103" fmla="*/ 2147483647 h 104"/>
              <a:gd name="T104" fmla="*/ 2147483647 w 164"/>
              <a:gd name="T105" fmla="*/ 2147483647 h 104"/>
              <a:gd name="T106" fmla="*/ 2147483647 w 164"/>
              <a:gd name="T107" fmla="*/ 2147483647 h 104"/>
              <a:gd name="T108" fmla="*/ 2147483647 w 164"/>
              <a:gd name="T109" fmla="*/ 214748364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3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704965" y="6363915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4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670040" y="6343278"/>
            <a:ext cx="34925" cy="58737"/>
          </a:xfrm>
          <a:custGeom>
            <a:avLst/>
            <a:gdLst>
              <a:gd name="T0" fmla="*/ 0 w 80"/>
              <a:gd name="T1" fmla="*/ 0 h 18"/>
              <a:gd name="T2" fmla="*/ 2147483647 w 80"/>
              <a:gd name="T3" fmla="*/ 2147483647 h 18"/>
              <a:gd name="T4" fmla="*/ 2147483647 w 80"/>
              <a:gd name="T5" fmla="*/ 2147483647 h 18"/>
              <a:gd name="T6" fmla="*/ 2147483647 w 80"/>
              <a:gd name="T7" fmla="*/ 2147483647 h 18"/>
              <a:gd name="T8" fmla="*/ 2147483647 w 80"/>
              <a:gd name="T9" fmla="*/ 2147483647 h 18"/>
              <a:gd name="T10" fmla="*/ 2147483647 w 80"/>
              <a:gd name="T11" fmla="*/ 2147483647 h 18"/>
              <a:gd name="T12" fmla="*/ 2147483647 w 80"/>
              <a:gd name="T13" fmla="*/ 2147483647 h 18"/>
              <a:gd name="T14" fmla="*/ 2147483647 w 80"/>
              <a:gd name="T15" fmla="*/ 2147483647 h 18"/>
              <a:gd name="T16" fmla="*/ 2147483647 w 80"/>
              <a:gd name="T17" fmla="*/ 2147483647 h 18"/>
              <a:gd name="T18" fmla="*/ 2147483647 w 80"/>
              <a:gd name="T19" fmla="*/ 2147483647 h 18"/>
              <a:gd name="T20" fmla="*/ 2147483647 w 80"/>
              <a:gd name="T21" fmla="*/ 2147483647 h 18"/>
              <a:gd name="T22" fmla="*/ 2147483647 w 80"/>
              <a:gd name="T23" fmla="*/ 2147483647 h 18"/>
              <a:gd name="T24" fmla="*/ 2147483647 w 80"/>
              <a:gd name="T25" fmla="*/ 2147483647 h 18"/>
              <a:gd name="T26" fmla="*/ 2147483647 w 80"/>
              <a:gd name="T27" fmla="*/ 2147483647 h 18"/>
              <a:gd name="T28" fmla="*/ 2147483647 w 80"/>
              <a:gd name="T29" fmla="*/ 2147483647 h 18"/>
              <a:gd name="T30" fmla="*/ 2147483647 w 80"/>
              <a:gd name="T31" fmla="*/ 2147483647 h 18"/>
              <a:gd name="T32" fmla="*/ 2147483647 w 80"/>
              <a:gd name="T33" fmla="*/ 2147483647 h 18"/>
              <a:gd name="T34" fmla="*/ 2147483647 w 80"/>
              <a:gd name="T35" fmla="*/ 2147483647 h 18"/>
              <a:gd name="T36" fmla="*/ 2147483647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5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670040" y="6322640"/>
            <a:ext cx="22225" cy="60325"/>
          </a:xfrm>
          <a:custGeom>
            <a:avLst/>
            <a:gdLst>
              <a:gd name="T0" fmla="*/ 2147483647 w 46"/>
              <a:gd name="T1" fmla="*/ 0 h 27"/>
              <a:gd name="T2" fmla="*/ 0 w 46"/>
              <a:gd name="T3" fmla="*/ 2147483647 h 27"/>
              <a:gd name="T4" fmla="*/ 2147483647 w 46"/>
              <a:gd name="T5" fmla="*/ 2147483647 h 27"/>
              <a:gd name="T6" fmla="*/ 2147483647 w 46"/>
              <a:gd name="T7" fmla="*/ 2147483647 h 27"/>
              <a:gd name="T8" fmla="*/ 2147483647 w 46"/>
              <a:gd name="T9" fmla="*/ 2147483647 h 27"/>
              <a:gd name="T10" fmla="*/ 2147483647 w 46"/>
              <a:gd name="T11" fmla="*/ 2147483647 h 27"/>
              <a:gd name="T12" fmla="*/ 2147483647 w 46"/>
              <a:gd name="T13" fmla="*/ 2147483647 h 27"/>
              <a:gd name="T14" fmla="*/ 2147483647 w 46"/>
              <a:gd name="T15" fmla="*/ 2147483647 h 27"/>
              <a:gd name="T16" fmla="*/ 2147483647 w 46"/>
              <a:gd name="T17" fmla="*/ 2147483647 h 27"/>
              <a:gd name="T18" fmla="*/ 2147483647 w 46"/>
              <a:gd name="T19" fmla="*/ 2147483647 h 27"/>
              <a:gd name="T20" fmla="*/ 2147483647 w 46"/>
              <a:gd name="T21" fmla="*/ 2147483647 h 27"/>
              <a:gd name="T22" fmla="*/ 2147483647 w 46"/>
              <a:gd name="T23" fmla="*/ 2147483647 h 27"/>
              <a:gd name="T24" fmla="*/ 2147483647 w 46"/>
              <a:gd name="T25" fmla="*/ 2147483647 h 27"/>
              <a:gd name="T26" fmla="*/ 2147483647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6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639878" y="6316290"/>
            <a:ext cx="25400" cy="60325"/>
          </a:xfrm>
          <a:custGeom>
            <a:avLst/>
            <a:gdLst>
              <a:gd name="T0" fmla="*/ 2147483647 w 54"/>
              <a:gd name="T1" fmla="*/ 0 h 39"/>
              <a:gd name="T2" fmla="*/ 2147483647 w 54"/>
              <a:gd name="T3" fmla="*/ 2147483647 h 39"/>
              <a:gd name="T4" fmla="*/ 2147483647 w 54"/>
              <a:gd name="T5" fmla="*/ 2147483647 h 39"/>
              <a:gd name="T6" fmla="*/ 2147483647 w 54"/>
              <a:gd name="T7" fmla="*/ 2147483647 h 39"/>
              <a:gd name="T8" fmla="*/ 2147483647 w 54"/>
              <a:gd name="T9" fmla="*/ 2147483647 h 39"/>
              <a:gd name="T10" fmla="*/ 2147483647 w 54"/>
              <a:gd name="T11" fmla="*/ 2147483647 h 39"/>
              <a:gd name="T12" fmla="*/ 0 w 54"/>
              <a:gd name="T13" fmla="*/ 2147483647 h 39"/>
              <a:gd name="T14" fmla="*/ 2147483647 w 54"/>
              <a:gd name="T15" fmla="*/ 2147483647 h 39"/>
              <a:gd name="T16" fmla="*/ 2147483647 w 54"/>
              <a:gd name="T17" fmla="*/ 2147483647 h 39"/>
              <a:gd name="T18" fmla="*/ 2147483647 w 54"/>
              <a:gd name="T19" fmla="*/ 2147483647 h 39"/>
              <a:gd name="T20" fmla="*/ 2147483647 w 54"/>
              <a:gd name="T21" fmla="*/ 2147483647 h 39"/>
              <a:gd name="T22" fmla="*/ 2147483647 w 54"/>
              <a:gd name="T23" fmla="*/ 2147483647 h 39"/>
              <a:gd name="T24" fmla="*/ 2147483647 w 54"/>
              <a:gd name="T25" fmla="*/ 2147483647 h 39"/>
              <a:gd name="T26" fmla="*/ 2147483647 w 54"/>
              <a:gd name="T27" fmla="*/ 2147483647 h 39"/>
              <a:gd name="T28" fmla="*/ 2147483647 w 54"/>
              <a:gd name="T29" fmla="*/ 2147483647 h 39"/>
              <a:gd name="T30" fmla="*/ 2147483647 w 54"/>
              <a:gd name="T31" fmla="*/ 2147483647 h 39"/>
              <a:gd name="T32" fmla="*/ 2147483647 w 54"/>
              <a:gd name="T33" fmla="*/ 2147483647 h 39"/>
              <a:gd name="T34" fmla="*/ 2147483647 w 54"/>
              <a:gd name="T35" fmla="*/ 2147483647 h 39"/>
              <a:gd name="T36" fmla="*/ 2147483647 w 54"/>
              <a:gd name="T37" fmla="*/ 2147483647 h 39"/>
              <a:gd name="T38" fmla="*/ 2147483647 w 54"/>
              <a:gd name="T39" fmla="*/ 2147483647 h 39"/>
              <a:gd name="T40" fmla="*/ 2147483647 w 54"/>
              <a:gd name="T41" fmla="*/ 2147483647 h 39"/>
              <a:gd name="T42" fmla="*/ 2147483647 w 54"/>
              <a:gd name="T43" fmla="*/ 2147483647 h 39"/>
              <a:gd name="T44" fmla="*/ 2147483647 w 54"/>
              <a:gd name="T45" fmla="*/ 2147483647 h 39"/>
              <a:gd name="T46" fmla="*/ 2147483647 w 54"/>
              <a:gd name="T47" fmla="*/ 2147483647 h 39"/>
              <a:gd name="T48" fmla="*/ 2147483647 w 54"/>
              <a:gd name="T49" fmla="*/ 2147483647 h 39"/>
              <a:gd name="T50" fmla="*/ 2147483647 w 54"/>
              <a:gd name="T51" fmla="*/ 2147483647 h 39"/>
              <a:gd name="T52" fmla="*/ 2147483647 w 54"/>
              <a:gd name="T53" fmla="*/ 2147483647 h 39"/>
              <a:gd name="T54" fmla="*/ 2147483647 w 54"/>
              <a:gd name="T55" fmla="*/ 2147483647 h 39"/>
              <a:gd name="T56" fmla="*/ 2147483647 w 54"/>
              <a:gd name="T57" fmla="*/ 2147483647 h 39"/>
              <a:gd name="T58" fmla="*/ 2147483647 w 54"/>
              <a:gd name="T59" fmla="*/ 2147483647 h 39"/>
              <a:gd name="T60" fmla="*/ 2147483647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7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614478" y="6306765"/>
            <a:ext cx="28575" cy="58738"/>
          </a:xfrm>
          <a:custGeom>
            <a:avLst/>
            <a:gdLst>
              <a:gd name="T0" fmla="*/ 0 w 60"/>
              <a:gd name="T1" fmla="*/ 2147483647 h 15"/>
              <a:gd name="T2" fmla="*/ 2147483647 w 60"/>
              <a:gd name="T3" fmla="*/ 2147483647 h 15"/>
              <a:gd name="T4" fmla="*/ 2147483647 w 60"/>
              <a:gd name="T5" fmla="*/ 2147483647 h 15"/>
              <a:gd name="T6" fmla="*/ 2147483647 w 60"/>
              <a:gd name="T7" fmla="*/ 2147483647 h 15"/>
              <a:gd name="T8" fmla="*/ 2147483647 w 60"/>
              <a:gd name="T9" fmla="*/ 2147483647 h 15"/>
              <a:gd name="T10" fmla="*/ 2147483647 w 60"/>
              <a:gd name="T11" fmla="*/ 2147483647 h 15"/>
              <a:gd name="T12" fmla="*/ 2147483647 w 60"/>
              <a:gd name="T13" fmla="*/ 2147483647 h 15"/>
              <a:gd name="T14" fmla="*/ 2147483647 w 60"/>
              <a:gd name="T15" fmla="*/ 2147483647 h 15"/>
              <a:gd name="T16" fmla="*/ 2147483647 w 60"/>
              <a:gd name="T17" fmla="*/ 2147483647 h 15"/>
              <a:gd name="T18" fmla="*/ 2147483647 w 60"/>
              <a:gd name="T19" fmla="*/ 2147483647 h 15"/>
              <a:gd name="T20" fmla="*/ 2147483647 w 60"/>
              <a:gd name="T21" fmla="*/ 0 h 15"/>
              <a:gd name="T22" fmla="*/ 2147483647 w 60"/>
              <a:gd name="T23" fmla="*/ 0 h 15"/>
              <a:gd name="T24" fmla="*/ 2147483647 w 60"/>
              <a:gd name="T25" fmla="*/ 0 h 15"/>
              <a:gd name="T26" fmla="*/ 2147483647 w 60"/>
              <a:gd name="T27" fmla="*/ 0 h 15"/>
              <a:gd name="T28" fmla="*/ 2147483647 w 60"/>
              <a:gd name="T29" fmla="*/ 2147483647 h 15"/>
              <a:gd name="T30" fmla="*/ 2147483647 w 60"/>
              <a:gd name="T31" fmla="*/ 2147483647 h 15"/>
              <a:gd name="T32" fmla="*/ 2147483647 w 60"/>
              <a:gd name="T33" fmla="*/ 2147483647 h 15"/>
              <a:gd name="T34" fmla="*/ 2147483647 w 60"/>
              <a:gd name="T35" fmla="*/ 2147483647 h 15"/>
              <a:gd name="T36" fmla="*/ 0 w 60"/>
              <a:gd name="T37" fmla="*/ 2147483647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8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590665" y="6294065"/>
            <a:ext cx="33338" cy="57150"/>
          </a:xfrm>
          <a:custGeom>
            <a:avLst/>
            <a:gdLst>
              <a:gd name="T0" fmla="*/ 2147483647 w 79"/>
              <a:gd name="T1" fmla="*/ 0 h 32"/>
              <a:gd name="T2" fmla="*/ 2147483647 w 79"/>
              <a:gd name="T3" fmla="*/ 2147483647 h 32"/>
              <a:gd name="T4" fmla="*/ 2147483647 w 79"/>
              <a:gd name="T5" fmla="*/ 2147483647 h 32"/>
              <a:gd name="T6" fmla="*/ 2147483647 w 79"/>
              <a:gd name="T7" fmla="*/ 2147483647 h 32"/>
              <a:gd name="T8" fmla="*/ 2147483647 w 79"/>
              <a:gd name="T9" fmla="*/ 2147483647 h 32"/>
              <a:gd name="T10" fmla="*/ 2147483647 w 79"/>
              <a:gd name="T11" fmla="*/ 2147483647 h 32"/>
              <a:gd name="T12" fmla="*/ 2147483647 w 79"/>
              <a:gd name="T13" fmla="*/ 2147483647 h 32"/>
              <a:gd name="T14" fmla="*/ 2147483647 w 79"/>
              <a:gd name="T15" fmla="*/ 2147483647 h 32"/>
              <a:gd name="T16" fmla="*/ 0 w 79"/>
              <a:gd name="T17" fmla="*/ 2147483647 h 32"/>
              <a:gd name="T18" fmla="*/ 2147483647 w 79"/>
              <a:gd name="T19" fmla="*/ 2147483647 h 32"/>
              <a:gd name="T20" fmla="*/ 2147483647 w 79"/>
              <a:gd name="T21" fmla="*/ 2147483647 h 32"/>
              <a:gd name="T22" fmla="*/ 2147483647 w 79"/>
              <a:gd name="T23" fmla="*/ 2147483647 h 32"/>
              <a:gd name="T24" fmla="*/ 2147483647 w 79"/>
              <a:gd name="T25" fmla="*/ 2147483647 h 32"/>
              <a:gd name="T26" fmla="*/ 2147483647 w 79"/>
              <a:gd name="T27" fmla="*/ 2147483647 h 32"/>
              <a:gd name="T28" fmla="*/ 2147483647 w 79"/>
              <a:gd name="T29" fmla="*/ 2147483647 h 32"/>
              <a:gd name="T30" fmla="*/ 2147483647 w 79"/>
              <a:gd name="T31" fmla="*/ 2147483647 h 32"/>
              <a:gd name="T32" fmla="*/ 2147483647 w 79"/>
              <a:gd name="T33" fmla="*/ 2147483647 h 32"/>
              <a:gd name="T34" fmla="*/ 2147483647 w 79"/>
              <a:gd name="T35" fmla="*/ 2147483647 h 32"/>
              <a:gd name="T36" fmla="*/ 2147483647 w 79"/>
              <a:gd name="T37" fmla="*/ 2147483647 h 32"/>
              <a:gd name="T38" fmla="*/ 2147483647 w 79"/>
              <a:gd name="T39" fmla="*/ 2147483647 h 32"/>
              <a:gd name="T40" fmla="*/ 2147483647 w 79"/>
              <a:gd name="T41" fmla="*/ 2147483647 h 32"/>
              <a:gd name="T42" fmla="*/ 2147483647 w 79"/>
              <a:gd name="T43" fmla="*/ 2147483647 h 32"/>
              <a:gd name="T44" fmla="*/ 2147483647 w 79"/>
              <a:gd name="T45" fmla="*/ 2147483647 h 32"/>
              <a:gd name="T46" fmla="*/ 2147483647 w 79"/>
              <a:gd name="T47" fmla="*/ 2147483647 h 32"/>
              <a:gd name="T48" fmla="*/ 2147483647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9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584315" y="6275015"/>
            <a:ext cx="30163" cy="57150"/>
          </a:xfrm>
          <a:custGeom>
            <a:avLst/>
            <a:gdLst>
              <a:gd name="T0" fmla="*/ 2147483647 w 66"/>
              <a:gd name="T1" fmla="*/ 0 h 19"/>
              <a:gd name="T2" fmla="*/ 2147483647 w 66"/>
              <a:gd name="T3" fmla="*/ 2147483647 h 19"/>
              <a:gd name="T4" fmla="*/ 2147483647 w 66"/>
              <a:gd name="T5" fmla="*/ 2147483647 h 19"/>
              <a:gd name="T6" fmla="*/ 2147483647 w 66"/>
              <a:gd name="T7" fmla="*/ 2147483647 h 19"/>
              <a:gd name="T8" fmla="*/ 2147483647 w 66"/>
              <a:gd name="T9" fmla="*/ 2147483647 h 19"/>
              <a:gd name="T10" fmla="*/ 2147483647 w 66"/>
              <a:gd name="T11" fmla="*/ 2147483647 h 19"/>
              <a:gd name="T12" fmla="*/ 2147483647 w 66"/>
              <a:gd name="T13" fmla="*/ 2147483647 h 19"/>
              <a:gd name="T14" fmla="*/ 0 w 66"/>
              <a:gd name="T15" fmla="*/ 2147483647 h 19"/>
              <a:gd name="T16" fmla="*/ 0 w 66"/>
              <a:gd name="T17" fmla="*/ 2147483647 h 19"/>
              <a:gd name="T18" fmla="*/ 2147483647 w 66"/>
              <a:gd name="T19" fmla="*/ 2147483647 h 19"/>
              <a:gd name="T20" fmla="*/ 2147483647 w 66"/>
              <a:gd name="T21" fmla="*/ 2147483647 h 19"/>
              <a:gd name="T22" fmla="*/ 2147483647 w 66"/>
              <a:gd name="T23" fmla="*/ 2147483647 h 19"/>
              <a:gd name="T24" fmla="*/ 2147483647 w 66"/>
              <a:gd name="T25" fmla="*/ 2147483647 h 19"/>
              <a:gd name="T26" fmla="*/ 2147483647 w 66"/>
              <a:gd name="T27" fmla="*/ 2147483647 h 19"/>
              <a:gd name="T28" fmla="*/ 2147483647 w 66"/>
              <a:gd name="T29" fmla="*/ 2147483647 h 19"/>
              <a:gd name="T30" fmla="*/ 2147483647 w 66"/>
              <a:gd name="T31" fmla="*/ 2147483647 h 19"/>
              <a:gd name="T32" fmla="*/ 2147483647 w 66"/>
              <a:gd name="T33" fmla="*/ 2147483647 h 19"/>
              <a:gd name="T34" fmla="*/ 2147483647 w 66"/>
              <a:gd name="T35" fmla="*/ 2147483647 h 19"/>
              <a:gd name="T36" fmla="*/ 2147483647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0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484303" y="5965453"/>
            <a:ext cx="25400" cy="60325"/>
          </a:xfrm>
          <a:custGeom>
            <a:avLst/>
            <a:gdLst>
              <a:gd name="T0" fmla="*/ 2147483647 w 53"/>
              <a:gd name="T1" fmla="*/ 0 h 80"/>
              <a:gd name="T2" fmla="*/ 2147483647 w 53"/>
              <a:gd name="T3" fmla="*/ 2147483647 h 80"/>
              <a:gd name="T4" fmla="*/ 2147483647 w 53"/>
              <a:gd name="T5" fmla="*/ 2147483647 h 80"/>
              <a:gd name="T6" fmla="*/ 2147483647 w 53"/>
              <a:gd name="T7" fmla="*/ 2147483647 h 80"/>
              <a:gd name="T8" fmla="*/ 2147483647 w 53"/>
              <a:gd name="T9" fmla="*/ 2147483647 h 80"/>
              <a:gd name="T10" fmla="*/ 0 w 53"/>
              <a:gd name="T11" fmla="*/ 2147483647 h 80"/>
              <a:gd name="T12" fmla="*/ 0 w 53"/>
              <a:gd name="T13" fmla="*/ 2147483647 h 80"/>
              <a:gd name="T14" fmla="*/ 0 w 53"/>
              <a:gd name="T15" fmla="*/ 2147483647 h 80"/>
              <a:gd name="T16" fmla="*/ 2147483647 w 53"/>
              <a:gd name="T17" fmla="*/ 2147483647 h 80"/>
              <a:gd name="T18" fmla="*/ 2147483647 w 53"/>
              <a:gd name="T19" fmla="*/ 2147483647 h 80"/>
              <a:gd name="T20" fmla="*/ 2147483647 w 53"/>
              <a:gd name="T21" fmla="*/ 2147483647 h 80"/>
              <a:gd name="T22" fmla="*/ 2147483647 w 53"/>
              <a:gd name="T23" fmla="*/ 2147483647 h 80"/>
              <a:gd name="T24" fmla="*/ 2147483647 w 53"/>
              <a:gd name="T25" fmla="*/ 2147483647 h 80"/>
              <a:gd name="T26" fmla="*/ 2147483647 w 53"/>
              <a:gd name="T27" fmla="*/ 2147483647 h 80"/>
              <a:gd name="T28" fmla="*/ 2147483647 w 53"/>
              <a:gd name="T29" fmla="*/ 2147483647 h 80"/>
              <a:gd name="T30" fmla="*/ 2147483647 w 53"/>
              <a:gd name="T31" fmla="*/ 2147483647 h 80"/>
              <a:gd name="T32" fmla="*/ 2147483647 w 53"/>
              <a:gd name="T33" fmla="*/ 2147483647 h 80"/>
              <a:gd name="T34" fmla="*/ 2147483647 w 53"/>
              <a:gd name="T35" fmla="*/ 2147483647 h 80"/>
              <a:gd name="T36" fmla="*/ 2147483647 w 53"/>
              <a:gd name="T37" fmla="*/ 2147483647 h 80"/>
              <a:gd name="T38" fmla="*/ 2147483647 w 53"/>
              <a:gd name="T39" fmla="*/ 2147483647 h 80"/>
              <a:gd name="T40" fmla="*/ 2147483647 w 53"/>
              <a:gd name="T41" fmla="*/ 2147483647 h 80"/>
              <a:gd name="T42" fmla="*/ 2147483647 w 53"/>
              <a:gd name="T43" fmla="*/ 2147483647 h 80"/>
              <a:gd name="T44" fmla="*/ 2147483647 w 53"/>
              <a:gd name="T45" fmla="*/ 2147483647 h 80"/>
              <a:gd name="T46" fmla="*/ 2147483647 w 53"/>
              <a:gd name="T47" fmla="*/ 2147483647 h 80"/>
              <a:gd name="T48" fmla="*/ 2147483647 w 53"/>
              <a:gd name="T49" fmla="*/ 2147483647 h 80"/>
              <a:gd name="T50" fmla="*/ 2147483647 w 53"/>
              <a:gd name="T51" fmla="*/ 2147483647 h 80"/>
              <a:gd name="T52" fmla="*/ 2147483647 w 53"/>
              <a:gd name="T53" fmla="*/ 2147483647 h 80"/>
              <a:gd name="T54" fmla="*/ 2147483647 w 53"/>
              <a:gd name="T55" fmla="*/ 2147483647 h 80"/>
              <a:gd name="T56" fmla="*/ 2147483647 w 53"/>
              <a:gd name="T57" fmla="*/ 2147483647 h 80"/>
              <a:gd name="T58" fmla="*/ 2147483647 w 53"/>
              <a:gd name="T59" fmla="*/ 2147483647 h 80"/>
              <a:gd name="T60" fmla="*/ 2147483647 w 53"/>
              <a:gd name="T61" fmla="*/ 2147483647 h 80"/>
              <a:gd name="T62" fmla="*/ 2147483647 w 53"/>
              <a:gd name="T63" fmla="*/ 2147483647 h 80"/>
              <a:gd name="T64" fmla="*/ 2147483647 w 53"/>
              <a:gd name="T65" fmla="*/ 2147483647 h 80"/>
              <a:gd name="T66" fmla="*/ 2147483647 w 53"/>
              <a:gd name="T67" fmla="*/ 2147483647 h 80"/>
              <a:gd name="T68" fmla="*/ 2147483647 w 53"/>
              <a:gd name="T69" fmla="*/ 2147483647 h 80"/>
              <a:gd name="T70" fmla="*/ 2147483647 w 53"/>
              <a:gd name="T71" fmla="*/ 2147483647 h 80"/>
              <a:gd name="T72" fmla="*/ 2147483647 w 53"/>
              <a:gd name="T73" fmla="*/ 2147483647 h 80"/>
              <a:gd name="T74" fmla="*/ 2147483647 w 53"/>
              <a:gd name="T75" fmla="*/ 2147483647 h 80"/>
              <a:gd name="T76" fmla="*/ 2147483647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1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514465" y="6060703"/>
            <a:ext cx="17463" cy="53975"/>
          </a:xfrm>
          <a:custGeom>
            <a:avLst/>
            <a:gdLst>
              <a:gd name="T0" fmla="*/ 0 w 41"/>
              <a:gd name="T1" fmla="*/ 2147483647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0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2147483647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2147483647 h 43"/>
              <a:gd name="T24" fmla="*/ 0 w 41"/>
              <a:gd name="T25" fmla="*/ 2147483647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2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519228" y="6082928"/>
            <a:ext cx="7937" cy="58737"/>
          </a:xfrm>
          <a:custGeom>
            <a:avLst/>
            <a:gdLst>
              <a:gd name="T0" fmla="*/ 2147483647 w 20"/>
              <a:gd name="T1" fmla="*/ 0 h 24"/>
              <a:gd name="T2" fmla="*/ 0 w 20"/>
              <a:gd name="T3" fmla="*/ 0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2147483647 h 24"/>
              <a:gd name="T18" fmla="*/ 2147483647 w 20"/>
              <a:gd name="T19" fmla="*/ 2147483647 h 24"/>
              <a:gd name="T20" fmla="*/ 214748364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3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533515" y="6144840"/>
            <a:ext cx="17463" cy="60325"/>
          </a:xfrm>
          <a:custGeom>
            <a:avLst/>
            <a:gdLst>
              <a:gd name="T0" fmla="*/ 0 w 39"/>
              <a:gd name="T1" fmla="*/ 2147483647 h 43"/>
              <a:gd name="T2" fmla="*/ 2147483647 w 39"/>
              <a:gd name="T3" fmla="*/ 2147483647 h 43"/>
              <a:gd name="T4" fmla="*/ 2147483647 w 39"/>
              <a:gd name="T5" fmla="*/ 2147483647 h 43"/>
              <a:gd name="T6" fmla="*/ 2147483647 w 39"/>
              <a:gd name="T7" fmla="*/ 2147483647 h 43"/>
              <a:gd name="T8" fmla="*/ 2147483647 w 39"/>
              <a:gd name="T9" fmla="*/ 2147483647 h 43"/>
              <a:gd name="T10" fmla="*/ 2147483647 w 39"/>
              <a:gd name="T11" fmla="*/ 2147483647 h 43"/>
              <a:gd name="T12" fmla="*/ 2147483647 w 39"/>
              <a:gd name="T13" fmla="*/ 2147483647 h 43"/>
              <a:gd name="T14" fmla="*/ 2147483647 w 39"/>
              <a:gd name="T15" fmla="*/ 2147483647 h 43"/>
              <a:gd name="T16" fmla="*/ 2147483647 w 39"/>
              <a:gd name="T17" fmla="*/ 2147483647 h 43"/>
              <a:gd name="T18" fmla="*/ 2147483647 w 39"/>
              <a:gd name="T19" fmla="*/ 2147483647 h 43"/>
              <a:gd name="T20" fmla="*/ 2147483647 w 39"/>
              <a:gd name="T21" fmla="*/ 2147483647 h 43"/>
              <a:gd name="T22" fmla="*/ 2147483647 w 39"/>
              <a:gd name="T23" fmla="*/ 2147483647 h 43"/>
              <a:gd name="T24" fmla="*/ 2147483647 w 39"/>
              <a:gd name="T25" fmla="*/ 0 h 43"/>
              <a:gd name="T26" fmla="*/ 2147483647 w 39"/>
              <a:gd name="T27" fmla="*/ 2147483647 h 43"/>
              <a:gd name="T28" fmla="*/ 2147483647 w 39"/>
              <a:gd name="T29" fmla="*/ 2147483647 h 43"/>
              <a:gd name="T30" fmla="*/ 0 w 39"/>
              <a:gd name="T31" fmla="*/ 2147483647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4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520815" y="6157540"/>
            <a:ext cx="26988" cy="58738"/>
          </a:xfrm>
          <a:custGeom>
            <a:avLst/>
            <a:gdLst>
              <a:gd name="T0" fmla="*/ 2147483647 w 55"/>
              <a:gd name="T1" fmla="*/ 2147483647 h 62"/>
              <a:gd name="T2" fmla="*/ 2147483647 w 55"/>
              <a:gd name="T3" fmla="*/ 0 h 62"/>
              <a:gd name="T4" fmla="*/ 2147483647 w 55"/>
              <a:gd name="T5" fmla="*/ 2147483647 h 62"/>
              <a:gd name="T6" fmla="*/ 2147483647 w 55"/>
              <a:gd name="T7" fmla="*/ 2147483647 h 62"/>
              <a:gd name="T8" fmla="*/ 0 w 55"/>
              <a:gd name="T9" fmla="*/ 2147483647 h 62"/>
              <a:gd name="T10" fmla="*/ 0 w 55"/>
              <a:gd name="T11" fmla="*/ 2147483647 h 62"/>
              <a:gd name="T12" fmla="*/ 2147483647 w 55"/>
              <a:gd name="T13" fmla="*/ 2147483647 h 62"/>
              <a:gd name="T14" fmla="*/ 2147483647 w 55"/>
              <a:gd name="T15" fmla="*/ 2147483647 h 62"/>
              <a:gd name="T16" fmla="*/ 2147483647 w 55"/>
              <a:gd name="T17" fmla="*/ 2147483647 h 62"/>
              <a:gd name="T18" fmla="*/ 2147483647 w 55"/>
              <a:gd name="T19" fmla="*/ 2147483647 h 62"/>
              <a:gd name="T20" fmla="*/ 2147483647 w 55"/>
              <a:gd name="T21" fmla="*/ 2147483647 h 62"/>
              <a:gd name="T22" fmla="*/ 2147483647 w 55"/>
              <a:gd name="T23" fmla="*/ 2147483647 h 62"/>
              <a:gd name="T24" fmla="*/ 2147483647 w 55"/>
              <a:gd name="T25" fmla="*/ 2147483647 h 62"/>
              <a:gd name="T26" fmla="*/ 2147483647 w 55"/>
              <a:gd name="T27" fmla="*/ 2147483647 h 62"/>
              <a:gd name="T28" fmla="*/ 2147483647 w 55"/>
              <a:gd name="T29" fmla="*/ 2147483647 h 62"/>
              <a:gd name="T30" fmla="*/ 2147483647 w 55"/>
              <a:gd name="T31" fmla="*/ 2147483647 h 62"/>
              <a:gd name="T32" fmla="*/ 2147483647 w 55"/>
              <a:gd name="T33" fmla="*/ 2147483647 h 62"/>
              <a:gd name="T34" fmla="*/ 2147483647 w 55"/>
              <a:gd name="T35" fmla="*/ 2147483647 h 62"/>
              <a:gd name="T36" fmla="*/ 2147483647 w 55"/>
              <a:gd name="T37" fmla="*/ 2147483647 h 62"/>
              <a:gd name="T38" fmla="*/ 2147483647 w 55"/>
              <a:gd name="T39" fmla="*/ 2147483647 h 62"/>
              <a:gd name="T40" fmla="*/ 2147483647 w 55"/>
              <a:gd name="T41" fmla="*/ 2147483647 h 62"/>
              <a:gd name="T42" fmla="*/ 2147483647 w 55"/>
              <a:gd name="T43" fmla="*/ 2147483647 h 62"/>
              <a:gd name="T44" fmla="*/ 2147483647 w 55"/>
              <a:gd name="T45" fmla="*/ 2147483647 h 62"/>
              <a:gd name="T46" fmla="*/ 2147483647 w 55"/>
              <a:gd name="T47" fmla="*/ 2147483647 h 62"/>
              <a:gd name="T48" fmla="*/ 2147483647 w 55"/>
              <a:gd name="T49" fmla="*/ 2147483647 h 62"/>
              <a:gd name="T50" fmla="*/ 2147483647 w 55"/>
              <a:gd name="T51" fmla="*/ 2147483647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5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550978" y="6190878"/>
            <a:ext cx="11112" cy="58737"/>
          </a:xfrm>
          <a:custGeom>
            <a:avLst/>
            <a:gdLst>
              <a:gd name="T0" fmla="*/ 2147483647 w 35"/>
              <a:gd name="T1" fmla="*/ 2147483647 h 43"/>
              <a:gd name="T2" fmla="*/ 2147483647 w 35"/>
              <a:gd name="T3" fmla="*/ 0 h 43"/>
              <a:gd name="T4" fmla="*/ 2147483647 w 35"/>
              <a:gd name="T5" fmla="*/ 2147483647 h 43"/>
              <a:gd name="T6" fmla="*/ 0 w 35"/>
              <a:gd name="T7" fmla="*/ 2147483647 h 43"/>
              <a:gd name="T8" fmla="*/ 2147483647 w 35"/>
              <a:gd name="T9" fmla="*/ 2147483647 h 43"/>
              <a:gd name="T10" fmla="*/ 2147483647 w 35"/>
              <a:gd name="T11" fmla="*/ 2147483647 h 43"/>
              <a:gd name="T12" fmla="*/ 2147483647 w 35"/>
              <a:gd name="T13" fmla="*/ 2147483647 h 43"/>
              <a:gd name="T14" fmla="*/ 2147483647 w 35"/>
              <a:gd name="T15" fmla="*/ 2147483647 h 43"/>
              <a:gd name="T16" fmla="*/ 2147483647 w 35"/>
              <a:gd name="T17" fmla="*/ 2147483647 h 43"/>
              <a:gd name="T18" fmla="*/ 2147483647 w 35"/>
              <a:gd name="T19" fmla="*/ 2147483647 h 43"/>
              <a:gd name="T20" fmla="*/ 2147483647 w 35"/>
              <a:gd name="T21" fmla="*/ 2147483647 h 43"/>
              <a:gd name="T22" fmla="*/ 2147483647 w 35"/>
              <a:gd name="T23" fmla="*/ 2147483647 h 43"/>
              <a:gd name="T24" fmla="*/ 2147483647 w 35"/>
              <a:gd name="T25" fmla="*/ 2147483647 h 43"/>
              <a:gd name="T26" fmla="*/ 2147483647 w 35"/>
              <a:gd name="T27" fmla="*/ 2147483647 h 43"/>
              <a:gd name="T28" fmla="*/ 2147483647 w 35"/>
              <a:gd name="T29" fmla="*/ 2147483647 h 43"/>
              <a:gd name="T30" fmla="*/ 2147483647 w 35"/>
              <a:gd name="T31" fmla="*/ 2147483647 h 43"/>
              <a:gd name="T32" fmla="*/ 2147483647 w 35"/>
              <a:gd name="T33" fmla="*/ 2147483647 h 43"/>
              <a:gd name="T34" fmla="*/ 2147483647 w 35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6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547803" y="6224215"/>
            <a:ext cx="20637" cy="55563"/>
          </a:xfrm>
          <a:custGeom>
            <a:avLst/>
            <a:gdLst>
              <a:gd name="T0" fmla="*/ 2147483647 w 53"/>
              <a:gd name="T1" fmla="*/ 0 h 21"/>
              <a:gd name="T2" fmla="*/ 2147483647 w 53"/>
              <a:gd name="T3" fmla="*/ 2147483647 h 21"/>
              <a:gd name="T4" fmla="*/ 2147483647 w 53"/>
              <a:gd name="T5" fmla="*/ 2147483647 h 21"/>
              <a:gd name="T6" fmla="*/ 2147483647 w 53"/>
              <a:gd name="T7" fmla="*/ 2147483647 h 21"/>
              <a:gd name="T8" fmla="*/ 2147483647 w 53"/>
              <a:gd name="T9" fmla="*/ 2147483647 h 21"/>
              <a:gd name="T10" fmla="*/ 2147483647 w 53"/>
              <a:gd name="T11" fmla="*/ 2147483647 h 21"/>
              <a:gd name="T12" fmla="*/ 2147483647 w 53"/>
              <a:gd name="T13" fmla="*/ 2147483647 h 21"/>
              <a:gd name="T14" fmla="*/ 2147483647 w 53"/>
              <a:gd name="T15" fmla="*/ 2147483647 h 21"/>
              <a:gd name="T16" fmla="*/ 0 w 53"/>
              <a:gd name="T17" fmla="*/ 2147483647 h 21"/>
              <a:gd name="T18" fmla="*/ 2147483647 w 53"/>
              <a:gd name="T19" fmla="*/ 2147483647 h 21"/>
              <a:gd name="T20" fmla="*/ 2147483647 w 53"/>
              <a:gd name="T21" fmla="*/ 2147483647 h 21"/>
              <a:gd name="T22" fmla="*/ 2147483647 w 53"/>
              <a:gd name="T23" fmla="*/ 2147483647 h 21"/>
              <a:gd name="T24" fmla="*/ 2147483647 w 53"/>
              <a:gd name="T25" fmla="*/ 2147483647 h 21"/>
              <a:gd name="T26" fmla="*/ 2147483647 w 53"/>
              <a:gd name="T27" fmla="*/ 2147483647 h 21"/>
              <a:gd name="T28" fmla="*/ 2147483647 w 53"/>
              <a:gd name="T29" fmla="*/ 2147483647 h 21"/>
              <a:gd name="T30" fmla="*/ 214748364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7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571615" y="6238503"/>
            <a:ext cx="17463" cy="57150"/>
          </a:xfrm>
          <a:custGeom>
            <a:avLst/>
            <a:gdLst>
              <a:gd name="T0" fmla="*/ 2147483647 w 43"/>
              <a:gd name="T1" fmla="*/ 0 h 38"/>
              <a:gd name="T2" fmla="*/ 2147483647 w 43"/>
              <a:gd name="T3" fmla="*/ 0 h 38"/>
              <a:gd name="T4" fmla="*/ 2147483647 w 43"/>
              <a:gd name="T5" fmla="*/ 0 h 38"/>
              <a:gd name="T6" fmla="*/ 2147483647 w 43"/>
              <a:gd name="T7" fmla="*/ 0 h 38"/>
              <a:gd name="T8" fmla="*/ 0 w 43"/>
              <a:gd name="T9" fmla="*/ 2147483647 h 38"/>
              <a:gd name="T10" fmla="*/ 0 w 43"/>
              <a:gd name="T11" fmla="*/ 2147483647 h 38"/>
              <a:gd name="T12" fmla="*/ 0 w 43"/>
              <a:gd name="T13" fmla="*/ 2147483647 h 38"/>
              <a:gd name="T14" fmla="*/ 2147483647 w 43"/>
              <a:gd name="T15" fmla="*/ 2147483647 h 38"/>
              <a:gd name="T16" fmla="*/ 2147483647 w 43"/>
              <a:gd name="T17" fmla="*/ 2147483647 h 38"/>
              <a:gd name="T18" fmla="*/ 2147483647 w 43"/>
              <a:gd name="T19" fmla="*/ 2147483647 h 38"/>
              <a:gd name="T20" fmla="*/ 2147483647 w 43"/>
              <a:gd name="T21" fmla="*/ 2147483647 h 38"/>
              <a:gd name="T22" fmla="*/ 2147483647 w 43"/>
              <a:gd name="T23" fmla="*/ 2147483647 h 38"/>
              <a:gd name="T24" fmla="*/ 2147483647 w 43"/>
              <a:gd name="T25" fmla="*/ 2147483647 h 38"/>
              <a:gd name="T26" fmla="*/ 2147483647 w 43"/>
              <a:gd name="T27" fmla="*/ 2147483647 h 38"/>
              <a:gd name="T28" fmla="*/ 2147483647 w 43"/>
              <a:gd name="T29" fmla="*/ 2147483647 h 38"/>
              <a:gd name="T30" fmla="*/ 2147483647 w 43"/>
              <a:gd name="T31" fmla="*/ 2147483647 h 38"/>
              <a:gd name="T32" fmla="*/ 2147483647 w 43"/>
              <a:gd name="T33" fmla="*/ 2147483647 h 38"/>
              <a:gd name="T34" fmla="*/ 2147483647 w 43"/>
              <a:gd name="T35" fmla="*/ 2147483647 h 38"/>
              <a:gd name="T36" fmla="*/ 2147483647 w 43"/>
              <a:gd name="T37" fmla="*/ 2147483647 h 38"/>
              <a:gd name="T38" fmla="*/ 2147483647 w 43"/>
              <a:gd name="T39" fmla="*/ 2147483647 h 38"/>
              <a:gd name="T40" fmla="*/ 2147483647 w 43"/>
              <a:gd name="T41" fmla="*/ 2147483647 h 38"/>
              <a:gd name="T42" fmla="*/ 2147483647 w 43"/>
              <a:gd name="T43" fmla="*/ 2147483647 h 38"/>
              <a:gd name="T44" fmla="*/ 2147483647 w 43"/>
              <a:gd name="T45" fmla="*/ 2147483647 h 38"/>
              <a:gd name="T46" fmla="*/ 2147483647 w 43"/>
              <a:gd name="T47" fmla="*/ 2147483647 h 38"/>
              <a:gd name="T48" fmla="*/ 2147483647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8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573203" y="6267078"/>
            <a:ext cx="6350" cy="57150"/>
          </a:xfrm>
          <a:custGeom>
            <a:avLst/>
            <a:gdLst>
              <a:gd name="T0" fmla="*/ 0 w 20"/>
              <a:gd name="T1" fmla="*/ 0 h 5"/>
              <a:gd name="T2" fmla="*/ 2147483647 w 20"/>
              <a:gd name="T3" fmla="*/ 2147483647 h 5"/>
              <a:gd name="T4" fmla="*/ 2147483647 w 20"/>
              <a:gd name="T5" fmla="*/ 2147483647 h 5"/>
              <a:gd name="T6" fmla="*/ 2147483647 w 20"/>
              <a:gd name="T7" fmla="*/ 2147483647 h 5"/>
              <a:gd name="T8" fmla="*/ 2147483647 w 20"/>
              <a:gd name="T9" fmla="*/ 2147483647 h 5"/>
              <a:gd name="T10" fmla="*/ 2147483647 w 20"/>
              <a:gd name="T11" fmla="*/ 2147483647 h 5"/>
              <a:gd name="T12" fmla="*/ 2147483647 w 20"/>
              <a:gd name="T13" fmla="*/ 2147483647 h 5"/>
              <a:gd name="T14" fmla="*/ 2147483647 w 20"/>
              <a:gd name="T15" fmla="*/ 2147483647 h 5"/>
              <a:gd name="T16" fmla="*/ 2147483647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9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647815" y="6336928"/>
            <a:ext cx="34925" cy="57150"/>
          </a:xfrm>
          <a:custGeom>
            <a:avLst/>
            <a:gdLst>
              <a:gd name="T0" fmla="*/ 2147483647 w 73"/>
              <a:gd name="T1" fmla="*/ 0 h 22"/>
              <a:gd name="T2" fmla="*/ 2147483647 w 73"/>
              <a:gd name="T3" fmla="*/ 2147483647 h 22"/>
              <a:gd name="T4" fmla="*/ 2147483647 w 73"/>
              <a:gd name="T5" fmla="*/ 2147483647 h 22"/>
              <a:gd name="T6" fmla="*/ 2147483647 w 73"/>
              <a:gd name="T7" fmla="*/ 2147483647 h 22"/>
              <a:gd name="T8" fmla="*/ 2147483647 w 73"/>
              <a:gd name="T9" fmla="*/ 2147483647 h 22"/>
              <a:gd name="T10" fmla="*/ 2147483647 w 73"/>
              <a:gd name="T11" fmla="*/ 2147483647 h 22"/>
              <a:gd name="T12" fmla="*/ 0 w 73"/>
              <a:gd name="T13" fmla="*/ 2147483647 h 22"/>
              <a:gd name="T14" fmla="*/ 2147483647 w 73"/>
              <a:gd name="T15" fmla="*/ 2147483647 h 22"/>
              <a:gd name="T16" fmla="*/ 2147483647 w 73"/>
              <a:gd name="T17" fmla="*/ 2147483647 h 22"/>
              <a:gd name="T18" fmla="*/ 2147483647 w 73"/>
              <a:gd name="T19" fmla="*/ 2147483647 h 22"/>
              <a:gd name="T20" fmla="*/ 2147483647 w 73"/>
              <a:gd name="T21" fmla="*/ 2147483647 h 22"/>
              <a:gd name="T22" fmla="*/ 2147483647 w 73"/>
              <a:gd name="T23" fmla="*/ 2147483647 h 22"/>
              <a:gd name="T24" fmla="*/ 2147483647 w 73"/>
              <a:gd name="T25" fmla="*/ 2147483647 h 22"/>
              <a:gd name="T26" fmla="*/ 2147483647 w 73"/>
              <a:gd name="T27" fmla="*/ 2147483647 h 22"/>
              <a:gd name="T28" fmla="*/ 2147483647 w 73"/>
              <a:gd name="T29" fmla="*/ 2147483647 h 22"/>
              <a:gd name="T30" fmla="*/ 2147483647 w 73"/>
              <a:gd name="T31" fmla="*/ 2147483647 h 22"/>
              <a:gd name="T32" fmla="*/ 2147483647 w 73"/>
              <a:gd name="T33" fmla="*/ 2147483647 h 22"/>
              <a:gd name="T34" fmla="*/ 2147483647 w 73"/>
              <a:gd name="T35" fmla="*/ 2147483647 h 22"/>
              <a:gd name="T36" fmla="*/ 214748364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0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685915" y="6278190"/>
            <a:ext cx="123825" cy="100013"/>
          </a:xfrm>
          <a:custGeom>
            <a:avLst/>
            <a:gdLst>
              <a:gd name="T0" fmla="*/ 2147483647 w 281"/>
              <a:gd name="T1" fmla="*/ 2147483647 h 193"/>
              <a:gd name="T2" fmla="*/ 2147483647 w 281"/>
              <a:gd name="T3" fmla="*/ 2147483647 h 193"/>
              <a:gd name="T4" fmla="*/ 2147483647 w 281"/>
              <a:gd name="T5" fmla="*/ 2147483647 h 193"/>
              <a:gd name="T6" fmla="*/ 2147483647 w 281"/>
              <a:gd name="T7" fmla="*/ 2147483647 h 193"/>
              <a:gd name="T8" fmla="*/ 2147483647 w 281"/>
              <a:gd name="T9" fmla="*/ 2147483647 h 193"/>
              <a:gd name="T10" fmla="*/ 2147483647 w 281"/>
              <a:gd name="T11" fmla="*/ 2147483647 h 193"/>
              <a:gd name="T12" fmla="*/ 2147483647 w 281"/>
              <a:gd name="T13" fmla="*/ 2147483647 h 193"/>
              <a:gd name="T14" fmla="*/ 2147483647 w 281"/>
              <a:gd name="T15" fmla="*/ 2147483647 h 193"/>
              <a:gd name="T16" fmla="*/ 2147483647 w 281"/>
              <a:gd name="T17" fmla="*/ 2147483647 h 193"/>
              <a:gd name="T18" fmla="*/ 2147483647 w 281"/>
              <a:gd name="T19" fmla="*/ 0 h 193"/>
              <a:gd name="T20" fmla="*/ 2147483647 w 281"/>
              <a:gd name="T21" fmla="*/ 2147483647 h 193"/>
              <a:gd name="T22" fmla="*/ 2147483647 w 281"/>
              <a:gd name="T23" fmla="*/ 2147483647 h 193"/>
              <a:gd name="T24" fmla="*/ 2147483647 w 281"/>
              <a:gd name="T25" fmla="*/ 2147483647 h 193"/>
              <a:gd name="T26" fmla="*/ 0 w 281"/>
              <a:gd name="T27" fmla="*/ 2147483647 h 193"/>
              <a:gd name="T28" fmla="*/ 2147483647 w 281"/>
              <a:gd name="T29" fmla="*/ 2147483647 h 193"/>
              <a:gd name="T30" fmla="*/ 2147483647 w 281"/>
              <a:gd name="T31" fmla="*/ 2147483647 h 193"/>
              <a:gd name="T32" fmla="*/ 2147483647 w 281"/>
              <a:gd name="T33" fmla="*/ 2147483647 h 193"/>
              <a:gd name="T34" fmla="*/ 2147483647 w 281"/>
              <a:gd name="T35" fmla="*/ 2147483647 h 193"/>
              <a:gd name="T36" fmla="*/ 2147483647 w 281"/>
              <a:gd name="T37" fmla="*/ 2147483647 h 193"/>
              <a:gd name="T38" fmla="*/ 2147483647 w 281"/>
              <a:gd name="T39" fmla="*/ 2147483647 h 193"/>
              <a:gd name="T40" fmla="*/ 2147483647 w 281"/>
              <a:gd name="T41" fmla="*/ 2147483647 h 193"/>
              <a:gd name="T42" fmla="*/ 2147483647 w 281"/>
              <a:gd name="T43" fmla="*/ 2147483647 h 193"/>
              <a:gd name="T44" fmla="*/ 2147483647 w 281"/>
              <a:gd name="T45" fmla="*/ 2147483647 h 193"/>
              <a:gd name="T46" fmla="*/ 2147483647 w 281"/>
              <a:gd name="T47" fmla="*/ 2147483647 h 193"/>
              <a:gd name="T48" fmla="*/ 2147483647 w 281"/>
              <a:gd name="T49" fmla="*/ 2147483647 h 193"/>
              <a:gd name="T50" fmla="*/ 2147483647 w 281"/>
              <a:gd name="T51" fmla="*/ 2147483647 h 193"/>
              <a:gd name="T52" fmla="*/ 2147483647 w 281"/>
              <a:gd name="T53" fmla="*/ 2147483647 h 193"/>
              <a:gd name="T54" fmla="*/ 2147483647 w 281"/>
              <a:gd name="T55" fmla="*/ 2147483647 h 193"/>
              <a:gd name="T56" fmla="*/ 2147483647 w 281"/>
              <a:gd name="T57" fmla="*/ 2147483647 h 193"/>
              <a:gd name="T58" fmla="*/ 2147483647 w 281"/>
              <a:gd name="T59" fmla="*/ 2147483647 h 193"/>
              <a:gd name="T60" fmla="*/ 2147483647 w 281"/>
              <a:gd name="T61" fmla="*/ 2147483647 h 193"/>
              <a:gd name="T62" fmla="*/ 2147483647 w 281"/>
              <a:gd name="T63" fmla="*/ 2147483647 h 193"/>
              <a:gd name="T64" fmla="*/ 2147483647 w 281"/>
              <a:gd name="T65" fmla="*/ 2147483647 h 193"/>
              <a:gd name="T66" fmla="*/ 2147483647 w 281"/>
              <a:gd name="T67" fmla="*/ 2147483647 h 193"/>
              <a:gd name="T68" fmla="*/ 2147483647 w 281"/>
              <a:gd name="T69" fmla="*/ 2147483647 h 193"/>
              <a:gd name="T70" fmla="*/ 2147483647 w 281"/>
              <a:gd name="T71" fmla="*/ 2147483647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1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238240" y="4044578"/>
            <a:ext cx="52388" cy="58737"/>
          </a:xfrm>
          <a:custGeom>
            <a:avLst/>
            <a:gdLst>
              <a:gd name="T0" fmla="*/ 0 w 120"/>
              <a:gd name="T1" fmla="*/ 2147483647 h 56"/>
              <a:gd name="T2" fmla="*/ 2147483647 w 120"/>
              <a:gd name="T3" fmla="*/ 2147483647 h 56"/>
              <a:gd name="T4" fmla="*/ 2147483647 w 120"/>
              <a:gd name="T5" fmla="*/ 2147483647 h 56"/>
              <a:gd name="T6" fmla="*/ 2147483647 w 120"/>
              <a:gd name="T7" fmla="*/ 2147483647 h 56"/>
              <a:gd name="T8" fmla="*/ 2147483647 w 120"/>
              <a:gd name="T9" fmla="*/ 2147483647 h 56"/>
              <a:gd name="T10" fmla="*/ 2147483647 w 120"/>
              <a:gd name="T11" fmla="*/ 2147483647 h 56"/>
              <a:gd name="T12" fmla="*/ 2147483647 w 120"/>
              <a:gd name="T13" fmla="*/ 2147483647 h 56"/>
              <a:gd name="T14" fmla="*/ 2147483647 w 120"/>
              <a:gd name="T15" fmla="*/ 2147483647 h 56"/>
              <a:gd name="T16" fmla="*/ 2147483647 w 120"/>
              <a:gd name="T17" fmla="*/ 2147483647 h 56"/>
              <a:gd name="T18" fmla="*/ 2147483647 w 120"/>
              <a:gd name="T19" fmla="*/ 2147483647 h 56"/>
              <a:gd name="T20" fmla="*/ 2147483647 w 120"/>
              <a:gd name="T21" fmla="*/ 2147483647 h 56"/>
              <a:gd name="T22" fmla="*/ 2147483647 w 120"/>
              <a:gd name="T23" fmla="*/ 2147483647 h 56"/>
              <a:gd name="T24" fmla="*/ 2147483647 w 120"/>
              <a:gd name="T25" fmla="*/ 2147483647 h 56"/>
              <a:gd name="T26" fmla="*/ 2147483647 w 120"/>
              <a:gd name="T27" fmla="*/ 2147483647 h 56"/>
              <a:gd name="T28" fmla="*/ 2147483647 w 120"/>
              <a:gd name="T29" fmla="*/ 2147483647 h 56"/>
              <a:gd name="T30" fmla="*/ 2147483647 w 120"/>
              <a:gd name="T31" fmla="*/ 2147483647 h 56"/>
              <a:gd name="T32" fmla="*/ 2147483647 w 120"/>
              <a:gd name="T33" fmla="*/ 2147483647 h 56"/>
              <a:gd name="T34" fmla="*/ 2147483647 w 120"/>
              <a:gd name="T35" fmla="*/ 2147483647 h 56"/>
              <a:gd name="T36" fmla="*/ 2147483647 w 120"/>
              <a:gd name="T37" fmla="*/ 2147483647 h 56"/>
              <a:gd name="T38" fmla="*/ 2147483647 w 120"/>
              <a:gd name="T39" fmla="*/ 2147483647 h 56"/>
              <a:gd name="T40" fmla="*/ 2147483647 w 120"/>
              <a:gd name="T41" fmla="*/ 2147483647 h 56"/>
              <a:gd name="T42" fmla="*/ 2147483647 w 120"/>
              <a:gd name="T43" fmla="*/ 0 h 56"/>
              <a:gd name="T44" fmla="*/ 2147483647 w 120"/>
              <a:gd name="T45" fmla="*/ 2147483647 h 56"/>
              <a:gd name="T46" fmla="*/ 2147483647 w 120"/>
              <a:gd name="T47" fmla="*/ 2147483647 h 56"/>
              <a:gd name="T48" fmla="*/ 2147483647 w 120"/>
              <a:gd name="T49" fmla="*/ 2147483647 h 56"/>
              <a:gd name="T50" fmla="*/ 2147483647 w 120"/>
              <a:gd name="T51" fmla="*/ 2147483647 h 56"/>
              <a:gd name="T52" fmla="*/ 2147483647 w 120"/>
              <a:gd name="T53" fmla="*/ 2147483647 h 56"/>
              <a:gd name="T54" fmla="*/ 2147483647 w 120"/>
              <a:gd name="T55" fmla="*/ 2147483647 h 56"/>
              <a:gd name="T56" fmla="*/ 2147483647 w 120"/>
              <a:gd name="T57" fmla="*/ 2147483647 h 56"/>
              <a:gd name="T58" fmla="*/ 0 w 120"/>
              <a:gd name="T59" fmla="*/ 2147483647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2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2095365" y="3906465"/>
            <a:ext cx="250825" cy="109538"/>
          </a:xfrm>
          <a:custGeom>
            <a:avLst/>
            <a:gdLst>
              <a:gd name="T0" fmla="*/ 2147483647 w 574"/>
              <a:gd name="T1" fmla="*/ 2147483647 h 204"/>
              <a:gd name="T2" fmla="*/ 2147483647 w 574"/>
              <a:gd name="T3" fmla="*/ 2147483647 h 204"/>
              <a:gd name="T4" fmla="*/ 2147483647 w 574"/>
              <a:gd name="T5" fmla="*/ 2147483647 h 204"/>
              <a:gd name="T6" fmla="*/ 2147483647 w 574"/>
              <a:gd name="T7" fmla="*/ 2147483647 h 204"/>
              <a:gd name="T8" fmla="*/ 2147483647 w 574"/>
              <a:gd name="T9" fmla="*/ 2147483647 h 204"/>
              <a:gd name="T10" fmla="*/ 2147483647 w 574"/>
              <a:gd name="T11" fmla="*/ 2147483647 h 204"/>
              <a:gd name="T12" fmla="*/ 2147483647 w 574"/>
              <a:gd name="T13" fmla="*/ 2147483647 h 204"/>
              <a:gd name="T14" fmla="*/ 0 w 574"/>
              <a:gd name="T15" fmla="*/ 2147483647 h 204"/>
              <a:gd name="T16" fmla="*/ 2147483647 w 574"/>
              <a:gd name="T17" fmla="*/ 2147483647 h 204"/>
              <a:gd name="T18" fmla="*/ 2147483647 w 574"/>
              <a:gd name="T19" fmla="*/ 2147483647 h 204"/>
              <a:gd name="T20" fmla="*/ 2147483647 w 574"/>
              <a:gd name="T21" fmla="*/ 2147483647 h 204"/>
              <a:gd name="T22" fmla="*/ 2147483647 w 574"/>
              <a:gd name="T23" fmla="*/ 2147483647 h 204"/>
              <a:gd name="T24" fmla="*/ 2147483647 w 574"/>
              <a:gd name="T25" fmla="*/ 2147483647 h 204"/>
              <a:gd name="T26" fmla="*/ 2147483647 w 574"/>
              <a:gd name="T27" fmla="*/ 2147483647 h 204"/>
              <a:gd name="T28" fmla="*/ 2147483647 w 574"/>
              <a:gd name="T29" fmla="*/ 2147483647 h 204"/>
              <a:gd name="T30" fmla="*/ 2147483647 w 574"/>
              <a:gd name="T31" fmla="*/ 2147483647 h 204"/>
              <a:gd name="T32" fmla="*/ 2147483647 w 574"/>
              <a:gd name="T33" fmla="*/ 2147483647 h 204"/>
              <a:gd name="T34" fmla="*/ 2147483647 w 574"/>
              <a:gd name="T35" fmla="*/ 2147483647 h 204"/>
              <a:gd name="T36" fmla="*/ 2147483647 w 574"/>
              <a:gd name="T37" fmla="*/ 2147483647 h 204"/>
              <a:gd name="T38" fmla="*/ 2147483647 w 574"/>
              <a:gd name="T39" fmla="*/ 2147483647 h 204"/>
              <a:gd name="T40" fmla="*/ 2147483647 w 574"/>
              <a:gd name="T41" fmla="*/ 2147483647 h 204"/>
              <a:gd name="T42" fmla="*/ 2147483647 w 574"/>
              <a:gd name="T43" fmla="*/ 2147483647 h 204"/>
              <a:gd name="T44" fmla="*/ 2147483647 w 574"/>
              <a:gd name="T45" fmla="*/ 2147483647 h 204"/>
              <a:gd name="T46" fmla="*/ 2147483647 w 574"/>
              <a:gd name="T47" fmla="*/ 2147483647 h 204"/>
              <a:gd name="T48" fmla="*/ 2147483647 w 574"/>
              <a:gd name="T49" fmla="*/ 2147483647 h 204"/>
              <a:gd name="T50" fmla="*/ 2147483647 w 574"/>
              <a:gd name="T51" fmla="*/ 2147483647 h 204"/>
              <a:gd name="T52" fmla="*/ 2147483647 w 574"/>
              <a:gd name="T53" fmla="*/ 2147483647 h 204"/>
              <a:gd name="T54" fmla="*/ 2147483647 w 574"/>
              <a:gd name="T55" fmla="*/ 2147483647 h 204"/>
              <a:gd name="T56" fmla="*/ 2147483647 w 574"/>
              <a:gd name="T57" fmla="*/ 2147483647 h 204"/>
              <a:gd name="T58" fmla="*/ 2147483647 w 574"/>
              <a:gd name="T59" fmla="*/ 2147483647 h 204"/>
              <a:gd name="T60" fmla="*/ 2147483647 w 574"/>
              <a:gd name="T61" fmla="*/ 2147483647 h 204"/>
              <a:gd name="T62" fmla="*/ 2147483647 w 574"/>
              <a:gd name="T63" fmla="*/ 2147483647 h 204"/>
              <a:gd name="T64" fmla="*/ 2147483647 w 574"/>
              <a:gd name="T65" fmla="*/ 2147483647 h 204"/>
              <a:gd name="T66" fmla="*/ 2147483647 w 574"/>
              <a:gd name="T67" fmla="*/ 2147483647 h 204"/>
              <a:gd name="T68" fmla="*/ 2147483647 w 574"/>
              <a:gd name="T69" fmla="*/ 2147483647 h 204"/>
              <a:gd name="T70" fmla="*/ 2147483647 w 574"/>
              <a:gd name="T71" fmla="*/ 2147483647 h 204"/>
              <a:gd name="T72" fmla="*/ 2147483647 w 574"/>
              <a:gd name="T73" fmla="*/ 2147483647 h 204"/>
              <a:gd name="T74" fmla="*/ 2147483647 w 574"/>
              <a:gd name="T75" fmla="*/ 2147483647 h 204"/>
              <a:gd name="T76" fmla="*/ 2147483647 w 574"/>
              <a:gd name="T77" fmla="*/ 2147483647 h 204"/>
              <a:gd name="T78" fmla="*/ 2147483647 w 574"/>
              <a:gd name="T79" fmla="*/ 2147483647 h 204"/>
              <a:gd name="T80" fmla="*/ 2147483647 w 574"/>
              <a:gd name="T81" fmla="*/ 2147483647 h 204"/>
              <a:gd name="T82" fmla="*/ 2147483647 w 574"/>
              <a:gd name="T83" fmla="*/ 2147483647 h 204"/>
              <a:gd name="T84" fmla="*/ 2147483647 w 574"/>
              <a:gd name="T85" fmla="*/ 2147483647 h 204"/>
              <a:gd name="T86" fmla="*/ 2147483647 w 574"/>
              <a:gd name="T87" fmla="*/ 2147483647 h 204"/>
              <a:gd name="T88" fmla="*/ 2147483647 w 574"/>
              <a:gd name="T89" fmla="*/ 2147483647 h 204"/>
              <a:gd name="T90" fmla="*/ 2147483647 w 574"/>
              <a:gd name="T91" fmla="*/ 2147483647 h 204"/>
              <a:gd name="T92" fmla="*/ 2147483647 w 574"/>
              <a:gd name="T93" fmla="*/ 2147483647 h 204"/>
              <a:gd name="T94" fmla="*/ 2147483647 w 574"/>
              <a:gd name="T95" fmla="*/ 2147483647 h 204"/>
              <a:gd name="T96" fmla="*/ 2147483647 w 574"/>
              <a:gd name="T97" fmla="*/ 2147483647 h 204"/>
              <a:gd name="T98" fmla="*/ 2147483647 w 574"/>
              <a:gd name="T99" fmla="*/ 2147483647 h 204"/>
              <a:gd name="T100" fmla="*/ 2147483647 w 574"/>
              <a:gd name="T101" fmla="*/ 2147483647 h 204"/>
              <a:gd name="T102" fmla="*/ 2147483647 w 574"/>
              <a:gd name="T103" fmla="*/ 2147483647 h 204"/>
              <a:gd name="T104" fmla="*/ 2147483647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3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400165" y="4009653"/>
            <a:ext cx="88900" cy="69850"/>
          </a:xfrm>
          <a:custGeom>
            <a:avLst/>
            <a:gdLst>
              <a:gd name="T0" fmla="*/ 2147483647 w 207"/>
              <a:gd name="T1" fmla="*/ 2147483647 h 129"/>
              <a:gd name="T2" fmla="*/ 2147483647 w 207"/>
              <a:gd name="T3" fmla="*/ 2147483647 h 129"/>
              <a:gd name="T4" fmla="*/ 2147483647 w 207"/>
              <a:gd name="T5" fmla="*/ 2147483647 h 129"/>
              <a:gd name="T6" fmla="*/ 2147483647 w 207"/>
              <a:gd name="T7" fmla="*/ 2147483647 h 129"/>
              <a:gd name="T8" fmla="*/ 2147483647 w 207"/>
              <a:gd name="T9" fmla="*/ 2147483647 h 129"/>
              <a:gd name="T10" fmla="*/ 2147483647 w 207"/>
              <a:gd name="T11" fmla="*/ 2147483647 h 129"/>
              <a:gd name="T12" fmla="*/ 2147483647 w 207"/>
              <a:gd name="T13" fmla="*/ 2147483647 h 129"/>
              <a:gd name="T14" fmla="*/ 2147483647 w 207"/>
              <a:gd name="T15" fmla="*/ 2147483647 h 129"/>
              <a:gd name="T16" fmla="*/ 2147483647 w 207"/>
              <a:gd name="T17" fmla="*/ 2147483647 h 129"/>
              <a:gd name="T18" fmla="*/ 2147483647 w 207"/>
              <a:gd name="T19" fmla="*/ 2147483647 h 129"/>
              <a:gd name="T20" fmla="*/ 2147483647 w 207"/>
              <a:gd name="T21" fmla="*/ 2147483647 h 129"/>
              <a:gd name="T22" fmla="*/ 2147483647 w 207"/>
              <a:gd name="T23" fmla="*/ 2147483647 h 129"/>
              <a:gd name="T24" fmla="*/ 2147483647 w 207"/>
              <a:gd name="T25" fmla="*/ 2147483647 h 129"/>
              <a:gd name="T26" fmla="*/ 2147483647 w 207"/>
              <a:gd name="T27" fmla="*/ 2147483647 h 129"/>
              <a:gd name="T28" fmla="*/ 2147483647 w 207"/>
              <a:gd name="T29" fmla="*/ 2147483647 h 129"/>
              <a:gd name="T30" fmla="*/ 2147483647 w 207"/>
              <a:gd name="T31" fmla="*/ 2147483647 h 129"/>
              <a:gd name="T32" fmla="*/ 2147483647 w 207"/>
              <a:gd name="T33" fmla="*/ 2147483647 h 129"/>
              <a:gd name="T34" fmla="*/ 2147483647 w 207"/>
              <a:gd name="T35" fmla="*/ 2147483647 h 129"/>
              <a:gd name="T36" fmla="*/ 2147483647 w 207"/>
              <a:gd name="T37" fmla="*/ 2147483647 h 129"/>
              <a:gd name="T38" fmla="*/ 2147483647 w 207"/>
              <a:gd name="T39" fmla="*/ 2147483647 h 129"/>
              <a:gd name="T40" fmla="*/ 2147483647 w 207"/>
              <a:gd name="T41" fmla="*/ 2147483647 h 129"/>
              <a:gd name="T42" fmla="*/ 2147483647 w 207"/>
              <a:gd name="T43" fmla="*/ 2147483647 h 129"/>
              <a:gd name="T44" fmla="*/ 2147483647 w 207"/>
              <a:gd name="T45" fmla="*/ 0 h 129"/>
              <a:gd name="T46" fmla="*/ 0 w 207"/>
              <a:gd name="T47" fmla="*/ 0 h 129"/>
              <a:gd name="T48" fmla="*/ 2147483647 w 207"/>
              <a:gd name="T49" fmla="*/ 2147483647 h 129"/>
              <a:gd name="T50" fmla="*/ 2147483647 w 207"/>
              <a:gd name="T51" fmla="*/ 2147483647 h 129"/>
              <a:gd name="T52" fmla="*/ 2147483647 w 207"/>
              <a:gd name="T53" fmla="*/ 2147483647 h 129"/>
              <a:gd name="T54" fmla="*/ 2147483647 w 207"/>
              <a:gd name="T55" fmla="*/ 2147483647 h 129"/>
              <a:gd name="T56" fmla="*/ 2147483647 w 207"/>
              <a:gd name="T57" fmla="*/ 2147483647 h 129"/>
              <a:gd name="T58" fmla="*/ 2147483647 w 207"/>
              <a:gd name="T59" fmla="*/ 2147483647 h 129"/>
              <a:gd name="T60" fmla="*/ 2147483647 w 207"/>
              <a:gd name="T61" fmla="*/ 2147483647 h 129"/>
              <a:gd name="T62" fmla="*/ 2147483647 w 207"/>
              <a:gd name="T63" fmla="*/ 2147483647 h 129"/>
              <a:gd name="T64" fmla="*/ 2147483647 w 207"/>
              <a:gd name="T65" fmla="*/ 2147483647 h 129"/>
              <a:gd name="T66" fmla="*/ 2147483647 w 207"/>
              <a:gd name="T67" fmla="*/ 2147483647 h 129"/>
              <a:gd name="T68" fmla="*/ 2147483647 w 207"/>
              <a:gd name="T69" fmla="*/ 2147483647 h 129"/>
              <a:gd name="T70" fmla="*/ 2147483647 w 207"/>
              <a:gd name="T71" fmla="*/ 2147483647 h 129"/>
              <a:gd name="T72" fmla="*/ 0 w 207"/>
              <a:gd name="T73" fmla="*/ 2147483647 h 129"/>
              <a:gd name="T74" fmla="*/ 2147483647 w 207"/>
              <a:gd name="T75" fmla="*/ 2147483647 h 129"/>
              <a:gd name="T76" fmla="*/ 2147483647 w 207"/>
              <a:gd name="T77" fmla="*/ 2147483647 h 129"/>
              <a:gd name="T78" fmla="*/ 2147483647 w 207"/>
              <a:gd name="T79" fmla="*/ 2147483647 h 129"/>
              <a:gd name="T80" fmla="*/ 2147483647 w 207"/>
              <a:gd name="T81" fmla="*/ 2147483647 h 129"/>
              <a:gd name="T82" fmla="*/ 2147483647 w 207"/>
              <a:gd name="T83" fmla="*/ 2147483647 h 129"/>
              <a:gd name="T84" fmla="*/ 2147483647 w 207"/>
              <a:gd name="T85" fmla="*/ 2147483647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4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968365" y="4069978"/>
            <a:ext cx="33338" cy="84137"/>
          </a:xfrm>
          <a:custGeom>
            <a:avLst/>
            <a:gdLst>
              <a:gd name="T0" fmla="*/ 2147483647 w 72"/>
              <a:gd name="T1" fmla="*/ 0 h 154"/>
              <a:gd name="T2" fmla="*/ 2147483647 w 72"/>
              <a:gd name="T3" fmla="*/ 2147483647 h 154"/>
              <a:gd name="T4" fmla="*/ 2147483647 w 72"/>
              <a:gd name="T5" fmla="*/ 2147483647 h 154"/>
              <a:gd name="T6" fmla="*/ 2147483647 w 72"/>
              <a:gd name="T7" fmla="*/ 2147483647 h 154"/>
              <a:gd name="T8" fmla="*/ 2147483647 w 72"/>
              <a:gd name="T9" fmla="*/ 2147483647 h 154"/>
              <a:gd name="T10" fmla="*/ 2147483647 w 72"/>
              <a:gd name="T11" fmla="*/ 2147483647 h 154"/>
              <a:gd name="T12" fmla="*/ 2147483647 w 72"/>
              <a:gd name="T13" fmla="*/ 2147483647 h 154"/>
              <a:gd name="T14" fmla="*/ 2147483647 w 72"/>
              <a:gd name="T15" fmla="*/ 2147483647 h 154"/>
              <a:gd name="T16" fmla="*/ 2147483647 w 72"/>
              <a:gd name="T17" fmla="*/ 2147483647 h 154"/>
              <a:gd name="T18" fmla="*/ 2147483647 w 72"/>
              <a:gd name="T19" fmla="*/ 2147483647 h 154"/>
              <a:gd name="T20" fmla="*/ 2147483647 w 72"/>
              <a:gd name="T21" fmla="*/ 2147483647 h 154"/>
              <a:gd name="T22" fmla="*/ 2147483647 w 72"/>
              <a:gd name="T23" fmla="*/ 2147483647 h 154"/>
              <a:gd name="T24" fmla="*/ 2147483647 w 72"/>
              <a:gd name="T25" fmla="*/ 2147483647 h 154"/>
              <a:gd name="T26" fmla="*/ 2147483647 w 72"/>
              <a:gd name="T27" fmla="*/ 2147483647 h 154"/>
              <a:gd name="T28" fmla="*/ 2147483647 w 72"/>
              <a:gd name="T29" fmla="*/ 2147483647 h 154"/>
              <a:gd name="T30" fmla="*/ 2147483647 w 72"/>
              <a:gd name="T31" fmla="*/ 2147483647 h 154"/>
              <a:gd name="T32" fmla="*/ 2147483647 w 72"/>
              <a:gd name="T33" fmla="*/ 2147483647 h 154"/>
              <a:gd name="T34" fmla="*/ 2147483647 w 72"/>
              <a:gd name="T35" fmla="*/ 2147483647 h 154"/>
              <a:gd name="T36" fmla="*/ 2147483647 w 72"/>
              <a:gd name="T37" fmla="*/ 2147483647 h 154"/>
              <a:gd name="T38" fmla="*/ 2147483647 w 72"/>
              <a:gd name="T39" fmla="*/ 2147483647 h 154"/>
              <a:gd name="T40" fmla="*/ 2147483647 w 72"/>
              <a:gd name="T41" fmla="*/ 2147483647 h 154"/>
              <a:gd name="T42" fmla="*/ 0 w 72"/>
              <a:gd name="T43" fmla="*/ 2147483647 h 154"/>
              <a:gd name="T44" fmla="*/ 2147483647 w 72"/>
              <a:gd name="T45" fmla="*/ 2147483647 h 154"/>
              <a:gd name="T46" fmla="*/ 2147483647 w 72"/>
              <a:gd name="T47" fmla="*/ 2147483647 h 154"/>
              <a:gd name="T48" fmla="*/ 2147483647 w 72"/>
              <a:gd name="T49" fmla="*/ 2147483647 h 154"/>
              <a:gd name="T50" fmla="*/ 2147483647 w 72"/>
              <a:gd name="T51" fmla="*/ 2147483647 h 154"/>
              <a:gd name="T52" fmla="*/ 2147483647 w 72"/>
              <a:gd name="T53" fmla="*/ 2147483647 h 154"/>
              <a:gd name="T54" fmla="*/ 2147483647 w 72"/>
              <a:gd name="T55" fmla="*/ 2147483647 h 154"/>
              <a:gd name="T56" fmla="*/ 2147483647 w 72"/>
              <a:gd name="T57" fmla="*/ 0 h 154"/>
              <a:gd name="T58" fmla="*/ 2147483647 w 72"/>
              <a:gd name="T59" fmla="*/ 0 h 154"/>
              <a:gd name="T60" fmla="*/ 2147483647 w 72"/>
              <a:gd name="T61" fmla="*/ 0 h 154"/>
              <a:gd name="T62" fmla="*/ 2147483647 w 72"/>
              <a:gd name="T63" fmla="*/ 0 h 154"/>
              <a:gd name="T64" fmla="*/ 2147483647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5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888990" y="4069978"/>
            <a:ext cx="93663" cy="146050"/>
          </a:xfrm>
          <a:custGeom>
            <a:avLst/>
            <a:gdLst>
              <a:gd name="T0" fmla="*/ 2147483647 w 214"/>
              <a:gd name="T1" fmla="*/ 2147483647 h 271"/>
              <a:gd name="T2" fmla="*/ 2147483647 w 214"/>
              <a:gd name="T3" fmla="*/ 2147483647 h 271"/>
              <a:gd name="T4" fmla="*/ 2147483647 w 214"/>
              <a:gd name="T5" fmla="*/ 2147483647 h 271"/>
              <a:gd name="T6" fmla="*/ 2147483647 w 214"/>
              <a:gd name="T7" fmla="*/ 2147483647 h 271"/>
              <a:gd name="T8" fmla="*/ 2147483647 w 214"/>
              <a:gd name="T9" fmla="*/ 2147483647 h 271"/>
              <a:gd name="T10" fmla="*/ 2147483647 w 214"/>
              <a:gd name="T11" fmla="*/ 2147483647 h 271"/>
              <a:gd name="T12" fmla="*/ 2147483647 w 214"/>
              <a:gd name="T13" fmla="*/ 2147483647 h 271"/>
              <a:gd name="T14" fmla="*/ 2147483647 w 214"/>
              <a:gd name="T15" fmla="*/ 2147483647 h 271"/>
              <a:gd name="T16" fmla="*/ 2147483647 w 214"/>
              <a:gd name="T17" fmla="*/ 2147483647 h 271"/>
              <a:gd name="T18" fmla="*/ 2147483647 w 214"/>
              <a:gd name="T19" fmla="*/ 2147483647 h 271"/>
              <a:gd name="T20" fmla="*/ 2147483647 w 214"/>
              <a:gd name="T21" fmla="*/ 2147483647 h 271"/>
              <a:gd name="T22" fmla="*/ 2147483647 w 214"/>
              <a:gd name="T23" fmla="*/ 2147483647 h 271"/>
              <a:gd name="T24" fmla="*/ 2147483647 w 214"/>
              <a:gd name="T25" fmla="*/ 2147483647 h 271"/>
              <a:gd name="T26" fmla="*/ 2147483647 w 214"/>
              <a:gd name="T27" fmla="*/ 2147483647 h 271"/>
              <a:gd name="T28" fmla="*/ 2147483647 w 214"/>
              <a:gd name="T29" fmla="*/ 2147483647 h 271"/>
              <a:gd name="T30" fmla="*/ 2147483647 w 214"/>
              <a:gd name="T31" fmla="*/ 2147483647 h 271"/>
              <a:gd name="T32" fmla="*/ 2147483647 w 214"/>
              <a:gd name="T33" fmla="*/ 2147483647 h 271"/>
              <a:gd name="T34" fmla="*/ 2147483647 w 214"/>
              <a:gd name="T35" fmla="*/ 2147483647 h 271"/>
              <a:gd name="T36" fmla="*/ 2147483647 w 214"/>
              <a:gd name="T37" fmla="*/ 0 h 271"/>
              <a:gd name="T38" fmla="*/ 2147483647 w 214"/>
              <a:gd name="T39" fmla="*/ 0 h 271"/>
              <a:gd name="T40" fmla="*/ 2147483647 w 214"/>
              <a:gd name="T41" fmla="*/ 2147483647 h 271"/>
              <a:gd name="T42" fmla="*/ 2147483647 w 214"/>
              <a:gd name="T43" fmla="*/ 2147483647 h 271"/>
              <a:gd name="T44" fmla="*/ 2147483647 w 214"/>
              <a:gd name="T45" fmla="*/ 2147483647 h 271"/>
              <a:gd name="T46" fmla="*/ 2147483647 w 214"/>
              <a:gd name="T47" fmla="*/ 2147483647 h 271"/>
              <a:gd name="T48" fmla="*/ 2147483647 w 214"/>
              <a:gd name="T49" fmla="*/ 2147483647 h 271"/>
              <a:gd name="T50" fmla="*/ 2147483647 w 214"/>
              <a:gd name="T51" fmla="*/ 2147483647 h 271"/>
              <a:gd name="T52" fmla="*/ 2147483647 w 214"/>
              <a:gd name="T53" fmla="*/ 2147483647 h 271"/>
              <a:gd name="T54" fmla="*/ 2147483647 w 214"/>
              <a:gd name="T55" fmla="*/ 2147483647 h 271"/>
              <a:gd name="T56" fmla="*/ 2147483647 w 214"/>
              <a:gd name="T57" fmla="*/ 2147483647 h 271"/>
              <a:gd name="T58" fmla="*/ 2147483647 w 214"/>
              <a:gd name="T59" fmla="*/ 2147483647 h 271"/>
              <a:gd name="T60" fmla="*/ 2147483647 w 214"/>
              <a:gd name="T61" fmla="*/ 2147483647 h 271"/>
              <a:gd name="T62" fmla="*/ 2147483647 w 214"/>
              <a:gd name="T63" fmla="*/ 2147483647 h 271"/>
              <a:gd name="T64" fmla="*/ 2147483647 w 214"/>
              <a:gd name="T65" fmla="*/ 2147483647 h 271"/>
              <a:gd name="T66" fmla="*/ 2147483647 w 214"/>
              <a:gd name="T67" fmla="*/ 2147483647 h 271"/>
              <a:gd name="T68" fmla="*/ 2147483647 w 214"/>
              <a:gd name="T69" fmla="*/ 2147483647 h 271"/>
              <a:gd name="T70" fmla="*/ 0 w 214"/>
              <a:gd name="T71" fmla="*/ 2147483647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6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936615" y="4181103"/>
            <a:ext cx="71438" cy="57150"/>
          </a:xfrm>
          <a:custGeom>
            <a:avLst/>
            <a:gdLst>
              <a:gd name="T0" fmla="*/ 2147483647 w 153"/>
              <a:gd name="T1" fmla="*/ 0 h 80"/>
              <a:gd name="T2" fmla="*/ 2147483647 w 153"/>
              <a:gd name="T3" fmla="*/ 2147483647 h 80"/>
              <a:gd name="T4" fmla="*/ 2147483647 w 153"/>
              <a:gd name="T5" fmla="*/ 2147483647 h 80"/>
              <a:gd name="T6" fmla="*/ 2147483647 w 153"/>
              <a:gd name="T7" fmla="*/ 2147483647 h 80"/>
              <a:gd name="T8" fmla="*/ 2147483647 w 153"/>
              <a:gd name="T9" fmla="*/ 2147483647 h 80"/>
              <a:gd name="T10" fmla="*/ 2147483647 w 153"/>
              <a:gd name="T11" fmla="*/ 2147483647 h 80"/>
              <a:gd name="T12" fmla="*/ 2147483647 w 153"/>
              <a:gd name="T13" fmla="*/ 2147483647 h 80"/>
              <a:gd name="T14" fmla="*/ 2147483647 w 153"/>
              <a:gd name="T15" fmla="*/ 2147483647 h 80"/>
              <a:gd name="T16" fmla="*/ 2147483647 w 153"/>
              <a:gd name="T17" fmla="*/ 2147483647 h 80"/>
              <a:gd name="T18" fmla="*/ 2147483647 w 153"/>
              <a:gd name="T19" fmla="*/ 2147483647 h 80"/>
              <a:gd name="T20" fmla="*/ 2147483647 w 153"/>
              <a:gd name="T21" fmla="*/ 2147483647 h 80"/>
              <a:gd name="T22" fmla="*/ 2147483647 w 153"/>
              <a:gd name="T23" fmla="*/ 2147483647 h 80"/>
              <a:gd name="T24" fmla="*/ 2147483647 w 153"/>
              <a:gd name="T25" fmla="*/ 2147483647 h 80"/>
              <a:gd name="T26" fmla="*/ 2147483647 w 153"/>
              <a:gd name="T27" fmla="*/ 2147483647 h 80"/>
              <a:gd name="T28" fmla="*/ 2147483647 w 153"/>
              <a:gd name="T29" fmla="*/ 2147483647 h 80"/>
              <a:gd name="T30" fmla="*/ 2147483647 w 153"/>
              <a:gd name="T31" fmla="*/ 2147483647 h 80"/>
              <a:gd name="T32" fmla="*/ 2147483647 w 153"/>
              <a:gd name="T33" fmla="*/ 2147483647 h 80"/>
              <a:gd name="T34" fmla="*/ 2147483647 w 153"/>
              <a:gd name="T35" fmla="*/ 2147483647 h 80"/>
              <a:gd name="T36" fmla="*/ 2147483647 w 153"/>
              <a:gd name="T37" fmla="*/ 2147483647 h 80"/>
              <a:gd name="T38" fmla="*/ 2147483647 w 153"/>
              <a:gd name="T39" fmla="*/ 2147483647 h 80"/>
              <a:gd name="T40" fmla="*/ 2147483647 w 153"/>
              <a:gd name="T41" fmla="*/ 2147483647 h 80"/>
              <a:gd name="T42" fmla="*/ 2147483647 w 153"/>
              <a:gd name="T43" fmla="*/ 2147483647 h 80"/>
              <a:gd name="T44" fmla="*/ 2147483647 w 153"/>
              <a:gd name="T45" fmla="*/ 2147483647 h 80"/>
              <a:gd name="T46" fmla="*/ 2147483647 w 153"/>
              <a:gd name="T47" fmla="*/ 2147483647 h 80"/>
              <a:gd name="T48" fmla="*/ 2147483647 w 153"/>
              <a:gd name="T49" fmla="*/ 2147483647 h 80"/>
              <a:gd name="T50" fmla="*/ 0 w 153"/>
              <a:gd name="T51" fmla="*/ 2147483647 h 80"/>
              <a:gd name="T52" fmla="*/ 2147483647 w 153"/>
              <a:gd name="T53" fmla="*/ 2147483647 h 80"/>
              <a:gd name="T54" fmla="*/ 2147483647 w 153"/>
              <a:gd name="T55" fmla="*/ 2147483647 h 80"/>
              <a:gd name="T56" fmla="*/ 2147483647 w 153"/>
              <a:gd name="T57" fmla="*/ 2147483647 h 80"/>
              <a:gd name="T58" fmla="*/ 2147483647 w 153"/>
              <a:gd name="T59" fmla="*/ 2147483647 h 80"/>
              <a:gd name="T60" fmla="*/ 2147483647 w 153"/>
              <a:gd name="T61" fmla="*/ 2147483647 h 80"/>
              <a:gd name="T62" fmla="*/ 2147483647 w 153"/>
              <a:gd name="T63" fmla="*/ 2147483647 h 80"/>
              <a:gd name="T64" fmla="*/ 2147483647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7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968365" y="4143003"/>
            <a:ext cx="142875" cy="87312"/>
          </a:xfrm>
          <a:custGeom>
            <a:avLst/>
            <a:gdLst>
              <a:gd name="T0" fmla="*/ 0 w 332"/>
              <a:gd name="T1" fmla="*/ 2147483647 h 169"/>
              <a:gd name="T2" fmla="*/ 2147483647 w 332"/>
              <a:gd name="T3" fmla="*/ 2147483647 h 169"/>
              <a:gd name="T4" fmla="*/ 2147483647 w 332"/>
              <a:gd name="T5" fmla="*/ 2147483647 h 169"/>
              <a:gd name="T6" fmla="*/ 2147483647 w 332"/>
              <a:gd name="T7" fmla="*/ 2147483647 h 169"/>
              <a:gd name="T8" fmla="*/ 2147483647 w 332"/>
              <a:gd name="T9" fmla="*/ 2147483647 h 169"/>
              <a:gd name="T10" fmla="*/ 2147483647 w 332"/>
              <a:gd name="T11" fmla="*/ 2147483647 h 169"/>
              <a:gd name="T12" fmla="*/ 2147483647 w 332"/>
              <a:gd name="T13" fmla="*/ 2147483647 h 169"/>
              <a:gd name="T14" fmla="*/ 2147483647 w 332"/>
              <a:gd name="T15" fmla="*/ 2147483647 h 169"/>
              <a:gd name="T16" fmla="*/ 2147483647 w 332"/>
              <a:gd name="T17" fmla="*/ 2147483647 h 169"/>
              <a:gd name="T18" fmla="*/ 2147483647 w 332"/>
              <a:gd name="T19" fmla="*/ 2147483647 h 169"/>
              <a:gd name="T20" fmla="*/ 2147483647 w 332"/>
              <a:gd name="T21" fmla="*/ 2147483647 h 169"/>
              <a:gd name="T22" fmla="*/ 2147483647 w 332"/>
              <a:gd name="T23" fmla="*/ 2147483647 h 169"/>
              <a:gd name="T24" fmla="*/ 2147483647 w 332"/>
              <a:gd name="T25" fmla="*/ 2147483647 h 169"/>
              <a:gd name="T26" fmla="*/ 2147483647 w 332"/>
              <a:gd name="T27" fmla="*/ 2147483647 h 169"/>
              <a:gd name="T28" fmla="*/ 2147483647 w 332"/>
              <a:gd name="T29" fmla="*/ 2147483647 h 169"/>
              <a:gd name="T30" fmla="*/ 2147483647 w 332"/>
              <a:gd name="T31" fmla="*/ 2147483647 h 169"/>
              <a:gd name="T32" fmla="*/ 2147483647 w 332"/>
              <a:gd name="T33" fmla="*/ 2147483647 h 169"/>
              <a:gd name="T34" fmla="*/ 2147483647 w 332"/>
              <a:gd name="T35" fmla="*/ 2147483647 h 169"/>
              <a:gd name="T36" fmla="*/ 2147483647 w 332"/>
              <a:gd name="T37" fmla="*/ 2147483647 h 169"/>
              <a:gd name="T38" fmla="*/ 2147483647 w 332"/>
              <a:gd name="T39" fmla="*/ 2147483647 h 169"/>
              <a:gd name="T40" fmla="*/ 2147483647 w 332"/>
              <a:gd name="T41" fmla="*/ 2147483647 h 169"/>
              <a:gd name="T42" fmla="*/ 2147483647 w 332"/>
              <a:gd name="T43" fmla="*/ 0 h 169"/>
              <a:gd name="T44" fmla="*/ 2147483647 w 332"/>
              <a:gd name="T45" fmla="*/ 2147483647 h 169"/>
              <a:gd name="T46" fmla="*/ 2147483647 w 332"/>
              <a:gd name="T47" fmla="*/ 2147483647 h 169"/>
              <a:gd name="T48" fmla="*/ 2147483647 w 332"/>
              <a:gd name="T49" fmla="*/ 2147483647 h 169"/>
              <a:gd name="T50" fmla="*/ 2147483647 w 332"/>
              <a:gd name="T51" fmla="*/ 2147483647 h 169"/>
              <a:gd name="T52" fmla="*/ 2147483647 w 332"/>
              <a:gd name="T53" fmla="*/ 2147483647 h 169"/>
              <a:gd name="T54" fmla="*/ 2147483647 w 332"/>
              <a:gd name="T55" fmla="*/ 2147483647 h 169"/>
              <a:gd name="T56" fmla="*/ 2147483647 w 332"/>
              <a:gd name="T57" fmla="*/ 2147483647 h 169"/>
              <a:gd name="T58" fmla="*/ 2147483647 w 332"/>
              <a:gd name="T59" fmla="*/ 2147483647 h 169"/>
              <a:gd name="T60" fmla="*/ 2147483647 w 332"/>
              <a:gd name="T61" fmla="*/ 2147483647 h 169"/>
              <a:gd name="T62" fmla="*/ 2147483647 w 332"/>
              <a:gd name="T63" fmla="*/ 2147483647 h 169"/>
              <a:gd name="T64" fmla="*/ 2147483647 w 332"/>
              <a:gd name="T65" fmla="*/ 2147483647 h 169"/>
              <a:gd name="T66" fmla="*/ 2147483647 w 332"/>
              <a:gd name="T67" fmla="*/ 2147483647 h 169"/>
              <a:gd name="T68" fmla="*/ 2147483647 w 332"/>
              <a:gd name="T69" fmla="*/ 2147483647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8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985828" y="4173165"/>
            <a:ext cx="125412" cy="122238"/>
          </a:xfrm>
          <a:custGeom>
            <a:avLst/>
            <a:gdLst>
              <a:gd name="T0" fmla="*/ 2147483647 w 286"/>
              <a:gd name="T1" fmla="*/ 2147483647 h 235"/>
              <a:gd name="T2" fmla="*/ 2147483647 w 286"/>
              <a:gd name="T3" fmla="*/ 2147483647 h 235"/>
              <a:gd name="T4" fmla="*/ 2147483647 w 286"/>
              <a:gd name="T5" fmla="*/ 2147483647 h 235"/>
              <a:gd name="T6" fmla="*/ 2147483647 w 286"/>
              <a:gd name="T7" fmla="*/ 2147483647 h 235"/>
              <a:gd name="T8" fmla="*/ 2147483647 w 286"/>
              <a:gd name="T9" fmla="*/ 2147483647 h 235"/>
              <a:gd name="T10" fmla="*/ 2147483647 w 286"/>
              <a:gd name="T11" fmla="*/ 2147483647 h 235"/>
              <a:gd name="T12" fmla="*/ 2147483647 w 286"/>
              <a:gd name="T13" fmla="*/ 2147483647 h 235"/>
              <a:gd name="T14" fmla="*/ 2147483647 w 286"/>
              <a:gd name="T15" fmla="*/ 2147483647 h 235"/>
              <a:gd name="T16" fmla="*/ 2147483647 w 286"/>
              <a:gd name="T17" fmla="*/ 2147483647 h 235"/>
              <a:gd name="T18" fmla="*/ 2147483647 w 286"/>
              <a:gd name="T19" fmla="*/ 2147483647 h 235"/>
              <a:gd name="T20" fmla="*/ 2147483647 w 286"/>
              <a:gd name="T21" fmla="*/ 2147483647 h 235"/>
              <a:gd name="T22" fmla="*/ 2147483647 w 286"/>
              <a:gd name="T23" fmla="*/ 2147483647 h 235"/>
              <a:gd name="T24" fmla="*/ 2147483647 w 286"/>
              <a:gd name="T25" fmla="*/ 2147483647 h 235"/>
              <a:gd name="T26" fmla="*/ 2147483647 w 286"/>
              <a:gd name="T27" fmla="*/ 2147483647 h 235"/>
              <a:gd name="T28" fmla="*/ 2147483647 w 286"/>
              <a:gd name="T29" fmla="*/ 2147483647 h 235"/>
              <a:gd name="T30" fmla="*/ 2147483647 w 286"/>
              <a:gd name="T31" fmla="*/ 2147483647 h 235"/>
              <a:gd name="T32" fmla="*/ 2147483647 w 286"/>
              <a:gd name="T33" fmla="*/ 2147483647 h 235"/>
              <a:gd name="T34" fmla="*/ 2147483647 w 286"/>
              <a:gd name="T35" fmla="*/ 2147483647 h 235"/>
              <a:gd name="T36" fmla="*/ 2147483647 w 286"/>
              <a:gd name="T37" fmla="*/ 2147483647 h 235"/>
              <a:gd name="T38" fmla="*/ 2147483647 w 286"/>
              <a:gd name="T39" fmla="*/ 2147483647 h 235"/>
              <a:gd name="T40" fmla="*/ 2147483647 w 286"/>
              <a:gd name="T41" fmla="*/ 2147483647 h 235"/>
              <a:gd name="T42" fmla="*/ 2147483647 w 286"/>
              <a:gd name="T43" fmla="*/ 2147483647 h 235"/>
              <a:gd name="T44" fmla="*/ 2147483647 w 286"/>
              <a:gd name="T45" fmla="*/ 2147483647 h 235"/>
              <a:gd name="T46" fmla="*/ 2147483647 w 286"/>
              <a:gd name="T47" fmla="*/ 2147483647 h 235"/>
              <a:gd name="T48" fmla="*/ 2147483647 w 286"/>
              <a:gd name="T49" fmla="*/ 2147483647 h 235"/>
              <a:gd name="T50" fmla="*/ 2147483647 w 286"/>
              <a:gd name="T51" fmla="*/ 2147483647 h 235"/>
              <a:gd name="T52" fmla="*/ 2147483647 w 286"/>
              <a:gd name="T53" fmla="*/ 2147483647 h 235"/>
              <a:gd name="T54" fmla="*/ 2147483647 w 286"/>
              <a:gd name="T55" fmla="*/ 2147483647 h 235"/>
              <a:gd name="T56" fmla="*/ 0 w 286"/>
              <a:gd name="T57" fmla="*/ 2147483647 h 235"/>
              <a:gd name="T58" fmla="*/ 2147483647 w 286"/>
              <a:gd name="T59" fmla="*/ 2147483647 h 235"/>
              <a:gd name="T60" fmla="*/ 2147483647 w 286"/>
              <a:gd name="T61" fmla="*/ 2147483647 h 235"/>
              <a:gd name="T62" fmla="*/ 2147483647 w 286"/>
              <a:gd name="T63" fmla="*/ 2147483647 h 235"/>
              <a:gd name="T64" fmla="*/ 2147483647 w 286"/>
              <a:gd name="T65" fmla="*/ 2147483647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9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036628" y="4285878"/>
            <a:ext cx="84137" cy="100012"/>
          </a:xfrm>
          <a:custGeom>
            <a:avLst/>
            <a:gdLst>
              <a:gd name="T0" fmla="*/ 2147483647 w 205"/>
              <a:gd name="T1" fmla="*/ 2147483647 h 191"/>
              <a:gd name="T2" fmla="*/ 2147483647 w 205"/>
              <a:gd name="T3" fmla="*/ 2147483647 h 191"/>
              <a:gd name="T4" fmla="*/ 2147483647 w 205"/>
              <a:gd name="T5" fmla="*/ 2147483647 h 191"/>
              <a:gd name="T6" fmla="*/ 2147483647 w 205"/>
              <a:gd name="T7" fmla="*/ 2147483647 h 191"/>
              <a:gd name="T8" fmla="*/ 2147483647 w 205"/>
              <a:gd name="T9" fmla="*/ 2147483647 h 191"/>
              <a:gd name="T10" fmla="*/ 2147483647 w 205"/>
              <a:gd name="T11" fmla="*/ 2147483647 h 191"/>
              <a:gd name="T12" fmla="*/ 2147483647 w 205"/>
              <a:gd name="T13" fmla="*/ 2147483647 h 191"/>
              <a:gd name="T14" fmla="*/ 2147483647 w 205"/>
              <a:gd name="T15" fmla="*/ 2147483647 h 191"/>
              <a:gd name="T16" fmla="*/ 2147483647 w 205"/>
              <a:gd name="T17" fmla="*/ 2147483647 h 191"/>
              <a:gd name="T18" fmla="*/ 2147483647 w 205"/>
              <a:gd name="T19" fmla="*/ 2147483647 h 191"/>
              <a:gd name="T20" fmla="*/ 2147483647 w 205"/>
              <a:gd name="T21" fmla="*/ 2147483647 h 191"/>
              <a:gd name="T22" fmla="*/ 2147483647 w 205"/>
              <a:gd name="T23" fmla="*/ 2147483647 h 191"/>
              <a:gd name="T24" fmla="*/ 2147483647 w 205"/>
              <a:gd name="T25" fmla="*/ 2147483647 h 191"/>
              <a:gd name="T26" fmla="*/ 2147483647 w 205"/>
              <a:gd name="T27" fmla="*/ 2147483647 h 191"/>
              <a:gd name="T28" fmla="*/ 2147483647 w 205"/>
              <a:gd name="T29" fmla="*/ 2147483647 h 191"/>
              <a:gd name="T30" fmla="*/ 2147483647 w 205"/>
              <a:gd name="T31" fmla="*/ 2147483647 h 191"/>
              <a:gd name="T32" fmla="*/ 2147483647 w 205"/>
              <a:gd name="T33" fmla="*/ 2147483647 h 191"/>
              <a:gd name="T34" fmla="*/ 2147483647 w 205"/>
              <a:gd name="T35" fmla="*/ 2147483647 h 191"/>
              <a:gd name="T36" fmla="*/ 2147483647 w 205"/>
              <a:gd name="T37" fmla="*/ 2147483647 h 191"/>
              <a:gd name="T38" fmla="*/ 2147483647 w 205"/>
              <a:gd name="T39" fmla="*/ 2147483647 h 191"/>
              <a:gd name="T40" fmla="*/ 2147483647 w 205"/>
              <a:gd name="T41" fmla="*/ 2147483647 h 191"/>
              <a:gd name="T42" fmla="*/ 2147483647 w 205"/>
              <a:gd name="T43" fmla="*/ 2147483647 h 191"/>
              <a:gd name="T44" fmla="*/ 2147483647 w 205"/>
              <a:gd name="T45" fmla="*/ 2147483647 h 191"/>
              <a:gd name="T46" fmla="*/ 0 w 205"/>
              <a:gd name="T47" fmla="*/ 2147483647 h 191"/>
              <a:gd name="T48" fmla="*/ 0 w 205"/>
              <a:gd name="T49" fmla="*/ 2147483647 h 191"/>
              <a:gd name="T50" fmla="*/ 2147483647 w 205"/>
              <a:gd name="T51" fmla="*/ 2147483647 h 191"/>
              <a:gd name="T52" fmla="*/ 2147483647 w 205"/>
              <a:gd name="T53" fmla="*/ 2147483647 h 191"/>
              <a:gd name="T54" fmla="*/ 2147483647 w 205"/>
              <a:gd name="T55" fmla="*/ 2147483647 h 191"/>
              <a:gd name="T56" fmla="*/ 2147483647 w 205"/>
              <a:gd name="T57" fmla="*/ 2147483647 h 191"/>
              <a:gd name="T58" fmla="*/ 2147483647 w 205"/>
              <a:gd name="T59" fmla="*/ 0 h 191"/>
              <a:gd name="T60" fmla="*/ 2147483647 w 205"/>
              <a:gd name="T61" fmla="*/ 2147483647 h 191"/>
              <a:gd name="T62" fmla="*/ 2147483647 w 205"/>
              <a:gd name="T63" fmla="*/ 2147483647 h 191"/>
              <a:gd name="T64" fmla="*/ 2147483647 w 205"/>
              <a:gd name="T65" fmla="*/ 2147483647 h 191"/>
              <a:gd name="T66" fmla="*/ 2147483647 w 205"/>
              <a:gd name="T67" fmla="*/ 2147483647 h 191"/>
              <a:gd name="T68" fmla="*/ 2147483647 w 205"/>
              <a:gd name="T69" fmla="*/ 2147483647 h 191"/>
              <a:gd name="T70" fmla="*/ 2147483647 w 205"/>
              <a:gd name="T71" fmla="*/ 2147483647 h 191"/>
              <a:gd name="T72" fmla="*/ 2147483647 w 205"/>
              <a:gd name="T73" fmla="*/ 2147483647 h 191"/>
              <a:gd name="T74" fmla="*/ 2147483647 w 205"/>
              <a:gd name="T75" fmla="*/ 2147483647 h 191"/>
              <a:gd name="T76" fmla="*/ 2147483647 w 205"/>
              <a:gd name="T77" fmla="*/ 2147483647 h 191"/>
              <a:gd name="T78" fmla="*/ 2147483647 w 205"/>
              <a:gd name="T79" fmla="*/ 2147483647 h 191"/>
              <a:gd name="T80" fmla="*/ 2147483647 w 205"/>
              <a:gd name="T81" fmla="*/ 2147483647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0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2117590" y="4339853"/>
            <a:ext cx="142875" cy="79375"/>
          </a:xfrm>
          <a:custGeom>
            <a:avLst/>
            <a:gdLst>
              <a:gd name="T0" fmla="*/ 2147483647 w 329"/>
              <a:gd name="T1" fmla="*/ 2147483647 h 154"/>
              <a:gd name="T2" fmla="*/ 0 w 329"/>
              <a:gd name="T3" fmla="*/ 2147483647 h 154"/>
              <a:gd name="T4" fmla="*/ 2147483647 w 329"/>
              <a:gd name="T5" fmla="*/ 2147483647 h 154"/>
              <a:gd name="T6" fmla="*/ 2147483647 w 329"/>
              <a:gd name="T7" fmla="*/ 2147483647 h 154"/>
              <a:gd name="T8" fmla="*/ 2147483647 w 329"/>
              <a:gd name="T9" fmla="*/ 2147483647 h 154"/>
              <a:gd name="T10" fmla="*/ 2147483647 w 329"/>
              <a:gd name="T11" fmla="*/ 2147483647 h 154"/>
              <a:gd name="T12" fmla="*/ 2147483647 w 329"/>
              <a:gd name="T13" fmla="*/ 2147483647 h 154"/>
              <a:gd name="T14" fmla="*/ 2147483647 w 329"/>
              <a:gd name="T15" fmla="*/ 2147483647 h 154"/>
              <a:gd name="T16" fmla="*/ 2147483647 w 329"/>
              <a:gd name="T17" fmla="*/ 2147483647 h 154"/>
              <a:gd name="T18" fmla="*/ 2147483647 w 329"/>
              <a:gd name="T19" fmla="*/ 2147483647 h 154"/>
              <a:gd name="T20" fmla="*/ 2147483647 w 329"/>
              <a:gd name="T21" fmla="*/ 2147483647 h 154"/>
              <a:gd name="T22" fmla="*/ 2147483647 w 329"/>
              <a:gd name="T23" fmla="*/ 0 h 154"/>
              <a:gd name="T24" fmla="*/ 2147483647 w 329"/>
              <a:gd name="T25" fmla="*/ 0 h 154"/>
              <a:gd name="T26" fmla="*/ 2147483647 w 329"/>
              <a:gd name="T27" fmla="*/ 2147483647 h 154"/>
              <a:gd name="T28" fmla="*/ 2147483647 w 329"/>
              <a:gd name="T29" fmla="*/ 2147483647 h 154"/>
              <a:gd name="T30" fmla="*/ 2147483647 w 329"/>
              <a:gd name="T31" fmla="*/ 2147483647 h 154"/>
              <a:gd name="T32" fmla="*/ 2147483647 w 329"/>
              <a:gd name="T33" fmla="*/ 2147483647 h 154"/>
              <a:gd name="T34" fmla="*/ 2147483647 w 329"/>
              <a:gd name="T35" fmla="*/ 2147483647 h 154"/>
              <a:gd name="T36" fmla="*/ 2147483647 w 329"/>
              <a:gd name="T37" fmla="*/ 2147483647 h 154"/>
              <a:gd name="T38" fmla="*/ 2147483647 w 329"/>
              <a:gd name="T39" fmla="*/ 2147483647 h 154"/>
              <a:gd name="T40" fmla="*/ 2147483647 w 329"/>
              <a:gd name="T41" fmla="*/ 2147483647 h 154"/>
              <a:gd name="T42" fmla="*/ 2147483647 w 329"/>
              <a:gd name="T43" fmla="*/ 2147483647 h 154"/>
              <a:gd name="T44" fmla="*/ 2147483647 w 329"/>
              <a:gd name="T45" fmla="*/ 2147483647 h 154"/>
              <a:gd name="T46" fmla="*/ 2147483647 w 329"/>
              <a:gd name="T47" fmla="*/ 2147483647 h 154"/>
              <a:gd name="T48" fmla="*/ 2147483647 w 329"/>
              <a:gd name="T49" fmla="*/ 2147483647 h 154"/>
              <a:gd name="T50" fmla="*/ 2147483647 w 329"/>
              <a:gd name="T51" fmla="*/ 2147483647 h 154"/>
              <a:gd name="T52" fmla="*/ 2147483647 w 329"/>
              <a:gd name="T53" fmla="*/ 2147483647 h 154"/>
              <a:gd name="T54" fmla="*/ 2147483647 w 329"/>
              <a:gd name="T55" fmla="*/ 2147483647 h 154"/>
              <a:gd name="T56" fmla="*/ 2147483647 w 329"/>
              <a:gd name="T57" fmla="*/ 2147483647 h 154"/>
              <a:gd name="T58" fmla="*/ 2147483647 w 329"/>
              <a:gd name="T59" fmla="*/ 2147483647 h 154"/>
              <a:gd name="T60" fmla="*/ 2147483647 w 329"/>
              <a:gd name="T61" fmla="*/ 2147483647 h 154"/>
              <a:gd name="T62" fmla="*/ 2147483647 w 329"/>
              <a:gd name="T63" fmla="*/ 2147483647 h 154"/>
              <a:gd name="T64" fmla="*/ 2147483647 w 329"/>
              <a:gd name="T65" fmla="*/ 2147483647 h 154"/>
              <a:gd name="T66" fmla="*/ 2147483647 w 329"/>
              <a:gd name="T67" fmla="*/ 2147483647 h 154"/>
              <a:gd name="T68" fmla="*/ 2147483647 w 329"/>
              <a:gd name="T69" fmla="*/ 2147483647 h 154"/>
              <a:gd name="T70" fmla="*/ 2147483647 w 329"/>
              <a:gd name="T71" fmla="*/ 2147483647 h 154"/>
              <a:gd name="T72" fmla="*/ 2147483647 w 329"/>
              <a:gd name="T73" fmla="*/ 2147483647 h 154"/>
              <a:gd name="T74" fmla="*/ 2147483647 w 329"/>
              <a:gd name="T75" fmla="*/ 2147483647 h 154"/>
              <a:gd name="T76" fmla="*/ 2147483647 w 329"/>
              <a:gd name="T77" fmla="*/ 2147483647 h 154"/>
              <a:gd name="T78" fmla="*/ 2147483647 w 329"/>
              <a:gd name="T79" fmla="*/ 2147483647 h 154"/>
              <a:gd name="T80" fmla="*/ 2147483647 w 329"/>
              <a:gd name="T81" fmla="*/ 2147483647 h 154"/>
              <a:gd name="T82" fmla="*/ 2147483647 w 329"/>
              <a:gd name="T83" fmla="*/ 2147483647 h 154"/>
              <a:gd name="T84" fmla="*/ 2147483647 w 329"/>
              <a:gd name="T85" fmla="*/ 2147483647 h 154"/>
              <a:gd name="T86" fmla="*/ 2147483647 w 329"/>
              <a:gd name="T87" fmla="*/ 2147483647 h 154"/>
              <a:gd name="T88" fmla="*/ 2147483647 w 329"/>
              <a:gd name="T89" fmla="*/ 2147483647 h 154"/>
              <a:gd name="T90" fmla="*/ 2147483647 w 329"/>
              <a:gd name="T91" fmla="*/ 2147483647 h 154"/>
              <a:gd name="T92" fmla="*/ 2147483647 w 329"/>
              <a:gd name="T93" fmla="*/ 2147483647 h 154"/>
              <a:gd name="T94" fmla="*/ 2147483647 w 329"/>
              <a:gd name="T95" fmla="*/ 2147483647 h 154"/>
              <a:gd name="T96" fmla="*/ 2147483647 w 329"/>
              <a:gd name="T97" fmla="*/ 2147483647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1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798628" y="5593978"/>
            <a:ext cx="133350" cy="155575"/>
          </a:xfrm>
          <a:custGeom>
            <a:avLst/>
            <a:gdLst>
              <a:gd name="T0" fmla="*/ 2147483647 w 306"/>
              <a:gd name="T1" fmla="*/ 2147483647 h 293"/>
              <a:gd name="T2" fmla="*/ 2147483647 w 306"/>
              <a:gd name="T3" fmla="*/ 2147483647 h 293"/>
              <a:gd name="T4" fmla="*/ 2147483647 w 306"/>
              <a:gd name="T5" fmla="*/ 2147483647 h 293"/>
              <a:gd name="T6" fmla="*/ 2147483647 w 306"/>
              <a:gd name="T7" fmla="*/ 2147483647 h 293"/>
              <a:gd name="T8" fmla="*/ 2147483647 w 306"/>
              <a:gd name="T9" fmla="*/ 2147483647 h 293"/>
              <a:gd name="T10" fmla="*/ 2147483647 w 306"/>
              <a:gd name="T11" fmla="*/ 2147483647 h 293"/>
              <a:gd name="T12" fmla="*/ 2147483647 w 306"/>
              <a:gd name="T13" fmla="*/ 2147483647 h 293"/>
              <a:gd name="T14" fmla="*/ 2147483647 w 306"/>
              <a:gd name="T15" fmla="*/ 2147483647 h 293"/>
              <a:gd name="T16" fmla="*/ 2147483647 w 306"/>
              <a:gd name="T17" fmla="*/ 2147483647 h 293"/>
              <a:gd name="T18" fmla="*/ 2147483647 w 306"/>
              <a:gd name="T19" fmla="*/ 2147483647 h 293"/>
              <a:gd name="T20" fmla="*/ 2147483647 w 306"/>
              <a:gd name="T21" fmla="*/ 2147483647 h 293"/>
              <a:gd name="T22" fmla="*/ 2147483647 w 306"/>
              <a:gd name="T23" fmla="*/ 2147483647 h 293"/>
              <a:gd name="T24" fmla="*/ 2147483647 w 306"/>
              <a:gd name="T25" fmla="*/ 2147483647 h 293"/>
              <a:gd name="T26" fmla="*/ 2147483647 w 306"/>
              <a:gd name="T27" fmla="*/ 2147483647 h 293"/>
              <a:gd name="T28" fmla="*/ 2147483647 w 306"/>
              <a:gd name="T29" fmla="*/ 2147483647 h 293"/>
              <a:gd name="T30" fmla="*/ 2147483647 w 306"/>
              <a:gd name="T31" fmla="*/ 2147483647 h 293"/>
              <a:gd name="T32" fmla="*/ 2147483647 w 306"/>
              <a:gd name="T33" fmla="*/ 2147483647 h 293"/>
              <a:gd name="T34" fmla="*/ 2147483647 w 306"/>
              <a:gd name="T35" fmla="*/ 2147483647 h 293"/>
              <a:gd name="T36" fmla="*/ 2147483647 w 306"/>
              <a:gd name="T37" fmla="*/ 2147483647 h 293"/>
              <a:gd name="T38" fmla="*/ 0 w 306"/>
              <a:gd name="T39" fmla="*/ 2147483647 h 293"/>
              <a:gd name="T40" fmla="*/ 2147483647 w 306"/>
              <a:gd name="T41" fmla="*/ 2147483647 h 293"/>
              <a:gd name="T42" fmla="*/ 2147483647 w 306"/>
              <a:gd name="T43" fmla="*/ 2147483647 h 293"/>
              <a:gd name="T44" fmla="*/ 2147483647 w 306"/>
              <a:gd name="T45" fmla="*/ 2147483647 h 293"/>
              <a:gd name="T46" fmla="*/ 2147483647 w 306"/>
              <a:gd name="T47" fmla="*/ 2147483647 h 293"/>
              <a:gd name="T48" fmla="*/ 2147483647 w 306"/>
              <a:gd name="T49" fmla="*/ 2147483647 h 293"/>
              <a:gd name="T50" fmla="*/ 2147483647 w 306"/>
              <a:gd name="T51" fmla="*/ 0 h 293"/>
              <a:gd name="T52" fmla="*/ 2147483647 w 306"/>
              <a:gd name="T53" fmla="*/ 2147483647 h 293"/>
              <a:gd name="T54" fmla="*/ 2147483647 w 306"/>
              <a:gd name="T55" fmla="*/ 2147483647 h 293"/>
              <a:gd name="T56" fmla="*/ 2147483647 w 306"/>
              <a:gd name="T57" fmla="*/ 2147483647 h 293"/>
              <a:gd name="T58" fmla="*/ 2147483647 w 306"/>
              <a:gd name="T59" fmla="*/ 2147483647 h 293"/>
              <a:gd name="T60" fmla="*/ 2147483647 w 306"/>
              <a:gd name="T61" fmla="*/ 2147483647 h 293"/>
              <a:gd name="T62" fmla="*/ 2147483647 w 306"/>
              <a:gd name="T63" fmla="*/ 2147483647 h 293"/>
              <a:gd name="T64" fmla="*/ 2147483647 w 306"/>
              <a:gd name="T65" fmla="*/ 2147483647 h 293"/>
              <a:gd name="T66" fmla="*/ 2147483647 w 306"/>
              <a:gd name="T67" fmla="*/ 2147483647 h 293"/>
              <a:gd name="T68" fmla="*/ 2147483647 w 306"/>
              <a:gd name="T69" fmla="*/ 2147483647 h 293"/>
              <a:gd name="T70" fmla="*/ 2147483647 w 306"/>
              <a:gd name="T71" fmla="*/ 2147483647 h 293"/>
              <a:gd name="T72" fmla="*/ 2147483647 w 306"/>
              <a:gd name="T73" fmla="*/ 2147483647 h 293"/>
              <a:gd name="T74" fmla="*/ 2147483647 w 306"/>
              <a:gd name="T75" fmla="*/ 2147483647 h 293"/>
              <a:gd name="T76" fmla="*/ 2147483647 w 306"/>
              <a:gd name="T77" fmla="*/ 2147483647 h 293"/>
              <a:gd name="T78" fmla="*/ 2147483647 w 306"/>
              <a:gd name="T79" fmla="*/ 2147483647 h 293"/>
              <a:gd name="T80" fmla="*/ 2147483647 w 306"/>
              <a:gd name="T81" fmla="*/ 2147483647 h 293"/>
              <a:gd name="T82" fmla="*/ 2147483647 w 306"/>
              <a:gd name="T83" fmla="*/ 2147483647 h 293"/>
              <a:gd name="T84" fmla="*/ 2147483647 w 306"/>
              <a:gd name="T85" fmla="*/ 2147483647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2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344853" y="2211015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03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271828" y="2441203"/>
            <a:ext cx="449262" cy="361950"/>
          </a:xfrm>
          <a:custGeom>
            <a:avLst/>
            <a:gdLst>
              <a:gd name="T0" fmla="*/ 2147483647 w 1037"/>
              <a:gd name="T1" fmla="*/ 2147483647 h 690"/>
              <a:gd name="T2" fmla="*/ 2147483647 w 1037"/>
              <a:gd name="T3" fmla="*/ 2147483647 h 690"/>
              <a:gd name="T4" fmla="*/ 2147483647 w 1037"/>
              <a:gd name="T5" fmla="*/ 2147483647 h 690"/>
              <a:gd name="T6" fmla="*/ 2147483647 w 1037"/>
              <a:gd name="T7" fmla="*/ 2147483647 h 690"/>
              <a:gd name="T8" fmla="*/ 2147483647 w 1037"/>
              <a:gd name="T9" fmla="*/ 2147483647 h 690"/>
              <a:gd name="T10" fmla="*/ 2147483647 w 1037"/>
              <a:gd name="T11" fmla="*/ 2147483647 h 690"/>
              <a:gd name="T12" fmla="*/ 2147483647 w 1037"/>
              <a:gd name="T13" fmla="*/ 2147483647 h 690"/>
              <a:gd name="T14" fmla="*/ 2147483647 w 1037"/>
              <a:gd name="T15" fmla="*/ 2147483647 h 690"/>
              <a:gd name="T16" fmla="*/ 2147483647 w 1037"/>
              <a:gd name="T17" fmla="*/ 2147483647 h 690"/>
              <a:gd name="T18" fmla="*/ 0 w 1037"/>
              <a:gd name="T19" fmla="*/ 2147483647 h 690"/>
              <a:gd name="T20" fmla="*/ 2147483647 w 1037"/>
              <a:gd name="T21" fmla="*/ 2147483647 h 690"/>
              <a:gd name="T22" fmla="*/ 2147483647 w 1037"/>
              <a:gd name="T23" fmla="*/ 2147483647 h 690"/>
              <a:gd name="T24" fmla="*/ 2147483647 w 1037"/>
              <a:gd name="T25" fmla="*/ 2147483647 h 690"/>
              <a:gd name="T26" fmla="*/ 2147483647 w 1037"/>
              <a:gd name="T27" fmla="*/ 2147483647 h 690"/>
              <a:gd name="T28" fmla="*/ 2147483647 w 1037"/>
              <a:gd name="T29" fmla="*/ 2147483647 h 690"/>
              <a:gd name="T30" fmla="*/ 2147483647 w 1037"/>
              <a:gd name="T31" fmla="*/ 2147483647 h 690"/>
              <a:gd name="T32" fmla="*/ 2147483647 w 1037"/>
              <a:gd name="T33" fmla="*/ 2147483647 h 690"/>
              <a:gd name="T34" fmla="*/ 2147483647 w 1037"/>
              <a:gd name="T35" fmla="*/ 2147483647 h 690"/>
              <a:gd name="T36" fmla="*/ 2147483647 w 1037"/>
              <a:gd name="T37" fmla="*/ 2147483647 h 690"/>
              <a:gd name="T38" fmla="*/ 2147483647 w 1037"/>
              <a:gd name="T39" fmla="*/ 2147483647 h 690"/>
              <a:gd name="T40" fmla="*/ 2147483647 w 1037"/>
              <a:gd name="T41" fmla="*/ 2147483647 h 690"/>
              <a:gd name="T42" fmla="*/ 2147483647 w 1037"/>
              <a:gd name="T43" fmla="*/ 2147483647 h 690"/>
              <a:gd name="T44" fmla="*/ 2147483647 w 1037"/>
              <a:gd name="T45" fmla="*/ 2147483647 h 690"/>
              <a:gd name="T46" fmla="*/ 2147483647 w 1037"/>
              <a:gd name="T47" fmla="*/ 2147483647 h 690"/>
              <a:gd name="T48" fmla="*/ 2147483647 w 1037"/>
              <a:gd name="T49" fmla="*/ 2147483647 h 690"/>
              <a:gd name="T50" fmla="*/ 2147483647 w 1037"/>
              <a:gd name="T51" fmla="*/ 2147483647 h 690"/>
              <a:gd name="T52" fmla="*/ 2147483647 w 1037"/>
              <a:gd name="T53" fmla="*/ 2147483647 h 690"/>
              <a:gd name="T54" fmla="*/ 2147483647 w 1037"/>
              <a:gd name="T55" fmla="*/ 2147483647 h 690"/>
              <a:gd name="T56" fmla="*/ 2147483647 w 1037"/>
              <a:gd name="T57" fmla="*/ 2147483647 h 690"/>
              <a:gd name="T58" fmla="*/ 2147483647 w 1037"/>
              <a:gd name="T59" fmla="*/ 2147483647 h 690"/>
              <a:gd name="T60" fmla="*/ 2147483647 w 1037"/>
              <a:gd name="T61" fmla="*/ 2147483647 h 690"/>
              <a:gd name="T62" fmla="*/ 2147483647 w 1037"/>
              <a:gd name="T63" fmla="*/ 2147483647 h 690"/>
              <a:gd name="T64" fmla="*/ 2147483647 w 1037"/>
              <a:gd name="T65" fmla="*/ 2147483647 h 690"/>
              <a:gd name="T66" fmla="*/ 2147483647 w 1037"/>
              <a:gd name="T67" fmla="*/ 2147483647 h 690"/>
              <a:gd name="T68" fmla="*/ 2147483647 w 1037"/>
              <a:gd name="T69" fmla="*/ 2147483647 h 690"/>
              <a:gd name="T70" fmla="*/ 2147483647 w 1037"/>
              <a:gd name="T71" fmla="*/ 2147483647 h 690"/>
              <a:gd name="T72" fmla="*/ 2147483647 w 1037"/>
              <a:gd name="T73" fmla="*/ 2147483647 h 690"/>
              <a:gd name="T74" fmla="*/ 2147483647 w 1037"/>
              <a:gd name="T75" fmla="*/ 2147483647 h 690"/>
              <a:gd name="T76" fmla="*/ 2147483647 w 1037"/>
              <a:gd name="T77" fmla="*/ 2147483647 h 690"/>
              <a:gd name="T78" fmla="*/ 2147483647 w 1037"/>
              <a:gd name="T79" fmla="*/ 2147483647 h 690"/>
              <a:gd name="T80" fmla="*/ 2147483647 w 1037"/>
              <a:gd name="T81" fmla="*/ 2147483647 h 690"/>
              <a:gd name="T82" fmla="*/ 2147483647 w 1037"/>
              <a:gd name="T83" fmla="*/ 2147483647 h 690"/>
              <a:gd name="T84" fmla="*/ 2147483647 w 1037"/>
              <a:gd name="T85" fmla="*/ 2147483647 h 690"/>
              <a:gd name="T86" fmla="*/ 2147483647 w 1037"/>
              <a:gd name="T87" fmla="*/ 2147483647 h 690"/>
              <a:gd name="T88" fmla="*/ 2147483647 w 1037"/>
              <a:gd name="T89" fmla="*/ 2147483647 h 690"/>
              <a:gd name="T90" fmla="*/ 2147483647 w 1037"/>
              <a:gd name="T91" fmla="*/ 2147483647 h 690"/>
              <a:gd name="T92" fmla="*/ 2147483647 w 1037"/>
              <a:gd name="T93" fmla="*/ 2147483647 h 690"/>
              <a:gd name="T94" fmla="*/ 2147483647 w 1037"/>
              <a:gd name="T95" fmla="*/ 2147483647 h 690"/>
              <a:gd name="T96" fmla="*/ 2147483647 w 1037"/>
              <a:gd name="T97" fmla="*/ 2147483647 h 690"/>
              <a:gd name="T98" fmla="*/ 2147483647 w 1037"/>
              <a:gd name="T99" fmla="*/ 2147483647 h 690"/>
              <a:gd name="T100" fmla="*/ 2147483647 w 1037"/>
              <a:gd name="T101" fmla="*/ 2147483647 h 690"/>
              <a:gd name="T102" fmla="*/ 2147483647 w 1037"/>
              <a:gd name="T103" fmla="*/ 2147483647 h 690"/>
              <a:gd name="T104" fmla="*/ 2147483647 w 1037"/>
              <a:gd name="T105" fmla="*/ 2147483647 h 690"/>
              <a:gd name="T106" fmla="*/ 2147483647 w 1037"/>
              <a:gd name="T107" fmla="*/ 2147483647 h 690"/>
              <a:gd name="T108" fmla="*/ 2147483647 w 1037"/>
              <a:gd name="T109" fmla="*/ 2147483647 h 690"/>
              <a:gd name="T110" fmla="*/ 2147483647 w 1037"/>
              <a:gd name="T111" fmla="*/ 2147483647 h 690"/>
              <a:gd name="T112" fmla="*/ 2147483647 w 1037"/>
              <a:gd name="T113" fmla="*/ 2147483647 h 690"/>
              <a:gd name="T114" fmla="*/ 2147483647 w 1037"/>
              <a:gd name="T115" fmla="*/ 2147483647 h 690"/>
              <a:gd name="T116" fmla="*/ 2147483647 w 1037"/>
              <a:gd name="T117" fmla="*/ 2147483647 h 690"/>
              <a:gd name="T118" fmla="*/ 2147483647 w 1037"/>
              <a:gd name="T119" fmla="*/ 2147483647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04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611553" y="3282578"/>
            <a:ext cx="49212" cy="90487"/>
          </a:xfrm>
          <a:custGeom>
            <a:avLst/>
            <a:gdLst>
              <a:gd name="T0" fmla="*/ 2147483647 w 120"/>
              <a:gd name="T1" fmla="*/ 2147483647 h 173"/>
              <a:gd name="T2" fmla="*/ 2147483647 w 120"/>
              <a:gd name="T3" fmla="*/ 2147483647 h 173"/>
              <a:gd name="T4" fmla="*/ 2147483647 w 120"/>
              <a:gd name="T5" fmla="*/ 2147483647 h 173"/>
              <a:gd name="T6" fmla="*/ 2147483647 w 120"/>
              <a:gd name="T7" fmla="*/ 2147483647 h 173"/>
              <a:gd name="T8" fmla="*/ 2147483647 w 120"/>
              <a:gd name="T9" fmla="*/ 2147483647 h 173"/>
              <a:gd name="T10" fmla="*/ 2147483647 w 120"/>
              <a:gd name="T11" fmla="*/ 2147483647 h 173"/>
              <a:gd name="T12" fmla="*/ 2147483647 w 120"/>
              <a:gd name="T13" fmla="*/ 2147483647 h 173"/>
              <a:gd name="T14" fmla="*/ 2147483647 w 120"/>
              <a:gd name="T15" fmla="*/ 2147483647 h 173"/>
              <a:gd name="T16" fmla="*/ 2147483647 w 120"/>
              <a:gd name="T17" fmla="*/ 0 h 173"/>
              <a:gd name="T18" fmla="*/ 2147483647 w 120"/>
              <a:gd name="T19" fmla="*/ 0 h 173"/>
              <a:gd name="T20" fmla="*/ 2147483647 w 120"/>
              <a:gd name="T21" fmla="*/ 2147483647 h 173"/>
              <a:gd name="T22" fmla="*/ 2147483647 w 120"/>
              <a:gd name="T23" fmla="*/ 2147483647 h 173"/>
              <a:gd name="T24" fmla="*/ 2147483647 w 120"/>
              <a:gd name="T25" fmla="*/ 2147483647 h 173"/>
              <a:gd name="T26" fmla="*/ 2147483647 w 120"/>
              <a:gd name="T27" fmla="*/ 2147483647 h 173"/>
              <a:gd name="T28" fmla="*/ 2147483647 w 120"/>
              <a:gd name="T29" fmla="*/ 2147483647 h 173"/>
              <a:gd name="T30" fmla="*/ 2147483647 w 120"/>
              <a:gd name="T31" fmla="*/ 2147483647 h 173"/>
              <a:gd name="T32" fmla="*/ 2147483647 w 120"/>
              <a:gd name="T33" fmla="*/ 2147483647 h 173"/>
              <a:gd name="T34" fmla="*/ 2147483647 w 120"/>
              <a:gd name="T35" fmla="*/ 2147483647 h 173"/>
              <a:gd name="T36" fmla="*/ 2147483647 w 120"/>
              <a:gd name="T37" fmla="*/ 2147483647 h 173"/>
              <a:gd name="T38" fmla="*/ 2147483647 w 120"/>
              <a:gd name="T39" fmla="*/ 2147483647 h 173"/>
              <a:gd name="T40" fmla="*/ 2147483647 w 120"/>
              <a:gd name="T41" fmla="*/ 2147483647 h 173"/>
              <a:gd name="T42" fmla="*/ 2147483647 w 120"/>
              <a:gd name="T43" fmla="*/ 2147483647 h 173"/>
              <a:gd name="T44" fmla="*/ 0 w 120"/>
              <a:gd name="T45" fmla="*/ 2147483647 h 173"/>
              <a:gd name="T46" fmla="*/ 2147483647 w 120"/>
              <a:gd name="T47" fmla="*/ 2147483647 h 173"/>
              <a:gd name="T48" fmla="*/ 2147483647 w 120"/>
              <a:gd name="T49" fmla="*/ 2147483647 h 173"/>
              <a:gd name="T50" fmla="*/ 2147483647 w 120"/>
              <a:gd name="T51" fmla="*/ 2147483647 h 173"/>
              <a:gd name="T52" fmla="*/ 2147483647 w 120"/>
              <a:gd name="T53" fmla="*/ 2147483647 h 173"/>
              <a:gd name="T54" fmla="*/ 2147483647 w 120"/>
              <a:gd name="T55" fmla="*/ 2147483647 h 173"/>
              <a:gd name="T56" fmla="*/ 2147483647 w 120"/>
              <a:gd name="T57" fmla="*/ 2147483647 h 173"/>
              <a:gd name="T58" fmla="*/ 2147483647 w 120"/>
              <a:gd name="T59" fmla="*/ 2147483647 h 173"/>
              <a:gd name="T60" fmla="*/ 2147483647 w 120"/>
              <a:gd name="T61" fmla="*/ 2147483647 h 173"/>
              <a:gd name="T62" fmla="*/ 2147483647 w 120"/>
              <a:gd name="T63" fmla="*/ 2147483647 h 173"/>
              <a:gd name="T64" fmla="*/ 2147483647 w 120"/>
              <a:gd name="T65" fmla="*/ 2147483647 h 173"/>
              <a:gd name="T66" fmla="*/ 2147483647 w 120"/>
              <a:gd name="T67" fmla="*/ 2147483647 h 173"/>
              <a:gd name="T68" fmla="*/ 2147483647 w 120"/>
              <a:gd name="T69" fmla="*/ 2147483647 h 173"/>
              <a:gd name="T70" fmla="*/ 2147483647 w 120"/>
              <a:gd name="T71" fmla="*/ 2147483647 h 173"/>
              <a:gd name="T72" fmla="*/ 2147483647 w 120"/>
              <a:gd name="T73" fmla="*/ 2147483647 h 173"/>
              <a:gd name="T74" fmla="*/ 2147483647 w 120"/>
              <a:gd name="T75" fmla="*/ 2147483647 h 173"/>
              <a:gd name="T76" fmla="*/ 2147483647 w 120"/>
              <a:gd name="T77" fmla="*/ 2147483647 h 173"/>
              <a:gd name="T78" fmla="*/ 2147483647 w 120"/>
              <a:gd name="T79" fmla="*/ 2147483647 h 173"/>
              <a:gd name="T80" fmla="*/ 2147483647 w 120"/>
              <a:gd name="T81" fmla="*/ 2147483647 h 173"/>
              <a:gd name="T82" fmla="*/ 2147483647 w 120"/>
              <a:gd name="T83" fmla="*/ 2147483647 h 173"/>
              <a:gd name="T84" fmla="*/ 2147483647 w 120"/>
              <a:gd name="T85" fmla="*/ 2147483647 h 173"/>
              <a:gd name="T86" fmla="*/ 2147483647 w 120"/>
              <a:gd name="T87" fmla="*/ 2147483647 h 173"/>
              <a:gd name="T88" fmla="*/ 2147483647 w 120"/>
              <a:gd name="T89" fmla="*/ 2147483647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5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319453" y="3122240"/>
            <a:ext cx="84137" cy="58738"/>
          </a:xfrm>
          <a:custGeom>
            <a:avLst/>
            <a:gdLst>
              <a:gd name="T0" fmla="*/ 2147483647 w 200"/>
              <a:gd name="T1" fmla="*/ 2147483647 h 98"/>
              <a:gd name="T2" fmla="*/ 2147483647 w 200"/>
              <a:gd name="T3" fmla="*/ 2147483647 h 98"/>
              <a:gd name="T4" fmla="*/ 2147483647 w 200"/>
              <a:gd name="T5" fmla="*/ 2147483647 h 98"/>
              <a:gd name="T6" fmla="*/ 2147483647 w 200"/>
              <a:gd name="T7" fmla="*/ 2147483647 h 98"/>
              <a:gd name="T8" fmla="*/ 2147483647 w 200"/>
              <a:gd name="T9" fmla="*/ 2147483647 h 98"/>
              <a:gd name="T10" fmla="*/ 2147483647 w 200"/>
              <a:gd name="T11" fmla="*/ 2147483647 h 98"/>
              <a:gd name="T12" fmla="*/ 2147483647 w 200"/>
              <a:gd name="T13" fmla="*/ 2147483647 h 98"/>
              <a:gd name="T14" fmla="*/ 2147483647 w 200"/>
              <a:gd name="T15" fmla="*/ 2147483647 h 98"/>
              <a:gd name="T16" fmla="*/ 2147483647 w 200"/>
              <a:gd name="T17" fmla="*/ 2147483647 h 98"/>
              <a:gd name="T18" fmla="*/ 2147483647 w 200"/>
              <a:gd name="T19" fmla="*/ 2147483647 h 98"/>
              <a:gd name="T20" fmla="*/ 2147483647 w 200"/>
              <a:gd name="T21" fmla="*/ 2147483647 h 98"/>
              <a:gd name="T22" fmla="*/ 2147483647 w 200"/>
              <a:gd name="T23" fmla="*/ 2147483647 h 98"/>
              <a:gd name="T24" fmla="*/ 2147483647 w 200"/>
              <a:gd name="T25" fmla="*/ 2147483647 h 98"/>
              <a:gd name="T26" fmla="*/ 2147483647 w 200"/>
              <a:gd name="T27" fmla="*/ 2147483647 h 98"/>
              <a:gd name="T28" fmla="*/ 2147483647 w 200"/>
              <a:gd name="T29" fmla="*/ 2147483647 h 98"/>
              <a:gd name="T30" fmla="*/ 2147483647 w 200"/>
              <a:gd name="T31" fmla="*/ 2147483647 h 98"/>
              <a:gd name="T32" fmla="*/ 2147483647 w 200"/>
              <a:gd name="T33" fmla="*/ 2147483647 h 98"/>
              <a:gd name="T34" fmla="*/ 2147483647 w 200"/>
              <a:gd name="T35" fmla="*/ 2147483647 h 98"/>
              <a:gd name="T36" fmla="*/ 2147483647 w 200"/>
              <a:gd name="T37" fmla="*/ 2147483647 h 98"/>
              <a:gd name="T38" fmla="*/ 2147483647 w 200"/>
              <a:gd name="T39" fmla="*/ 2147483647 h 98"/>
              <a:gd name="T40" fmla="*/ 2147483647 w 200"/>
              <a:gd name="T41" fmla="*/ 2147483647 h 98"/>
              <a:gd name="T42" fmla="*/ 2147483647 w 200"/>
              <a:gd name="T43" fmla="*/ 2147483647 h 98"/>
              <a:gd name="T44" fmla="*/ 2147483647 w 200"/>
              <a:gd name="T45" fmla="*/ 2147483647 h 98"/>
              <a:gd name="T46" fmla="*/ 2147483647 w 200"/>
              <a:gd name="T47" fmla="*/ 2147483647 h 98"/>
              <a:gd name="T48" fmla="*/ 2147483647 w 200"/>
              <a:gd name="T49" fmla="*/ 2147483647 h 98"/>
              <a:gd name="T50" fmla="*/ 2147483647 w 200"/>
              <a:gd name="T51" fmla="*/ 2147483647 h 98"/>
              <a:gd name="T52" fmla="*/ 2147483647 w 200"/>
              <a:gd name="T53" fmla="*/ 2147483647 h 98"/>
              <a:gd name="T54" fmla="*/ 2147483647 w 200"/>
              <a:gd name="T55" fmla="*/ 2147483647 h 98"/>
              <a:gd name="T56" fmla="*/ 2147483647 w 200"/>
              <a:gd name="T57" fmla="*/ 2147483647 h 98"/>
              <a:gd name="T58" fmla="*/ 2147483647 w 200"/>
              <a:gd name="T59" fmla="*/ 2147483647 h 98"/>
              <a:gd name="T60" fmla="*/ 2147483647 w 200"/>
              <a:gd name="T61" fmla="*/ 2147483647 h 98"/>
              <a:gd name="T62" fmla="*/ 0 w 200"/>
              <a:gd name="T63" fmla="*/ 2147483647 h 98"/>
              <a:gd name="T64" fmla="*/ 2147483647 w 200"/>
              <a:gd name="T65" fmla="*/ 2147483647 h 98"/>
              <a:gd name="T66" fmla="*/ 2147483647 w 200"/>
              <a:gd name="T67" fmla="*/ 2147483647 h 98"/>
              <a:gd name="T68" fmla="*/ 2147483647 w 200"/>
              <a:gd name="T69" fmla="*/ 2147483647 h 98"/>
              <a:gd name="T70" fmla="*/ 2147483647 w 200"/>
              <a:gd name="T71" fmla="*/ 2147483647 h 98"/>
              <a:gd name="T72" fmla="*/ 2147483647 w 200"/>
              <a:gd name="T73" fmla="*/ 2147483647 h 98"/>
              <a:gd name="T74" fmla="*/ 2147483647 w 200"/>
              <a:gd name="T75" fmla="*/ 2147483647 h 98"/>
              <a:gd name="T76" fmla="*/ 2147483647 w 200"/>
              <a:gd name="T77" fmla="*/ 2147483647 h 98"/>
              <a:gd name="T78" fmla="*/ 2147483647 w 200"/>
              <a:gd name="T79" fmla="*/ 2147483647 h 98"/>
              <a:gd name="T80" fmla="*/ 2147483647 w 200"/>
              <a:gd name="T81" fmla="*/ 2147483647 h 98"/>
              <a:gd name="T82" fmla="*/ 2147483647 w 200"/>
              <a:gd name="T83" fmla="*/ 2147483647 h 98"/>
              <a:gd name="T84" fmla="*/ 2147483647 w 200"/>
              <a:gd name="T85" fmla="*/ 2147483647 h 98"/>
              <a:gd name="T86" fmla="*/ 2147483647 w 200"/>
              <a:gd name="T87" fmla="*/ 0 h 98"/>
              <a:gd name="T88" fmla="*/ 2147483647 w 200"/>
              <a:gd name="T89" fmla="*/ 2147483647 h 98"/>
              <a:gd name="T90" fmla="*/ 2147483647 w 200"/>
              <a:gd name="T91" fmla="*/ 2147483647 h 98"/>
              <a:gd name="T92" fmla="*/ 2147483647 w 200"/>
              <a:gd name="T93" fmla="*/ 2147483647 h 98"/>
              <a:gd name="T94" fmla="*/ 2147483647 w 200"/>
              <a:gd name="T95" fmla="*/ 2147483647 h 98"/>
              <a:gd name="T96" fmla="*/ 2147483647 w 200"/>
              <a:gd name="T97" fmla="*/ 2147483647 h 98"/>
              <a:gd name="T98" fmla="*/ 2147483647 w 200"/>
              <a:gd name="T99" fmla="*/ 2147483647 h 98"/>
              <a:gd name="T100" fmla="*/ 2147483647 w 200"/>
              <a:gd name="T101" fmla="*/ 2147483647 h 98"/>
              <a:gd name="T102" fmla="*/ 2147483647 w 200"/>
              <a:gd name="T103" fmla="*/ 2147483647 h 98"/>
              <a:gd name="T104" fmla="*/ 2147483647 w 200"/>
              <a:gd name="T105" fmla="*/ 2147483647 h 98"/>
              <a:gd name="T106" fmla="*/ 2147483647 w 200"/>
              <a:gd name="T107" fmla="*/ 2147483647 h 98"/>
              <a:gd name="T108" fmla="*/ 2147483647 w 200"/>
              <a:gd name="T109" fmla="*/ 2147483647 h 98"/>
              <a:gd name="T110" fmla="*/ 2147483647 w 200"/>
              <a:gd name="T111" fmla="*/ 2147483647 h 98"/>
              <a:gd name="T112" fmla="*/ 2147483647 w 200"/>
              <a:gd name="T113" fmla="*/ 2147483647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06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257540" y="2941265"/>
            <a:ext cx="84138" cy="73025"/>
          </a:xfrm>
          <a:custGeom>
            <a:avLst/>
            <a:gdLst>
              <a:gd name="T0" fmla="*/ 0 w 186"/>
              <a:gd name="T1" fmla="*/ 2147483647 h 142"/>
              <a:gd name="T2" fmla="*/ 2147483647 w 186"/>
              <a:gd name="T3" fmla="*/ 2147483647 h 142"/>
              <a:gd name="T4" fmla="*/ 2147483647 w 186"/>
              <a:gd name="T5" fmla="*/ 2147483647 h 142"/>
              <a:gd name="T6" fmla="*/ 2147483647 w 186"/>
              <a:gd name="T7" fmla="*/ 2147483647 h 142"/>
              <a:gd name="T8" fmla="*/ 2147483647 w 186"/>
              <a:gd name="T9" fmla="*/ 2147483647 h 142"/>
              <a:gd name="T10" fmla="*/ 2147483647 w 186"/>
              <a:gd name="T11" fmla="*/ 2147483647 h 142"/>
              <a:gd name="T12" fmla="*/ 2147483647 w 186"/>
              <a:gd name="T13" fmla="*/ 2147483647 h 142"/>
              <a:gd name="T14" fmla="*/ 2147483647 w 186"/>
              <a:gd name="T15" fmla="*/ 2147483647 h 142"/>
              <a:gd name="T16" fmla="*/ 2147483647 w 186"/>
              <a:gd name="T17" fmla="*/ 2147483647 h 142"/>
              <a:gd name="T18" fmla="*/ 2147483647 w 186"/>
              <a:gd name="T19" fmla="*/ 2147483647 h 142"/>
              <a:gd name="T20" fmla="*/ 2147483647 w 186"/>
              <a:gd name="T21" fmla="*/ 2147483647 h 142"/>
              <a:gd name="T22" fmla="*/ 2147483647 w 186"/>
              <a:gd name="T23" fmla="*/ 2147483647 h 142"/>
              <a:gd name="T24" fmla="*/ 2147483647 w 186"/>
              <a:gd name="T25" fmla="*/ 2147483647 h 142"/>
              <a:gd name="T26" fmla="*/ 2147483647 w 186"/>
              <a:gd name="T27" fmla="*/ 2147483647 h 142"/>
              <a:gd name="T28" fmla="*/ 2147483647 w 186"/>
              <a:gd name="T29" fmla="*/ 2147483647 h 142"/>
              <a:gd name="T30" fmla="*/ 2147483647 w 186"/>
              <a:gd name="T31" fmla="*/ 2147483647 h 142"/>
              <a:gd name="T32" fmla="*/ 2147483647 w 186"/>
              <a:gd name="T33" fmla="*/ 2147483647 h 142"/>
              <a:gd name="T34" fmla="*/ 2147483647 w 186"/>
              <a:gd name="T35" fmla="*/ 2147483647 h 142"/>
              <a:gd name="T36" fmla="*/ 2147483647 w 186"/>
              <a:gd name="T37" fmla="*/ 2147483647 h 142"/>
              <a:gd name="T38" fmla="*/ 2147483647 w 186"/>
              <a:gd name="T39" fmla="*/ 2147483647 h 142"/>
              <a:gd name="T40" fmla="*/ 2147483647 w 186"/>
              <a:gd name="T41" fmla="*/ 2147483647 h 142"/>
              <a:gd name="T42" fmla="*/ 2147483647 w 186"/>
              <a:gd name="T43" fmla="*/ 2147483647 h 142"/>
              <a:gd name="T44" fmla="*/ 2147483647 w 186"/>
              <a:gd name="T45" fmla="*/ 2147483647 h 142"/>
              <a:gd name="T46" fmla="*/ 2147483647 w 186"/>
              <a:gd name="T47" fmla="*/ 2147483647 h 142"/>
              <a:gd name="T48" fmla="*/ 2147483647 w 186"/>
              <a:gd name="T49" fmla="*/ 2147483647 h 142"/>
              <a:gd name="T50" fmla="*/ 2147483647 w 186"/>
              <a:gd name="T51" fmla="*/ 2147483647 h 142"/>
              <a:gd name="T52" fmla="*/ 2147483647 w 186"/>
              <a:gd name="T53" fmla="*/ 2147483647 h 142"/>
              <a:gd name="T54" fmla="*/ 2147483647 w 186"/>
              <a:gd name="T55" fmla="*/ 2147483647 h 142"/>
              <a:gd name="T56" fmla="*/ 2147483647 w 186"/>
              <a:gd name="T57" fmla="*/ 2147483647 h 142"/>
              <a:gd name="T58" fmla="*/ 2147483647 w 186"/>
              <a:gd name="T59" fmla="*/ 2147483647 h 142"/>
              <a:gd name="T60" fmla="*/ 2147483647 w 186"/>
              <a:gd name="T61" fmla="*/ 2147483647 h 142"/>
              <a:gd name="T62" fmla="*/ 2147483647 w 186"/>
              <a:gd name="T63" fmla="*/ 2147483647 h 142"/>
              <a:gd name="T64" fmla="*/ 2147483647 w 186"/>
              <a:gd name="T65" fmla="*/ 2147483647 h 142"/>
              <a:gd name="T66" fmla="*/ 2147483647 w 186"/>
              <a:gd name="T67" fmla="*/ 2147483647 h 142"/>
              <a:gd name="T68" fmla="*/ 2147483647 w 186"/>
              <a:gd name="T69" fmla="*/ 2147483647 h 142"/>
              <a:gd name="T70" fmla="*/ 2147483647 w 186"/>
              <a:gd name="T71" fmla="*/ 2147483647 h 142"/>
              <a:gd name="T72" fmla="*/ 2147483647 w 186"/>
              <a:gd name="T73" fmla="*/ 2147483647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07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238490" y="3004765"/>
            <a:ext cx="84138" cy="57150"/>
          </a:xfrm>
          <a:custGeom>
            <a:avLst/>
            <a:gdLst>
              <a:gd name="T0" fmla="*/ 2147483647 w 192"/>
              <a:gd name="T1" fmla="*/ 2147483647 h 105"/>
              <a:gd name="T2" fmla="*/ 2147483647 w 192"/>
              <a:gd name="T3" fmla="*/ 2147483647 h 105"/>
              <a:gd name="T4" fmla="*/ 2147483647 w 192"/>
              <a:gd name="T5" fmla="*/ 2147483647 h 105"/>
              <a:gd name="T6" fmla="*/ 2147483647 w 192"/>
              <a:gd name="T7" fmla="*/ 2147483647 h 105"/>
              <a:gd name="T8" fmla="*/ 2147483647 w 192"/>
              <a:gd name="T9" fmla="*/ 2147483647 h 105"/>
              <a:gd name="T10" fmla="*/ 2147483647 w 192"/>
              <a:gd name="T11" fmla="*/ 2147483647 h 105"/>
              <a:gd name="T12" fmla="*/ 2147483647 w 192"/>
              <a:gd name="T13" fmla="*/ 2147483647 h 105"/>
              <a:gd name="T14" fmla="*/ 2147483647 w 192"/>
              <a:gd name="T15" fmla="*/ 2147483647 h 105"/>
              <a:gd name="T16" fmla="*/ 2147483647 w 192"/>
              <a:gd name="T17" fmla="*/ 2147483647 h 105"/>
              <a:gd name="T18" fmla="*/ 2147483647 w 192"/>
              <a:gd name="T19" fmla="*/ 2147483647 h 105"/>
              <a:gd name="T20" fmla="*/ 2147483647 w 192"/>
              <a:gd name="T21" fmla="*/ 2147483647 h 105"/>
              <a:gd name="T22" fmla="*/ 2147483647 w 192"/>
              <a:gd name="T23" fmla="*/ 2147483647 h 105"/>
              <a:gd name="T24" fmla="*/ 2147483647 w 192"/>
              <a:gd name="T25" fmla="*/ 2147483647 h 105"/>
              <a:gd name="T26" fmla="*/ 2147483647 w 192"/>
              <a:gd name="T27" fmla="*/ 2147483647 h 105"/>
              <a:gd name="T28" fmla="*/ 2147483647 w 192"/>
              <a:gd name="T29" fmla="*/ 2147483647 h 105"/>
              <a:gd name="T30" fmla="*/ 2147483647 w 192"/>
              <a:gd name="T31" fmla="*/ 2147483647 h 105"/>
              <a:gd name="T32" fmla="*/ 2147483647 w 192"/>
              <a:gd name="T33" fmla="*/ 2147483647 h 105"/>
              <a:gd name="T34" fmla="*/ 2147483647 w 192"/>
              <a:gd name="T35" fmla="*/ 2147483647 h 105"/>
              <a:gd name="T36" fmla="*/ 0 w 192"/>
              <a:gd name="T37" fmla="*/ 2147483647 h 105"/>
              <a:gd name="T38" fmla="*/ 0 w 192"/>
              <a:gd name="T39" fmla="*/ 2147483647 h 105"/>
              <a:gd name="T40" fmla="*/ 2147483647 w 192"/>
              <a:gd name="T41" fmla="*/ 2147483647 h 105"/>
              <a:gd name="T42" fmla="*/ 2147483647 w 192"/>
              <a:gd name="T43" fmla="*/ 2147483647 h 105"/>
              <a:gd name="T44" fmla="*/ 2147483647 w 192"/>
              <a:gd name="T45" fmla="*/ 2147483647 h 105"/>
              <a:gd name="T46" fmla="*/ 2147483647 w 192"/>
              <a:gd name="T47" fmla="*/ 0 h 105"/>
              <a:gd name="T48" fmla="*/ 2147483647 w 192"/>
              <a:gd name="T49" fmla="*/ 2147483647 h 105"/>
              <a:gd name="T50" fmla="*/ 2147483647 w 192"/>
              <a:gd name="T51" fmla="*/ 2147483647 h 105"/>
              <a:gd name="T52" fmla="*/ 2147483647 w 192"/>
              <a:gd name="T53" fmla="*/ 2147483647 h 105"/>
              <a:gd name="T54" fmla="*/ 2147483647 w 192"/>
              <a:gd name="T55" fmla="*/ 2147483647 h 105"/>
              <a:gd name="T56" fmla="*/ 2147483647 w 192"/>
              <a:gd name="T57" fmla="*/ 2147483647 h 105"/>
              <a:gd name="T58" fmla="*/ 2147483647 w 192"/>
              <a:gd name="T59" fmla="*/ 2147483647 h 105"/>
              <a:gd name="T60" fmla="*/ 2147483647 w 192"/>
              <a:gd name="T61" fmla="*/ 2147483647 h 105"/>
              <a:gd name="T62" fmla="*/ 2147483647 w 192"/>
              <a:gd name="T63" fmla="*/ 2147483647 h 105"/>
              <a:gd name="T64" fmla="*/ 2147483647 w 192"/>
              <a:gd name="T65" fmla="*/ 2147483647 h 105"/>
              <a:gd name="T66" fmla="*/ 2147483647 w 192"/>
              <a:gd name="T67" fmla="*/ 2147483647 h 105"/>
              <a:gd name="T68" fmla="*/ 2147483647 w 192"/>
              <a:gd name="T69" fmla="*/ 2147483647 h 105"/>
              <a:gd name="T70" fmla="*/ 2147483647 w 192"/>
              <a:gd name="T71" fmla="*/ 2147483647 h 105"/>
              <a:gd name="T72" fmla="*/ 2147483647 w 192"/>
              <a:gd name="T73" fmla="*/ 2147483647 h 105"/>
              <a:gd name="T74" fmla="*/ 2147483647 w 192"/>
              <a:gd name="T75" fmla="*/ 2147483647 h 105"/>
              <a:gd name="T76" fmla="*/ 2147483647 w 192"/>
              <a:gd name="T77" fmla="*/ 2147483647 h 105"/>
              <a:gd name="T78" fmla="*/ 2147483647 w 192"/>
              <a:gd name="T79" fmla="*/ 2147483647 h 105"/>
              <a:gd name="T80" fmla="*/ 2147483647 w 192"/>
              <a:gd name="T81" fmla="*/ 2147483647 h 105"/>
              <a:gd name="T82" fmla="*/ 2147483647 w 192"/>
              <a:gd name="T83" fmla="*/ 2147483647 h 105"/>
              <a:gd name="T84" fmla="*/ 2147483647 w 192"/>
              <a:gd name="T85" fmla="*/ 2147483647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08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998903" y="3558803"/>
            <a:ext cx="33337" cy="131762"/>
          </a:xfrm>
          <a:custGeom>
            <a:avLst/>
            <a:gdLst>
              <a:gd name="T0" fmla="*/ 2147483647 w 80"/>
              <a:gd name="T1" fmla="*/ 0 h 254"/>
              <a:gd name="T2" fmla="*/ 2147483647 w 80"/>
              <a:gd name="T3" fmla="*/ 2147483647 h 254"/>
              <a:gd name="T4" fmla="*/ 2147483647 w 80"/>
              <a:gd name="T5" fmla="*/ 2147483647 h 254"/>
              <a:gd name="T6" fmla="*/ 2147483647 w 80"/>
              <a:gd name="T7" fmla="*/ 2147483647 h 254"/>
              <a:gd name="T8" fmla="*/ 2147483647 w 80"/>
              <a:gd name="T9" fmla="*/ 2147483647 h 254"/>
              <a:gd name="T10" fmla="*/ 2147483647 w 80"/>
              <a:gd name="T11" fmla="*/ 2147483647 h 254"/>
              <a:gd name="T12" fmla="*/ 2147483647 w 80"/>
              <a:gd name="T13" fmla="*/ 2147483647 h 254"/>
              <a:gd name="T14" fmla="*/ 2147483647 w 80"/>
              <a:gd name="T15" fmla="*/ 2147483647 h 254"/>
              <a:gd name="T16" fmla="*/ 2147483647 w 80"/>
              <a:gd name="T17" fmla="*/ 2147483647 h 254"/>
              <a:gd name="T18" fmla="*/ 2147483647 w 80"/>
              <a:gd name="T19" fmla="*/ 2147483647 h 254"/>
              <a:gd name="T20" fmla="*/ 2147483647 w 80"/>
              <a:gd name="T21" fmla="*/ 2147483647 h 254"/>
              <a:gd name="T22" fmla="*/ 2147483647 w 80"/>
              <a:gd name="T23" fmla="*/ 2147483647 h 254"/>
              <a:gd name="T24" fmla="*/ 2147483647 w 80"/>
              <a:gd name="T25" fmla="*/ 2147483647 h 254"/>
              <a:gd name="T26" fmla="*/ 2147483647 w 80"/>
              <a:gd name="T27" fmla="*/ 2147483647 h 254"/>
              <a:gd name="T28" fmla="*/ 2147483647 w 80"/>
              <a:gd name="T29" fmla="*/ 2147483647 h 254"/>
              <a:gd name="T30" fmla="*/ 2147483647 w 80"/>
              <a:gd name="T31" fmla="*/ 2147483647 h 254"/>
              <a:gd name="T32" fmla="*/ 0 w 80"/>
              <a:gd name="T33" fmla="*/ 2147483647 h 254"/>
              <a:gd name="T34" fmla="*/ 2147483647 w 80"/>
              <a:gd name="T35" fmla="*/ 2147483647 h 254"/>
              <a:gd name="T36" fmla="*/ 2147483647 w 80"/>
              <a:gd name="T37" fmla="*/ 2147483647 h 254"/>
              <a:gd name="T38" fmla="*/ 2147483647 w 80"/>
              <a:gd name="T39" fmla="*/ 2147483647 h 254"/>
              <a:gd name="T40" fmla="*/ 2147483647 w 80"/>
              <a:gd name="T41" fmla="*/ 2147483647 h 254"/>
              <a:gd name="T42" fmla="*/ 2147483647 w 80"/>
              <a:gd name="T43" fmla="*/ 2147483647 h 254"/>
              <a:gd name="T44" fmla="*/ 2147483647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9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948103" y="3611190"/>
            <a:ext cx="69850" cy="130175"/>
          </a:xfrm>
          <a:custGeom>
            <a:avLst/>
            <a:gdLst>
              <a:gd name="T0" fmla="*/ 2147483647 w 167"/>
              <a:gd name="T1" fmla="*/ 0 h 259"/>
              <a:gd name="T2" fmla="*/ 2147483647 w 167"/>
              <a:gd name="T3" fmla="*/ 2147483647 h 259"/>
              <a:gd name="T4" fmla="*/ 2147483647 w 167"/>
              <a:gd name="T5" fmla="*/ 2147483647 h 259"/>
              <a:gd name="T6" fmla="*/ 2147483647 w 167"/>
              <a:gd name="T7" fmla="*/ 2147483647 h 259"/>
              <a:gd name="T8" fmla="*/ 2147483647 w 167"/>
              <a:gd name="T9" fmla="*/ 2147483647 h 259"/>
              <a:gd name="T10" fmla="*/ 2147483647 w 167"/>
              <a:gd name="T11" fmla="*/ 2147483647 h 259"/>
              <a:gd name="T12" fmla="*/ 2147483647 w 167"/>
              <a:gd name="T13" fmla="*/ 2147483647 h 259"/>
              <a:gd name="T14" fmla="*/ 2147483647 w 167"/>
              <a:gd name="T15" fmla="*/ 2147483647 h 259"/>
              <a:gd name="T16" fmla="*/ 2147483647 w 167"/>
              <a:gd name="T17" fmla="*/ 2147483647 h 259"/>
              <a:gd name="T18" fmla="*/ 2147483647 w 167"/>
              <a:gd name="T19" fmla="*/ 2147483647 h 259"/>
              <a:gd name="T20" fmla="*/ 2147483647 w 167"/>
              <a:gd name="T21" fmla="*/ 2147483647 h 259"/>
              <a:gd name="T22" fmla="*/ 2147483647 w 167"/>
              <a:gd name="T23" fmla="*/ 2147483647 h 259"/>
              <a:gd name="T24" fmla="*/ 2147483647 w 167"/>
              <a:gd name="T25" fmla="*/ 2147483647 h 259"/>
              <a:gd name="T26" fmla="*/ 2147483647 w 167"/>
              <a:gd name="T27" fmla="*/ 2147483647 h 259"/>
              <a:gd name="T28" fmla="*/ 2147483647 w 167"/>
              <a:gd name="T29" fmla="*/ 2147483647 h 259"/>
              <a:gd name="T30" fmla="*/ 2147483647 w 167"/>
              <a:gd name="T31" fmla="*/ 2147483647 h 259"/>
              <a:gd name="T32" fmla="*/ 2147483647 w 167"/>
              <a:gd name="T33" fmla="*/ 2147483647 h 259"/>
              <a:gd name="T34" fmla="*/ 2147483647 w 167"/>
              <a:gd name="T35" fmla="*/ 2147483647 h 259"/>
              <a:gd name="T36" fmla="*/ 2147483647 w 167"/>
              <a:gd name="T37" fmla="*/ 2147483647 h 259"/>
              <a:gd name="T38" fmla="*/ 2147483647 w 167"/>
              <a:gd name="T39" fmla="*/ 2147483647 h 259"/>
              <a:gd name="T40" fmla="*/ 2147483647 w 167"/>
              <a:gd name="T41" fmla="*/ 2147483647 h 259"/>
              <a:gd name="T42" fmla="*/ 2147483647 w 167"/>
              <a:gd name="T43" fmla="*/ 2147483647 h 259"/>
              <a:gd name="T44" fmla="*/ 2147483647 w 167"/>
              <a:gd name="T45" fmla="*/ 2147483647 h 259"/>
              <a:gd name="T46" fmla="*/ 2147483647 w 167"/>
              <a:gd name="T47" fmla="*/ 2147483647 h 259"/>
              <a:gd name="T48" fmla="*/ 2147483647 w 167"/>
              <a:gd name="T49" fmla="*/ 2147483647 h 259"/>
              <a:gd name="T50" fmla="*/ 2147483647 w 167"/>
              <a:gd name="T51" fmla="*/ 2147483647 h 259"/>
              <a:gd name="T52" fmla="*/ 2147483647 w 167"/>
              <a:gd name="T53" fmla="*/ 2147483647 h 259"/>
              <a:gd name="T54" fmla="*/ 2147483647 w 167"/>
              <a:gd name="T55" fmla="*/ 2147483647 h 259"/>
              <a:gd name="T56" fmla="*/ 2147483647 w 167"/>
              <a:gd name="T57" fmla="*/ 2147483647 h 259"/>
              <a:gd name="T58" fmla="*/ 2147483647 w 167"/>
              <a:gd name="T59" fmla="*/ 2147483647 h 259"/>
              <a:gd name="T60" fmla="*/ 2147483647 w 167"/>
              <a:gd name="T61" fmla="*/ 2147483647 h 259"/>
              <a:gd name="T62" fmla="*/ 2147483647 w 167"/>
              <a:gd name="T63" fmla="*/ 2147483647 h 259"/>
              <a:gd name="T64" fmla="*/ 2147483647 w 167"/>
              <a:gd name="T65" fmla="*/ 2147483647 h 259"/>
              <a:gd name="T66" fmla="*/ 0 w 167"/>
              <a:gd name="T67" fmla="*/ 2147483647 h 259"/>
              <a:gd name="T68" fmla="*/ 0 w 167"/>
              <a:gd name="T69" fmla="*/ 2147483647 h 259"/>
              <a:gd name="T70" fmla="*/ 0 w 167"/>
              <a:gd name="T71" fmla="*/ 2147483647 h 259"/>
              <a:gd name="T72" fmla="*/ 2147483647 w 167"/>
              <a:gd name="T73" fmla="*/ 2147483647 h 259"/>
              <a:gd name="T74" fmla="*/ 2147483647 w 167"/>
              <a:gd name="T75" fmla="*/ 2147483647 h 259"/>
              <a:gd name="T76" fmla="*/ 2147483647 w 167"/>
              <a:gd name="T77" fmla="*/ 2147483647 h 259"/>
              <a:gd name="T78" fmla="*/ 2147483647 w 167"/>
              <a:gd name="T79" fmla="*/ 2147483647 h 259"/>
              <a:gd name="T80" fmla="*/ 2147483647 w 167"/>
              <a:gd name="T81" fmla="*/ 2147483647 h 259"/>
              <a:gd name="T82" fmla="*/ 2147483647 w 167"/>
              <a:gd name="T83" fmla="*/ 2147483647 h 259"/>
              <a:gd name="T84" fmla="*/ 2147483647 w 167"/>
              <a:gd name="T85" fmla="*/ 2147483647 h 259"/>
              <a:gd name="T86" fmla="*/ 2147483647 w 167"/>
              <a:gd name="T87" fmla="*/ 2147483647 h 259"/>
              <a:gd name="T88" fmla="*/ 2147483647 w 167"/>
              <a:gd name="T89" fmla="*/ 2147483647 h 259"/>
              <a:gd name="T90" fmla="*/ 2147483647 w 167"/>
              <a:gd name="T91" fmla="*/ 2147483647 h 259"/>
              <a:gd name="T92" fmla="*/ 2147483647 w 167"/>
              <a:gd name="T93" fmla="*/ 2147483647 h 259"/>
              <a:gd name="T94" fmla="*/ 2147483647 w 167"/>
              <a:gd name="T95" fmla="*/ 2147483647 h 259"/>
              <a:gd name="T96" fmla="*/ 2147483647 w 167"/>
              <a:gd name="T97" fmla="*/ 2147483647 h 259"/>
              <a:gd name="T98" fmla="*/ 2147483647 w 167"/>
              <a:gd name="T99" fmla="*/ 2147483647 h 259"/>
              <a:gd name="T100" fmla="*/ 2147483647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0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949565" y="2865065"/>
            <a:ext cx="96838" cy="144463"/>
          </a:xfrm>
          <a:custGeom>
            <a:avLst/>
            <a:gdLst>
              <a:gd name="T0" fmla="*/ 2147483647 w 225"/>
              <a:gd name="T1" fmla="*/ 2147483647 h 273"/>
              <a:gd name="T2" fmla="*/ 2147483647 w 225"/>
              <a:gd name="T3" fmla="*/ 2147483647 h 273"/>
              <a:gd name="T4" fmla="*/ 2147483647 w 225"/>
              <a:gd name="T5" fmla="*/ 2147483647 h 273"/>
              <a:gd name="T6" fmla="*/ 2147483647 w 225"/>
              <a:gd name="T7" fmla="*/ 2147483647 h 273"/>
              <a:gd name="T8" fmla="*/ 2147483647 w 225"/>
              <a:gd name="T9" fmla="*/ 2147483647 h 273"/>
              <a:gd name="T10" fmla="*/ 2147483647 w 225"/>
              <a:gd name="T11" fmla="*/ 2147483647 h 273"/>
              <a:gd name="T12" fmla="*/ 2147483647 w 225"/>
              <a:gd name="T13" fmla="*/ 2147483647 h 273"/>
              <a:gd name="T14" fmla="*/ 2147483647 w 225"/>
              <a:gd name="T15" fmla="*/ 2147483647 h 273"/>
              <a:gd name="T16" fmla="*/ 2147483647 w 225"/>
              <a:gd name="T17" fmla="*/ 2147483647 h 273"/>
              <a:gd name="T18" fmla="*/ 2147483647 w 225"/>
              <a:gd name="T19" fmla="*/ 2147483647 h 273"/>
              <a:gd name="T20" fmla="*/ 2147483647 w 225"/>
              <a:gd name="T21" fmla="*/ 2147483647 h 273"/>
              <a:gd name="T22" fmla="*/ 2147483647 w 225"/>
              <a:gd name="T23" fmla="*/ 2147483647 h 273"/>
              <a:gd name="T24" fmla="*/ 2147483647 w 225"/>
              <a:gd name="T25" fmla="*/ 2147483647 h 273"/>
              <a:gd name="T26" fmla="*/ 2147483647 w 225"/>
              <a:gd name="T27" fmla="*/ 2147483647 h 273"/>
              <a:gd name="T28" fmla="*/ 2147483647 w 225"/>
              <a:gd name="T29" fmla="*/ 2147483647 h 273"/>
              <a:gd name="T30" fmla="*/ 2147483647 w 225"/>
              <a:gd name="T31" fmla="*/ 2147483647 h 273"/>
              <a:gd name="T32" fmla="*/ 2147483647 w 225"/>
              <a:gd name="T33" fmla="*/ 2147483647 h 273"/>
              <a:gd name="T34" fmla="*/ 2147483647 w 225"/>
              <a:gd name="T35" fmla="*/ 2147483647 h 273"/>
              <a:gd name="T36" fmla="*/ 2147483647 w 225"/>
              <a:gd name="T37" fmla="*/ 2147483647 h 273"/>
              <a:gd name="T38" fmla="*/ 2147483647 w 225"/>
              <a:gd name="T39" fmla="*/ 2147483647 h 273"/>
              <a:gd name="T40" fmla="*/ 0 w 225"/>
              <a:gd name="T41" fmla="*/ 2147483647 h 273"/>
              <a:gd name="T42" fmla="*/ 2147483647 w 225"/>
              <a:gd name="T43" fmla="*/ 2147483647 h 273"/>
              <a:gd name="T44" fmla="*/ 2147483647 w 225"/>
              <a:gd name="T45" fmla="*/ 2147483647 h 273"/>
              <a:gd name="T46" fmla="*/ 2147483647 w 225"/>
              <a:gd name="T47" fmla="*/ 2147483647 h 273"/>
              <a:gd name="T48" fmla="*/ 2147483647 w 225"/>
              <a:gd name="T49" fmla="*/ 2147483647 h 273"/>
              <a:gd name="T50" fmla="*/ 2147483647 w 225"/>
              <a:gd name="T51" fmla="*/ 2147483647 h 273"/>
              <a:gd name="T52" fmla="*/ 2147483647 w 225"/>
              <a:gd name="T53" fmla="*/ 2147483647 h 273"/>
              <a:gd name="T54" fmla="*/ 2147483647 w 225"/>
              <a:gd name="T55" fmla="*/ 2147483647 h 273"/>
              <a:gd name="T56" fmla="*/ 2147483647 w 225"/>
              <a:gd name="T57" fmla="*/ 2147483647 h 273"/>
              <a:gd name="T58" fmla="*/ 2147483647 w 225"/>
              <a:gd name="T59" fmla="*/ 2147483647 h 273"/>
              <a:gd name="T60" fmla="*/ 2147483647 w 225"/>
              <a:gd name="T61" fmla="*/ 2147483647 h 273"/>
              <a:gd name="T62" fmla="*/ 2147483647 w 225"/>
              <a:gd name="T63" fmla="*/ 2147483647 h 273"/>
              <a:gd name="T64" fmla="*/ 2147483647 w 225"/>
              <a:gd name="T65" fmla="*/ 2147483647 h 273"/>
              <a:gd name="T66" fmla="*/ 2147483647 w 225"/>
              <a:gd name="T67" fmla="*/ 2147483647 h 273"/>
              <a:gd name="T68" fmla="*/ 2147483647 w 225"/>
              <a:gd name="T69" fmla="*/ 2147483647 h 273"/>
              <a:gd name="T70" fmla="*/ 2147483647 w 225"/>
              <a:gd name="T71" fmla="*/ 2147483647 h 273"/>
              <a:gd name="T72" fmla="*/ 2147483647 w 225"/>
              <a:gd name="T73" fmla="*/ 2147483647 h 273"/>
              <a:gd name="T74" fmla="*/ 2147483647 w 225"/>
              <a:gd name="T75" fmla="*/ 2147483647 h 273"/>
              <a:gd name="T76" fmla="*/ 2147483647 w 225"/>
              <a:gd name="T77" fmla="*/ 2147483647 h 273"/>
              <a:gd name="T78" fmla="*/ 2147483647 w 225"/>
              <a:gd name="T79" fmla="*/ 2147483647 h 273"/>
              <a:gd name="T80" fmla="*/ 2147483647 w 225"/>
              <a:gd name="T81" fmla="*/ 2147483647 h 273"/>
              <a:gd name="T82" fmla="*/ 2147483647 w 225"/>
              <a:gd name="T83" fmla="*/ 2147483647 h 273"/>
              <a:gd name="T84" fmla="*/ 2147483647 w 225"/>
              <a:gd name="T85" fmla="*/ 2147483647 h 273"/>
              <a:gd name="T86" fmla="*/ 2147483647 w 225"/>
              <a:gd name="T87" fmla="*/ 2147483647 h 273"/>
              <a:gd name="T88" fmla="*/ 2147483647 w 225"/>
              <a:gd name="T89" fmla="*/ 2147483647 h 273"/>
              <a:gd name="T90" fmla="*/ 2147483647 w 225"/>
              <a:gd name="T91" fmla="*/ 2147483647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11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762240" y="3776290"/>
            <a:ext cx="306388" cy="390525"/>
          </a:xfrm>
          <a:custGeom>
            <a:avLst/>
            <a:gdLst>
              <a:gd name="T0" fmla="*/ 2147483647 w 232"/>
              <a:gd name="T1" fmla="*/ 2147483647 h 248"/>
              <a:gd name="T2" fmla="*/ 2147483647 w 232"/>
              <a:gd name="T3" fmla="*/ 2147483647 h 248"/>
              <a:gd name="T4" fmla="*/ 2147483647 w 232"/>
              <a:gd name="T5" fmla="*/ 2147483647 h 248"/>
              <a:gd name="T6" fmla="*/ 2147483647 w 232"/>
              <a:gd name="T7" fmla="*/ 2147483647 h 248"/>
              <a:gd name="T8" fmla="*/ 2147483647 w 232"/>
              <a:gd name="T9" fmla="*/ 2147483647 h 248"/>
              <a:gd name="T10" fmla="*/ 2147483647 w 232"/>
              <a:gd name="T11" fmla="*/ 2147483647 h 248"/>
              <a:gd name="T12" fmla="*/ 2147483647 w 232"/>
              <a:gd name="T13" fmla="*/ 2147483647 h 248"/>
              <a:gd name="T14" fmla="*/ 2147483647 w 232"/>
              <a:gd name="T15" fmla="*/ 2147483647 h 248"/>
              <a:gd name="T16" fmla="*/ 2147483647 w 232"/>
              <a:gd name="T17" fmla="*/ 2147483647 h 248"/>
              <a:gd name="T18" fmla="*/ 2147483647 w 232"/>
              <a:gd name="T19" fmla="*/ 2147483647 h 248"/>
              <a:gd name="T20" fmla="*/ 2147483647 w 232"/>
              <a:gd name="T21" fmla="*/ 2147483647 h 248"/>
              <a:gd name="T22" fmla="*/ 2147483647 w 232"/>
              <a:gd name="T23" fmla="*/ 2147483647 h 248"/>
              <a:gd name="T24" fmla="*/ 2147483647 w 232"/>
              <a:gd name="T25" fmla="*/ 2147483647 h 248"/>
              <a:gd name="T26" fmla="*/ 2147483647 w 232"/>
              <a:gd name="T27" fmla="*/ 2147483647 h 248"/>
              <a:gd name="T28" fmla="*/ 2147483647 w 232"/>
              <a:gd name="T29" fmla="*/ 2147483647 h 248"/>
              <a:gd name="T30" fmla="*/ 2147483647 w 232"/>
              <a:gd name="T31" fmla="*/ 2147483647 h 248"/>
              <a:gd name="T32" fmla="*/ 2147483647 w 232"/>
              <a:gd name="T33" fmla="*/ 2147483647 h 248"/>
              <a:gd name="T34" fmla="*/ 2147483647 w 232"/>
              <a:gd name="T35" fmla="*/ 2147483647 h 248"/>
              <a:gd name="T36" fmla="*/ 2147483647 w 232"/>
              <a:gd name="T37" fmla="*/ 2147483647 h 248"/>
              <a:gd name="T38" fmla="*/ 2147483647 w 232"/>
              <a:gd name="T39" fmla="*/ 2147483647 h 248"/>
              <a:gd name="T40" fmla="*/ 2147483647 w 232"/>
              <a:gd name="T41" fmla="*/ 2147483647 h 248"/>
              <a:gd name="T42" fmla="*/ 2147483647 w 232"/>
              <a:gd name="T43" fmla="*/ 2147483647 h 248"/>
              <a:gd name="T44" fmla="*/ 2147483647 w 232"/>
              <a:gd name="T45" fmla="*/ 2147483647 h 248"/>
              <a:gd name="T46" fmla="*/ 2147483647 w 232"/>
              <a:gd name="T47" fmla="*/ 2147483647 h 248"/>
              <a:gd name="T48" fmla="*/ 2147483647 w 232"/>
              <a:gd name="T49" fmla="*/ 2147483647 h 248"/>
              <a:gd name="T50" fmla="*/ 2147483647 w 232"/>
              <a:gd name="T51" fmla="*/ 2147483647 h 248"/>
              <a:gd name="T52" fmla="*/ 2147483647 w 232"/>
              <a:gd name="T53" fmla="*/ 2147483647 h 248"/>
              <a:gd name="T54" fmla="*/ 2147483647 w 232"/>
              <a:gd name="T55" fmla="*/ 2147483647 h 248"/>
              <a:gd name="T56" fmla="*/ 2147483647 w 232"/>
              <a:gd name="T57" fmla="*/ 2147483647 h 248"/>
              <a:gd name="T58" fmla="*/ 2147483647 w 232"/>
              <a:gd name="T59" fmla="*/ 2147483647 h 248"/>
              <a:gd name="T60" fmla="*/ 2147483647 w 232"/>
              <a:gd name="T61" fmla="*/ 2147483647 h 248"/>
              <a:gd name="T62" fmla="*/ 2147483647 w 232"/>
              <a:gd name="T63" fmla="*/ 2147483647 h 248"/>
              <a:gd name="T64" fmla="*/ 2147483647 w 232"/>
              <a:gd name="T65" fmla="*/ 2147483647 h 248"/>
              <a:gd name="T66" fmla="*/ 2147483647 w 232"/>
              <a:gd name="T67" fmla="*/ 2147483647 h 248"/>
              <a:gd name="T68" fmla="*/ 2147483647 w 232"/>
              <a:gd name="T69" fmla="*/ 2147483647 h 248"/>
              <a:gd name="T70" fmla="*/ 2147483647 w 232"/>
              <a:gd name="T71" fmla="*/ 2147483647 h 248"/>
              <a:gd name="T72" fmla="*/ 2147483647 w 232"/>
              <a:gd name="T73" fmla="*/ 2147483647 h 248"/>
              <a:gd name="T74" fmla="*/ 2147483647 w 232"/>
              <a:gd name="T75" fmla="*/ 2147483647 h 248"/>
              <a:gd name="T76" fmla="*/ 2147483647 w 232"/>
              <a:gd name="T77" fmla="*/ 2147483647 h 248"/>
              <a:gd name="T78" fmla="*/ 2147483647 w 232"/>
              <a:gd name="T79" fmla="*/ 2147483647 h 248"/>
              <a:gd name="T80" fmla="*/ 2147483647 w 232"/>
              <a:gd name="T81" fmla="*/ 2147483647 h 248"/>
              <a:gd name="T82" fmla="*/ 2147483647 w 232"/>
              <a:gd name="T83" fmla="*/ 2147483647 h 248"/>
              <a:gd name="T84" fmla="*/ 2147483647 w 232"/>
              <a:gd name="T85" fmla="*/ 2147483647 h 248"/>
              <a:gd name="T86" fmla="*/ 2147483647 w 232"/>
              <a:gd name="T87" fmla="*/ 2147483647 h 248"/>
              <a:gd name="T88" fmla="*/ 2147483647 w 232"/>
              <a:gd name="T89" fmla="*/ 2147483647 h 248"/>
              <a:gd name="T90" fmla="*/ 2147483647 w 232"/>
              <a:gd name="T91" fmla="*/ 2147483647 h 248"/>
              <a:gd name="T92" fmla="*/ 2147483647 w 232"/>
              <a:gd name="T93" fmla="*/ 2147483647 h 248"/>
              <a:gd name="T94" fmla="*/ 2147483647 w 232"/>
              <a:gd name="T95" fmla="*/ 2147483647 h 248"/>
              <a:gd name="T96" fmla="*/ 2147483647 w 232"/>
              <a:gd name="T97" fmla="*/ 2147483647 h 248"/>
              <a:gd name="T98" fmla="*/ 2147483647 w 232"/>
              <a:gd name="T99" fmla="*/ 2147483647 h 248"/>
              <a:gd name="T100" fmla="*/ 2147483647 w 232"/>
              <a:gd name="T101" fmla="*/ 2147483647 h 248"/>
              <a:gd name="T102" fmla="*/ 2147483647 w 232"/>
              <a:gd name="T103" fmla="*/ 2147483647 h 248"/>
              <a:gd name="T104" fmla="*/ 2147483647 w 232"/>
              <a:gd name="T105" fmla="*/ 2147483647 h 248"/>
              <a:gd name="T106" fmla="*/ 2147483647 w 232"/>
              <a:gd name="T107" fmla="*/ 2147483647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2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878128" y="3836615"/>
            <a:ext cx="414337" cy="468313"/>
          </a:xfrm>
          <a:custGeom>
            <a:avLst/>
            <a:gdLst>
              <a:gd name="T0" fmla="*/ 2147483647 w 948"/>
              <a:gd name="T1" fmla="*/ 2147483647 h 893"/>
              <a:gd name="T2" fmla="*/ 2147483647 w 948"/>
              <a:gd name="T3" fmla="*/ 2147483647 h 893"/>
              <a:gd name="T4" fmla="*/ 2147483647 w 948"/>
              <a:gd name="T5" fmla="*/ 2147483647 h 893"/>
              <a:gd name="T6" fmla="*/ 2147483647 w 948"/>
              <a:gd name="T7" fmla="*/ 2147483647 h 893"/>
              <a:gd name="T8" fmla="*/ 2147483647 w 948"/>
              <a:gd name="T9" fmla="*/ 2147483647 h 893"/>
              <a:gd name="T10" fmla="*/ 2147483647 w 948"/>
              <a:gd name="T11" fmla="*/ 2147483647 h 893"/>
              <a:gd name="T12" fmla="*/ 2147483647 w 948"/>
              <a:gd name="T13" fmla="*/ 2147483647 h 893"/>
              <a:gd name="T14" fmla="*/ 2147483647 w 948"/>
              <a:gd name="T15" fmla="*/ 2147483647 h 893"/>
              <a:gd name="T16" fmla="*/ 2147483647 w 948"/>
              <a:gd name="T17" fmla="*/ 2147483647 h 893"/>
              <a:gd name="T18" fmla="*/ 2147483647 w 948"/>
              <a:gd name="T19" fmla="*/ 2147483647 h 893"/>
              <a:gd name="T20" fmla="*/ 2147483647 w 948"/>
              <a:gd name="T21" fmla="*/ 2147483647 h 893"/>
              <a:gd name="T22" fmla="*/ 2147483647 w 948"/>
              <a:gd name="T23" fmla="*/ 2147483647 h 893"/>
              <a:gd name="T24" fmla="*/ 2147483647 w 948"/>
              <a:gd name="T25" fmla="*/ 2147483647 h 893"/>
              <a:gd name="T26" fmla="*/ 2147483647 w 948"/>
              <a:gd name="T27" fmla="*/ 2147483647 h 893"/>
              <a:gd name="T28" fmla="*/ 2147483647 w 948"/>
              <a:gd name="T29" fmla="*/ 2147483647 h 893"/>
              <a:gd name="T30" fmla="*/ 2147483647 w 948"/>
              <a:gd name="T31" fmla="*/ 2147483647 h 893"/>
              <a:gd name="T32" fmla="*/ 2147483647 w 948"/>
              <a:gd name="T33" fmla="*/ 2147483647 h 893"/>
              <a:gd name="T34" fmla="*/ 2147483647 w 948"/>
              <a:gd name="T35" fmla="*/ 2147483647 h 893"/>
              <a:gd name="T36" fmla="*/ 2147483647 w 948"/>
              <a:gd name="T37" fmla="*/ 2147483647 h 893"/>
              <a:gd name="T38" fmla="*/ 2147483647 w 948"/>
              <a:gd name="T39" fmla="*/ 2147483647 h 893"/>
              <a:gd name="T40" fmla="*/ 2147483647 w 948"/>
              <a:gd name="T41" fmla="*/ 2147483647 h 893"/>
              <a:gd name="T42" fmla="*/ 2147483647 w 948"/>
              <a:gd name="T43" fmla="*/ 2147483647 h 893"/>
              <a:gd name="T44" fmla="*/ 2147483647 w 948"/>
              <a:gd name="T45" fmla="*/ 2147483647 h 893"/>
              <a:gd name="T46" fmla="*/ 2147483647 w 948"/>
              <a:gd name="T47" fmla="*/ 2147483647 h 893"/>
              <a:gd name="T48" fmla="*/ 2147483647 w 948"/>
              <a:gd name="T49" fmla="*/ 2147483647 h 893"/>
              <a:gd name="T50" fmla="*/ 2147483647 w 948"/>
              <a:gd name="T51" fmla="*/ 2147483647 h 893"/>
              <a:gd name="T52" fmla="*/ 2147483647 w 948"/>
              <a:gd name="T53" fmla="*/ 2147483647 h 893"/>
              <a:gd name="T54" fmla="*/ 2147483647 w 948"/>
              <a:gd name="T55" fmla="*/ 2147483647 h 893"/>
              <a:gd name="T56" fmla="*/ 2147483647 w 948"/>
              <a:gd name="T57" fmla="*/ 2147483647 h 893"/>
              <a:gd name="T58" fmla="*/ 2147483647 w 948"/>
              <a:gd name="T59" fmla="*/ 2147483647 h 893"/>
              <a:gd name="T60" fmla="*/ 2147483647 w 948"/>
              <a:gd name="T61" fmla="*/ 2147483647 h 893"/>
              <a:gd name="T62" fmla="*/ 2147483647 w 948"/>
              <a:gd name="T63" fmla="*/ 2147483647 h 893"/>
              <a:gd name="T64" fmla="*/ 2147483647 w 948"/>
              <a:gd name="T65" fmla="*/ 2147483647 h 893"/>
              <a:gd name="T66" fmla="*/ 2147483647 w 948"/>
              <a:gd name="T67" fmla="*/ 2147483647 h 893"/>
              <a:gd name="T68" fmla="*/ 2147483647 w 948"/>
              <a:gd name="T69" fmla="*/ 2147483647 h 893"/>
              <a:gd name="T70" fmla="*/ 2147483647 w 948"/>
              <a:gd name="T71" fmla="*/ 2147483647 h 893"/>
              <a:gd name="T72" fmla="*/ 2147483647 w 948"/>
              <a:gd name="T73" fmla="*/ 2147483647 h 893"/>
              <a:gd name="T74" fmla="*/ 2147483647 w 948"/>
              <a:gd name="T75" fmla="*/ 2147483647 h 893"/>
              <a:gd name="T76" fmla="*/ 2147483647 w 948"/>
              <a:gd name="T77" fmla="*/ 2147483647 h 893"/>
              <a:gd name="T78" fmla="*/ 2147483647 w 948"/>
              <a:gd name="T79" fmla="*/ 2147483647 h 893"/>
              <a:gd name="T80" fmla="*/ 2147483647 w 948"/>
              <a:gd name="T81" fmla="*/ 2147483647 h 893"/>
              <a:gd name="T82" fmla="*/ 2147483647 w 948"/>
              <a:gd name="T83" fmla="*/ 2147483647 h 893"/>
              <a:gd name="T84" fmla="*/ 2147483647 w 948"/>
              <a:gd name="T85" fmla="*/ 2147483647 h 893"/>
              <a:gd name="T86" fmla="*/ 2147483647 w 948"/>
              <a:gd name="T87" fmla="*/ 2147483647 h 893"/>
              <a:gd name="T88" fmla="*/ 2147483647 w 948"/>
              <a:gd name="T89" fmla="*/ 2147483647 h 893"/>
              <a:gd name="T90" fmla="*/ 2147483647 w 948"/>
              <a:gd name="T91" fmla="*/ 2147483647 h 893"/>
              <a:gd name="T92" fmla="*/ 2147483647 w 948"/>
              <a:gd name="T93" fmla="*/ 2147483647 h 893"/>
              <a:gd name="T94" fmla="*/ 2147483647 w 948"/>
              <a:gd name="T95" fmla="*/ 2147483647 h 893"/>
              <a:gd name="T96" fmla="*/ 2147483647 w 948"/>
              <a:gd name="T97" fmla="*/ 2147483647 h 893"/>
              <a:gd name="T98" fmla="*/ 2147483647 w 948"/>
              <a:gd name="T99" fmla="*/ 2147483647 h 893"/>
              <a:gd name="T100" fmla="*/ 2147483647 w 948"/>
              <a:gd name="T101" fmla="*/ 2147483647 h 893"/>
              <a:gd name="T102" fmla="*/ 2147483647 w 948"/>
              <a:gd name="T103" fmla="*/ 2147483647 h 893"/>
              <a:gd name="T104" fmla="*/ 2147483647 w 948"/>
              <a:gd name="T105" fmla="*/ 2147483647 h 893"/>
              <a:gd name="T106" fmla="*/ 2147483647 w 948"/>
              <a:gd name="T107" fmla="*/ 2147483647 h 893"/>
              <a:gd name="T108" fmla="*/ 2147483647 w 948"/>
              <a:gd name="T109" fmla="*/ 2147483647 h 893"/>
              <a:gd name="T110" fmla="*/ 2147483647 w 948"/>
              <a:gd name="T111" fmla="*/ 2147483647 h 893"/>
              <a:gd name="T112" fmla="*/ 2147483647 w 948"/>
              <a:gd name="T113" fmla="*/ 2147483647 h 893"/>
              <a:gd name="T114" fmla="*/ 2147483647 w 948"/>
              <a:gd name="T115" fmla="*/ 2147483647 h 893"/>
              <a:gd name="T116" fmla="*/ 2147483647 w 948"/>
              <a:gd name="T117" fmla="*/ 2147483647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3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976553" y="3442915"/>
            <a:ext cx="493712" cy="579438"/>
          </a:xfrm>
          <a:custGeom>
            <a:avLst/>
            <a:gdLst>
              <a:gd name="T0" fmla="*/ 2147483647 w 373"/>
              <a:gd name="T1" fmla="*/ 2147483647 h 370"/>
              <a:gd name="T2" fmla="*/ 2147483647 w 373"/>
              <a:gd name="T3" fmla="*/ 2147483647 h 370"/>
              <a:gd name="T4" fmla="*/ 2147483647 w 373"/>
              <a:gd name="T5" fmla="*/ 2147483647 h 370"/>
              <a:gd name="T6" fmla="*/ 2147483647 w 373"/>
              <a:gd name="T7" fmla="*/ 2147483647 h 370"/>
              <a:gd name="T8" fmla="*/ 2147483647 w 373"/>
              <a:gd name="T9" fmla="*/ 2147483647 h 370"/>
              <a:gd name="T10" fmla="*/ 2147483647 w 373"/>
              <a:gd name="T11" fmla="*/ 2147483647 h 370"/>
              <a:gd name="T12" fmla="*/ 2147483647 w 373"/>
              <a:gd name="T13" fmla="*/ 2147483647 h 370"/>
              <a:gd name="T14" fmla="*/ 2147483647 w 373"/>
              <a:gd name="T15" fmla="*/ 2147483647 h 370"/>
              <a:gd name="T16" fmla="*/ 2147483647 w 373"/>
              <a:gd name="T17" fmla="*/ 2147483647 h 370"/>
              <a:gd name="T18" fmla="*/ 2147483647 w 373"/>
              <a:gd name="T19" fmla="*/ 2147483647 h 370"/>
              <a:gd name="T20" fmla="*/ 2147483647 w 373"/>
              <a:gd name="T21" fmla="*/ 2147483647 h 370"/>
              <a:gd name="T22" fmla="*/ 2147483647 w 373"/>
              <a:gd name="T23" fmla="*/ 2147483647 h 370"/>
              <a:gd name="T24" fmla="*/ 2147483647 w 373"/>
              <a:gd name="T25" fmla="*/ 2147483647 h 370"/>
              <a:gd name="T26" fmla="*/ 2147483647 w 373"/>
              <a:gd name="T27" fmla="*/ 2147483647 h 370"/>
              <a:gd name="T28" fmla="*/ 2147483647 w 373"/>
              <a:gd name="T29" fmla="*/ 2147483647 h 370"/>
              <a:gd name="T30" fmla="*/ 2147483647 w 373"/>
              <a:gd name="T31" fmla="*/ 2147483647 h 370"/>
              <a:gd name="T32" fmla="*/ 2147483647 w 373"/>
              <a:gd name="T33" fmla="*/ 2147483647 h 370"/>
              <a:gd name="T34" fmla="*/ 2147483647 w 373"/>
              <a:gd name="T35" fmla="*/ 2147483647 h 370"/>
              <a:gd name="T36" fmla="*/ 2147483647 w 373"/>
              <a:gd name="T37" fmla="*/ 2147483647 h 370"/>
              <a:gd name="T38" fmla="*/ 2147483647 w 373"/>
              <a:gd name="T39" fmla="*/ 2147483647 h 370"/>
              <a:gd name="T40" fmla="*/ 2147483647 w 373"/>
              <a:gd name="T41" fmla="*/ 2147483647 h 370"/>
              <a:gd name="T42" fmla="*/ 2147483647 w 373"/>
              <a:gd name="T43" fmla="*/ 2147483647 h 370"/>
              <a:gd name="T44" fmla="*/ 2147483647 w 373"/>
              <a:gd name="T45" fmla="*/ 2147483647 h 370"/>
              <a:gd name="T46" fmla="*/ 2147483647 w 373"/>
              <a:gd name="T47" fmla="*/ 2147483647 h 370"/>
              <a:gd name="T48" fmla="*/ 2147483647 w 373"/>
              <a:gd name="T49" fmla="*/ 2147483647 h 370"/>
              <a:gd name="T50" fmla="*/ 2147483647 w 373"/>
              <a:gd name="T51" fmla="*/ 2147483647 h 370"/>
              <a:gd name="T52" fmla="*/ 2147483647 w 373"/>
              <a:gd name="T53" fmla="*/ 2147483647 h 370"/>
              <a:gd name="T54" fmla="*/ 2147483647 w 373"/>
              <a:gd name="T55" fmla="*/ 2147483647 h 370"/>
              <a:gd name="T56" fmla="*/ 2147483647 w 373"/>
              <a:gd name="T57" fmla="*/ 2147483647 h 370"/>
              <a:gd name="T58" fmla="*/ 2147483647 w 373"/>
              <a:gd name="T59" fmla="*/ 2147483647 h 370"/>
              <a:gd name="T60" fmla="*/ 2147483647 w 373"/>
              <a:gd name="T61" fmla="*/ 2147483647 h 370"/>
              <a:gd name="T62" fmla="*/ 2147483647 w 373"/>
              <a:gd name="T63" fmla="*/ 2147483647 h 370"/>
              <a:gd name="T64" fmla="*/ 2147483647 w 373"/>
              <a:gd name="T65" fmla="*/ 2147483647 h 370"/>
              <a:gd name="T66" fmla="*/ 2147483647 w 373"/>
              <a:gd name="T67" fmla="*/ 2147483647 h 370"/>
              <a:gd name="T68" fmla="*/ 2147483647 w 373"/>
              <a:gd name="T69" fmla="*/ 2147483647 h 370"/>
              <a:gd name="T70" fmla="*/ 2147483647 w 373"/>
              <a:gd name="T71" fmla="*/ 2147483647 h 370"/>
              <a:gd name="T72" fmla="*/ 2147483647 w 373"/>
              <a:gd name="T73" fmla="*/ 2147483647 h 370"/>
              <a:gd name="T74" fmla="*/ 2147483647 w 373"/>
              <a:gd name="T75" fmla="*/ 2147483647 h 370"/>
              <a:gd name="T76" fmla="*/ 2147483647 w 373"/>
              <a:gd name="T77" fmla="*/ 2147483647 h 370"/>
              <a:gd name="T78" fmla="*/ 2147483647 w 373"/>
              <a:gd name="T79" fmla="*/ 2147483647 h 370"/>
              <a:gd name="T80" fmla="*/ 2147483647 w 373"/>
              <a:gd name="T81" fmla="*/ 2147483647 h 370"/>
              <a:gd name="T82" fmla="*/ 2147483647 w 373"/>
              <a:gd name="T83" fmla="*/ 2147483647 h 370"/>
              <a:gd name="T84" fmla="*/ 2147483647 w 373"/>
              <a:gd name="T85" fmla="*/ 2147483647 h 370"/>
              <a:gd name="T86" fmla="*/ 2147483647 w 373"/>
              <a:gd name="T87" fmla="*/ 2147483647 h 370"/>
              <a:gd name="T88" fmla="*/ 0 w 373"/>
              <a:gd name="T89" fmla="*/ 2147483647 h 370"/>
              <a:gd name="T90" fmla="*/ 2147483647 w 373"/>
              <a:gd name="T91" fmla="*/ 2147483647 h 370"/>
              <a:gd name="T92" fmla="*/ 2147483647 w 373"/>
              <a:gd name="T93" fmla="*/ 2147483647 h 370"/>
              <a:gd name="T94" fmla="*/ 2147483647 w 373"/>
              <a:gd name="T95" fmla="*/ 2147483647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4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413115" y="3577853"/>
            <a:ext cx="384175" cy="436562"/>
          </a:xfrm>
          <a:custGeom>
            <a:avLst/>
            <a:gdLst>
              <a:gd name="T0" fmla="*/ 2147483647 w 877"/>
              <a:gd name="T1" fmla="*/ 2147483647 h 826"/>
              <a:gd name="T2" fmla="*/ 2147483647 w 877"/>
              <a:gd name="T3" fmla="*/ 2147483647 h 826"/>
              <a:gd name="T4" fmla="*/ 2147483647 w 877"/>
              <a:gd name="T5" fmla="*/ 2147483647 h 826"/>
              <a:gd name="T6" fmla="*/ 2147483647 w 877"/>
              <a:gd name="T7" fmla="*/ 2147483647 h 826"/>
              <a:gd name="T8" fmla="*/ 2147483647 w 877"/>
              <a:gd name="T9" fmla="*/ 2147483647 h 826"/>
              <a:gd name="T10" fmla="*/ 2147483647 w 877"/>
              <a:gd name="T11" fmla="*/ 2147483647 h 826"/>
              <a:gd name="T12" fmla="*/ 2147483647 w 877"/>
              <a:gd name="T13" fmla="*/ 2147483647 h 826"/>
              <a:gd name="T14" fmla="*/ 2147483647 w 877"/>
              <a:gd name="T15" fmla="*/ 2147483647 h 826"/>
              <a:gd name="T16" fmla="*/ 2147483647 w 877"/>
              <a:gd name="T17" fmla="*/ 2147483647 h 826"/>
              <a:gd name="T18" fmla="*/ 2147483647 w 877"/>
              <a:gd name="T19" fmla="*/ 2147483647 h 826"/>
              <a:gd name="T20" fmla="*/ 2147483647 w 877"/>
              <a:gd name="T21" fmla="*/ 2147483647 h 826"/>
              <a:gd name="T22" fmla="*/ 2147483647 w 877"/>
              <a:gd name="T23" fmla="*/ 2147483647 h 826"/>
              <a:gd name="T24" fmla="*/ 2147483647 w 877"/>
              <a:gd name="T25" fmla="*/ 2147483647 h 826"/>
              <a:gd name="T26" fmla="*/ 2147483647 w 877"/>
              <a:gd name="T27" fmla="*/ 2147483647 h 826"/>
              <a:gd name="T28" fmla="*/ 2147483647 w 877"/>
              <a:gd name="T29" fmla="*/ 2147483647 h 826"/>
              <a:gd name="T30" fmla="*/ 2147483647 w 877"/>
              <a:gd name="T31" fmla="*/ 2147483647 h 826"/>
              <a:gd name="T32" fmla="*/ 2147483647 w 877"/>
              <a:gd name="T33" fmla="*/ 2147483647 h 826"/>
              <a:gd name="T34" fmla="*/ 2147483647 w 877"/>
              <a:gd name="T35" fmla="*/ 2147483647 h 826"/>
              <a:gd name="T36" fmla="*/ 2147483647 w 877"/>
              <a:gd name="T37" fmla="*/ 2147483647 h 826"/>
              <a:gd name="T38" fmla="*/ 2147483647 w 877"/>
              <a:gd name="T39" fmla="*/ 2147483647 h 826"/>
              <a:gd name="T40" fmla="*/ 2147483647 w 877"/>
              <a:gd name="T41" fmla="*/ 2147483647 h 826"/>
              <a:gd name="T42" fmla="*/ 2147483647 w 877"/>
              <a:gd name="T43" fmla="*/ 2147483647 h 826"/>
              <a:gd name="T44" fmla="*/ 2147483647 w 877"/>
              <a:gd name="T45" fmla="*/ 2147483647 h 826"/>
              <a:gd name="T46" fmla="*/ 2147483647 w 877"/>
              <a:gd name="T47" fmla="*/ 0 h 826"/>
              <a:gd name="T48" fmla="*/ 2147483647 w 877"/>
              <a:gd name="T49" fmla="*/ 2147483647 h 826"/>
              <a:gd name="T50" fmla="*/ 2147483647 w 877"/>
              <a:gd name="T51" fmla="*/ 2147483647 h 826"/>
              <a:gd name="T52" fmla="*/ 2147483647 w 877"/>
              <a:gd name="T53" fmla="*/ 2147483647 h 826"/>
              <a:gd name="T54" fmla="*/ 2147483647 w 877"/>
              <a:gd name="T55" fmla="*/ 2147483647 h 826"/>
              <a:gd name="T56" fmla="*/ 2147483647 w 877"/>
              <a:gd name="T57" fmla="*/ 2147483647 h 826"/>
              <a:gd name="T58" fmla="*/ 2147483647 w 877"/>
              <a:gd name="T59" fmla="*/ 2147483647 h 826"/>
              <a:gd name="T60" fmla="*/ 2147483647 w 877"/>
              <a:gd name="T61" fmla="*/ 2147483647 h 826"/>
              <a:gd name="T62" fmla="*/ 2147483647 w 877"/>
              <a:gd name="T63" fmla="*/ 2147483647 h 826"/>
              <a:gd name="T64" fmla="*/ 2147483647 w 877"/>
              <a:gd name="T65" fmla="*/ 2147483647 h 826"/>
              <a:gd name="T66" fmla="*/ 2147483647 w 877"/>
              <a:gd name="T67" fmla="*/ 2147483647 h 826"/>
              <a:gd name="T68" fmla="*/ 2147483647 w 877"/>
              <a:gd name="T69" fmla="*/ 2147483647 h 826"/>
              <a:gd name="T70" fmla="*/ 2147483647 w 877"/>
              <a:gd name="T71" fmla="*/ 2147483647 h 826"/>
              <a:gd name="T72" fmla="*/ 2147483647 w 877"/>
              <a:gd name="T73" fmla="*/ 2147483647 h 826"/>
              <a:gd name="T74" fmla="*/ 2147483647 w 877"/>
              <a:gd name="T75" fmla="*/ 2147483647 h 826"/>
              <a:gd name="T76" fmla="*/ 2147483647 w 877"/>
              <a:gd name="T77" fmla="*/ 2147483647 h 826"/>
              <a:gd name="T78" fmla="*/ 2147483647 w 877"/>
              <a:gd name="T79" fmla="*/ 2147483647 h 826"/>
              <a:gd name="T80" fmla="*/ 2147483647 w 877"/>
              <a:gd name="T81" fmla="*/ 2147483647 h 826"/>
              <a:gd name="T82" fmla="*/ 2147483647 w 877"/>
              <a:gd name="T83" fmla="*/ 2147483647 h 826"/>
              <a:gd name="T84" fmla="*/ 2147483647 w 877"/>
              <a:gd name="T85" fmla="*/ 2147483647 h 826"/>
              <a:gd name="T86" fmla="*/ 2147483647 w 877"/>
              <a:gd name="T87" fmla="*/ 2147483647 h 826"/>
              <a:gd name="T88" fmla="*/ 2147483647 w 877"/>
              <a:gd name="T89" fmla="*/ 2147483647 h 826"/>
              <a:gd name="T90" fmla="*/ 2147483647 w 877"/>
              <a:gd name="T91" fmla="*/ 2147483647 h 826"/>
              <a:gd name="T92" fmla="*/ 2147483647 w 877"/>
              <a:gd name="T93" fmla="*/ 2147483647 h 826"/>
              <a:gd name="T94" fmla="*/ 2147483647 w 877"/>
              <a:gd name="T95" fmla="*/ 2147483647 h 826"/>
              <a:gd name="T96" fmla="*/ 2147483647 w 877"/>
              <a:gd name="T97" fmla="*/ 2147483647 h 826"/>
              <a:gd name="T98" fmla="*/ 2147483647 w 877"/>
              <a:gd name="T99" fmla="*/ 2147483647 h 826"/>
              <a:gd name="T100" fmla="*/ 2147483647 w 877"/>
              <a:gd name="T101" fmla="*/ 2147483647 h 826"/>
              <a:gd name="T102" fmla="*/ 2147483647 w 877"/>
              <a:gd name="T103" fmla="*/ 2147483647 h 826"/>
              <a:gd name="T104" fmla="*/ 2147483647 w 877"/>
              <a:gd name="T105" fmla="*/ 2147483647 h 826"/>
              <a:gd name="T106" fmla="*/ 2147483647 w 877"/>
              <a:gd name="T107" fmla="*/ 2147483647 h 826"/>
              <a:gd name="T108" fmla="*/ 2147483647 w 877"/>
              <a:gd name="T109" fmla="*/ 2147483647 h 826"/>
              <a:gd name="T110" fmla="*/ 2147483647 w 877"/>
              <a:gd name="T111" fmla="*/ 2147483647 h 826"/>
              <a:gd name="T112" fmla="*/ 2147483647 w 877"/>
              <a:gd name="T113" fmla="*/ 2147483647 h 826"/>
              <a:gd name="T114" fmla="*/ 2147483647 w 877"/>
              <a:gd name="T115" fmla="*/ 2147483647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5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365490" y="3442915"/>
            <a:ext cx="93663" cy="236538"/>
          </a:xfrm>
          <a:custGeom>
            <a:avLst/>
            <a:gdLst>
              <a:gd name="T0" fmla="*/ 2147483647 w 206"/>
              <a:gd name="T1" fmla="*/ 2147483647 h 455"/>
              <a:gd name="T2" fmla="*/ 2147483647 w 206"/>
              <a:gd name="T3" fmla="*/ 2147483647 h 455"/>
              <a:gd name="T4" fmla="*/ 2147483647 w 206"/>
              <a:gd name="T5" fmla="*/ 2147483647 h 455"/>
              <a:gd name="T6" fmla="*/ 2147483647 w 206"/>
              <a:gd name="T7" fmla="*/ 2147483647 h 455"/>
              <a:gd name="T8" fmla="*/ 2147483647 w 206"/>
              <a:gd name="T9" fmla="*/ 2147483647 h 455"/>
              <a:gd name="T10" fmla="*/ 2147483647 w 206"/>
              <a:gd name="T11" fmla="*/ 2147483647 h 455"/>
              <a:gd name="T12" fmla="*/ 2147483647 w 206"/>
              <a:gd name="T13" fmla="*/ 2147483647 h 455"/>
              <a:gd name="T14" fmla="*/ 2147483647 w 206"/>
              <a:gd name="T15" fmla="*/ 2147483647 h 455"/>
              <a:gd name="T16" fmla="*/ 2147483647 w 206"/>
              <a:gd name="T17" fmla="*/ 2147483647 h 455"/>
              <a:gd name="T18" fmla="*/ 2147483647 w 206"/>
              <a:gd name="T19" fmla="*/ 2147483647 h 455"/>
              <a:gd name="T20" fmla="*/ 2147483647 w 206"/>
              <a:gd name="T21" fmla="*/ 2147483647 h 455"/>
              <a:gd name="T22" fmla="*/ 2147483647 w 206"/>
              <a:gd name="T23" fmla="*/ 2147483647 h 455"/>
              <a:gd name="T24" fmla="*/ 2147483647 w 206"/>
              <a:gd name="T25" fmla="*/ 2147483647 h 455"/>
              <a:gd name="T26" fmla="*/ 2147483647 w 206"/>
              <a:gd name="T27" fmla="*/ 2147483647 h 455"/>
              <a:gd name="T28" fmla="*/ 2147483647 w 206"/>
              <a:gd name="T29" fmla="*/ 2147483647 h 455"/>
              <a:gd name="T30" fmla="*/ 2147483647 w 206"/>
              <a:gd name="T31" fmla="*/ 2147483647 h 455"/>
              <a:gd name="T32" fmla="*/ 2147483647 w 206"/>
              <a:gd name="T33" fmla="*/ 2147483647 h 455"/>
              <a:gd name="T34" fmla="*/ 2147483647 w 206"/>
              <a:gd name="T35" fmla="*/ 2147483647 h 455"/>
              <a:gd name="T36" fmla="*/ 2147483647 w 206"/>
              <a:gd name="T37" fmla="*/ 2147483647 h 455"/>
              <a:gd name="T38" fmla="*/ 2147483647 w 206"/>
              <a:gd name="T39" fmla="*/ 2147483647 h 455"/>
              <a:gd name="T40" fmla="*/ 2147483647 w 206"/>
              <a:gd name="T41" fmla="*/ 2147483647 h 455"/>
              <a:gd name="T42" fmla="*/ 2147483647 w 206"/>
              <a:gd name="T43" fmla="*/ 2147483647 h 455"/>
              <a:gd name="T44" fmla="*/ 2147483647 w 206"/>
              <a:gd name="T45" fmla="*/ 2147483647 h 455"/>
              <a:gd name="T46" fmla="*/ 2147483647 w 206"/>
              <a:gd name="T47" fmla="*/ 2147483647 h 455"/>
              <a:gd name="T48" fmla="*/ 2147483647 w 206"/>
              <a:gd name="T49" fmla="*/ 2147483647 h 455"/>
              <a:gd name="T50" fmla="*/ 2147483647 w 206"/>
              <a:gd name="T51" fmla="*/ 2147483647 h 455"/>
              <a:gd name="T52" fmla="*/ 2147483647 w 206"/>
              <a:gd name="T53" fmla="*/ 2147483647 h 455"/>
              <a:gd name="T54" fmla="*/ 2147483647 w 206"/>
              <a:gd name="T55" fmla="*/ 2147483647 h 455"/>
              <a:gd name="T56" fmla="*/ 2147483647 w 206"/>
              <a:gd name="T57" fmla="*/ 2147483647 h 455"/>
              <a:gd name="T58" fmla="*/ 2147483647 w 206"/>
              <a:gd name="T59" fmla="*/ 2147483647 h 455"/>
              <a:gd name="T60" fmla="*/ 2147483647 w 206"/>
              <a:gd name="T61" fmla="*/ 2147483647 h 455"/>
              <a:gd name="T62" fmla="*/ 2147483647 w 206"/>
              <a:gd name="T63" fmla="*/ 2147483647 h 455"/>
              <a:gd name="T64" fmla="*/ 2147483647 w 206"/>
              <a:gd name="T65" fmla="*/ 2147483647 h 455"/>
              <a:gd name="T66" fmla="*/ 2147483647 w 206"/>
              <a:gd name="T67" fmla="*/ 2147483647 h 455"/>
              <a:gd name="T68" fmla="*/ 2147483647 w 206"/>
              <a:gd name="T69" fmla="*/ 2147483647 h 455"/>
              <a:gd name="T70" fmla="*/ 2147483647 w 206"/>
              <a:gd name="T71" fmla="*/ 2147483647 h 455"/>
              <a:gd name="T72" fmla="*/ 2147483647 w 206"/>
              <a:gd name="T73" fmla="*/ 2147483647 h 455"/>
              <a:gd name="T74" fmla="*/ 2147483647 w 206"/>
              <a:gd name="T75" fmla="*/ 0 h 455"/>
              <a:gd name="T76" fmla="*/ 2147483647 w 206"/>
              <a:gd name="T77" fmla="*/ 2147483647 h 455"/>
              <a:gd name="T78" fmla="*/ 2147483647 w 206"/>
              <a:gd name="T79" fmla="*/ 2147483647 h 455"/>
              <a:gd name="T80" fmla="*/ 2147483647 w 206"/>
              <a:gd name="T81" fmla="*/ 2147483647 h 455"/>
              <a:gd name="T82" fmla="*/ 2147483647 w 206"/>
              <a:gd name="T83" fmla="*/ 2147483647 h 455"/>
              <a:gd name="T84" fmla="*/ 2147483647 w 206"/>
              <a:gd name="T85" fmla="*/ 2147483647 h 455"/>
              <a:gd name="T86" fmla="*/ 2147483647 w 206"/>
              <a:gd name="T87" fmla="*/ 2147483647 h 455"/>
              <a:gd name="T88" fmla="*/ 2147483647 w 206"/>
              <a:gd name="T89" fmla="*/ 2147483647 h 455"/>
              <a:gd name="T90" fmla="*/ 2147483647 w 206"/>
              <a:gd name="T91" fmla="*/ 2147483647 h 455"/>
              <a:gd name="T92" fmla="*/ 0 w 206"/>
              <a:gd name="T93" fmla="*/ 2147483647 h 455"/>
              <a:gd name="T94" fmla="*/ 2147483647 w 206"/>
              <a:gd name="T95" fmla="*/ 2147483647 h 455"/>
              <a:gd name="T96" fmla="*/ 2147483647 w 206"/>
              <a:gd name="T97" fmla="*/ 2147483647 h 455"/>
              <a:gd name="T98" fmla="*/ 2147483647 w 206"/>
              <a:gd name="T99" fmla="*/ 2147483647 h 455"/>
              <a:gd name="T100" fmla="*/ 2147483647 w 206"/>
              <a:gd name="T101" fmla="*/ 2147483647 h 455"/>
              <a:gd name="T102" fmla="*/ 2147483647 w 206"/>
              <a:gd name="T103" fmla="*/ 2147483647 h 455"/>
              <a:gd name="T104" fmla="*/ 2147483647 w 206"/>
              <a:gd name="T105" fmla="*/ 2147483647 h 455"/>
              <a:gd name="T106" fmla="*/ 2147483647 w 206"/>
              <a:gd name="T107" fmla="*/ 2147483647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6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747953" y="3754065"/>
            <a:ext cx="231775" cy="215900"/>
          </a:xfrm>
          <a:custGeom>
            <a:avLst/>
            <a:gdLst>
              <a:gd name="T0" fmla="*/ 2147483647 w 518"/>
              <a:gd name="T1" fmla="*/ 2147483647 h 406"/>
              <a:gd name="T2" fmla="*/ 2147483647 w 518"/>
              <a:gd name="T3" fmla="*/ 2147483647 h 406"/>
              <a:gd name="T4" fmla="*/ 2147483647 w 518"/>
              <a:gd name="T5" fmla="*/ 2147483647 h 406"/>
              <a:gd name="T6" fmla="*/ 2147483647 w 518"/>
              <a:gd name="T7" fmla="*/ 2147483647 h 406"/>
              <a:gd name="T8" fmla="*/ 2147483647 w 518"/>
              <a:gd name="T9" fmla="*/ 2147483647 h 406"/>
              <a:gd name="T10" fmla="*/ 2147483647 w 518"/>
              <a:gd name="T11" fmla="*/ 2147483647 h 406"/>
              <a:gd name="T12" fmla="*/ 2147483647 w 518"/>
              <a:gd name="T13" fmla="*/ 2147483647 h 406"/>
              <a:gd name="T14" fmla="*/ 2147483647 w 518"/>
              <a:gd name="T15" fmla="*/ 2147483647 h 406"/>
              <a:gd name="T16" fmla="*/ 2147483647 w 518"/>
              <a:gd name="T17" fmla="*/ 2147483647 h 406"/>
              <a:gd name="T18" fmla="*/ 2147483647 w 518"/>
              <a:gd name="T19" fmla="*/ 2147483647 h 406"/>
              <a:gd name="T20" fmla="*/ 2147483647 w 518"/>
              <a:gd name="T21" fmla="*/ 2147483647 h 406"/>
              <a:gd name="T22" fmla="*/ 2147483647 w 518"/>
              <a:gd name="T23" fmla="*/ 2147483647 h 406"/>
              <a:gd name="T24" fmla="*/ 2147483647 w 518"/>
              <a:gd name="T25" fmla="*/ 2147483647 h 406"/>
              <a:gd name="T26" fmla="*/ 2147483647 w 518"/>
              <a:gd name="T27" fmla="*/ 2147483647 h 406"/>
              <a:gd name="T28" fmla="*/ 2147483647 w 518"/>
              <a:gd name="T29" fmla="*/ 2147483647 h 406"/>
              <a:gd name="T30" fmla="*/ 2147483647 w 518"/>
              <a:gd name="T31" fmla="*/ 2147483647 h 406"/>
              <a:gd name="T32" fmla="*/ 2147483647 w 518"/>
              <a:gd name="T33" fmla="*/ 2147483647 h 406"/>
              <a:gd name="T34" fmla="*/ 2147483647 w 518"/>
              <a:gd name="T35" fmla="*/ 2147483647 h 406"/>
              <a:gd name="T36" fmla="*/ 2147483647 w 518"/>
              <a:gd name="T37" fmla="*/ 2147483647 h 406"/>
              <a:gd name="T38" fmla="*/ 2147483647 w 518"/>
              <a:gd name="T39" fmla="*/ 2147483647 h 406"/>
              <a:gd name="T40" fmla="*/ 2147483647 w 518"/>
              <a:gd name="T41" fmla="*/ 2147483647 h 406"/>
              <a:gd name="T42" fmla="*/ 2147483647 w 518"/>
              <a:gd name="T43" fmla="*/ 2147483647 h 406"/>
              <a:gd name="T44" fmla="*/ 2147483647 w 518"/>
              <a:gd name="T45" fmla="*/ 2147483647 h 406"/>
              <a:gd name="T46" fmla="*/ 2147483647 w 518"/>
              <a:gd name="T47" fmla="*/ 2147483647 h 406"/>
              <a:gd name="T48" fmla="*/ 2147483647 w 518"/>
              <a:gd name="T49" fmla="*/ 2147483647 h 406"/>
              <a:gd name="T50" fmla="*/ 2147483647 w 518"/>
              <a:gd name="T51" fmla="*/ 2147483647 h 406"/>
              <a:gd name="T52" fmla="*/ 2147483647 w 518"/>
              <a:gd name="T53" fmla="*/ 2147483647 h 406"/>
              <a:gd name="T54" fmla="*/ 2147483647 w 518"/>
              <a:gd name="T55" fmla="*/ 2147483647 h 406"/>
              <a:gd name="T56" fmla="*/ 2147483647 w 518"/>
              <a:gd name="T57" fmla="*/ 2147483647 h 406"/>
              <a:gd name="T58" fmla="*/ 2147483647 w 518"/>
              <a:gd name="T59" fmla="*/ 2147483647 h 406"/>
              <a:gd name="T60" fmla="*/ 2147483647 w 518"/>
              <a:gd name="T61" fmla="*/ 2147483647 h 406"/>
              <a:gd name="T62" fmla="*/ 2147483647 w 518"/>
              <a:gd name="T63" fmla="*/ 2147483647 h 406"/>
              <a:gd name="T64" fmla="*/ 2147483647 w 518"/>
              <a:gd name="T65" fmla="*/ 2147483647 h 406"/>
              <a:gd name="T66" fmla="*/ 2147483647 w 518"/>
              <a:gd name="T67" fmla="*/ 2147483647 h 406"/>
              <a:gd name="T68" fmla="*/ 2147483647 w 518"/>
              <a:gd name="T69" fmla="*/ 2147483647 h 406"/>
              <a:gd name="T70" fmla="*/ 2147483647 w 518"/>
              <a:gd name="T71" fmla="*/ 2147483647 h 406"/>
              <a:gd name="T72" fmla="*/ 2147483647 w 518"/>
              <a:gd name="T73" fmla="*/ 2147483647 h 406"/>
              <a:gd name="T74" fmla="*/ 2147483647 w 518"/>
              <a:gd name="T75" fmla="*/ 2147483647 h 406"/>
              <a:gd name="T76" fmla="*/ 2147483647 w 518"/>
              <a:gd name="T77" fmla="*/ 0 h 406"/>
              <a:gd name="T78" fmla="*/ 2147483647 w 518"/>
              <a:gd name="T79" fmla="*/ 2147483647 h 406"/>
              <a:gd name="T80" fmla="*/ 2147483647 w 518"/>
              <a:gd name="T81" fmla="*/ 2147483647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7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716203" y="2561853"/>
            <a:ext cx="190500" cy="93662"/>
          </a:xfrm>
          <a:custGeom>
            <a:avLst/>
            <a:gdLst>
              <a:gd name="T0" fmla="*/ 2147483647 w 446"/>
              <a:gd name="T1" fmla="*/ 2147483647 h 178"/>
              <a:gd name="T2" fmla="*/ 2147483647 w 446"/>
              <a:gd name="T3" fmla="*/ 2147483647 h 178"/>
              <a:gd name="T4" fmla="*/ 2147483647 w 446"/>
              <a:gd name="T5" fmla="*/ 2147483647 h 178"/>
              <a:gd name="T6" fmla="*/ 2147483647 w 446"/>
              <a:gd name="T7" fmla="*/ 2147483647 h 178"/>
              <a:gd name="T8" fmla="*/ 2147483647 w 446"/>
              <a:gd name="T9" fmla="*/ 2147483647 h 178"/>
              <a:gd name="T10" fmla="*/ 2147483647 w 446"/>
              <a:gd name="T11" fmla="*/ 0 h 178"/>
              <a:gd name="T12" fmla="*/ 2147483647 w 446"/>
              <a:gd name="T13" fmla="*/ 2147483647 h 178"/>
              <a:gd name="T14" fmla="*/ 2147483647 w 446"/>
              <a:gd name="T15" fmla="*/ 2147483647 h 178"/>
              <a:gd name="T16" fmla="*/ 2147483647 w 446"/>
              <a:gd name="T17" fmla="*/ 2147483647 h 178"/>
              <a:gd name="T18" fmla="*/ 2147483647 w 446"/>
              <a:gd name="T19" fmla="*/ 2147483647 h 178"/>
              <a:gd name="T20" fmla="*/ 2147483647 w 446"/>
              <a:gd name="T21" fmla="*/ 2147483647 h 178"/>
              <a:gd name="T22" fmla="*/ 2147483647 w 446"/>
              <a:gd name="T23" fmla="*/ 2147483647 h 178"/>
              <a:gd name="T24" fmla="*/ 2147483647 w 446"/>
              <a:gd name="T25" fmla="*/ 2147483647 h 178"/>
              <a:gd name="T26" fmla="*/ 2147483647 w 446"/>
              <a:gd name="T27" fmla="*/ 2147483647 h 178"/>
              <a:gd name="T28" fmla="*/ 2147483647 w 446"/>
              <a:gd name="T29" fmla="*/ 2147483647 h 178"/>
              <a:gd name="T30" fmla="*/ 2147483647 w 446"/>
              <a:gd name="T31" fmla="*/ 2147483647 h 178"/>
              <a:gd name="T32" fmla="*/ 2147483647 w 446"/>
              <a:gd name="T33" fmla="*/ 2147483647 h 178"/>
              <a:gd name="T34" fmla="*/ 2147483647 w 446"/>
              <a:gd name="T35" fmla="*/ 2147483647 h 178"/>
              <a:gd name="T36" fmla="*/ 2147483647 w 446"/>
              <a:gd name="T37" fmla="*/ 2147483647 h 178"/>
              <a:gd name="T38" fmla="*/ 2147483647 w 446"/>
              <a:gd name="T39" fmla="*/ 2147483647 h 178"/>
              <a:gd name="T40" fmla="*/ 2147483647 w 446"/>
              <a:gd name="T41" fmla="*/ 2147483647 h 178"/>
              <a:gd name="T42" fmla="*/ 2147483647 w 446"/>
              <a:gd name="T43" fmla="*/ 2147483647 h 178"/>
              <a:gd name="T44" fmla="*/ 2147483647 w 446"/>
              <a:gd name="T45" fmla="*/ 2147483647 h 178"/>
              <a:gd name="T46" fmla="*/ 2147483647 w 446"/>
              <a:gd name="T47" fmla="*/ 2147483647 h 178"/>
              <a:gd name="T48" fmla="*/ 2147483647 w 446"/>
              <a:gd name="T49" fmla="*/ 2147483647 h 178"/>
              <a:gd name="T50" fmla="*/ 2147483647 w 446"/>
              <a:gd name="T51" fmla="*/ 2147483647 h 178"/>
              <a:gd name="T52" fmla="*/ 2147483647 w 446"/>
              <a:gd name="T53" fmla="*/ 2147483647 h 178"/>
              <a:gd name="T54" fmla="*/ 2147483647 w 446"/>
              <a:gd name="T55" fmla="*/ 2147483647 h 178"/>
              <a:gd name="T56" fmla="*/ 2147483647 w 446"/>
              <a:gd name="T57" fmla="*/ 2147483647 h 178"/>
              <a:gd name="T58" fmla="*/ 2147483647 w 446"/>
              <a:gd name="T59" fmla="*/ 2147483647 h 178"/>
              <a:gd name="T60" fmla="*/ 2147483647 w 446"/>
              <a:gd name="T61" fmla="*/ 2147483647 h 178"/>
              <a:gd name="T62" fmla="*/ 2147483647 w 446"/>
              <a:gd name="T63" fmla="*/ 2147483647 h 178"/>
              <a:gd name="T64" fmla="*/ 2147483647 w 446"/>
              <a:gd name="T65" fmla="*/ 2147483647 h 178"/>
              <a:gd name="T66" fmla="*/ 2147483647 w 446"/>
              <a:gd name="T67" fmla="*/ 2147483647 h 178"/>
              <a:gd name="T68" fmla="*/ 2147483647 w 446"/>
              <a:gd name="T69" fmla="*/ 2147483647 h 178"/>
              <a:gd name="T70" fmla="*/ 2147483647 w 446"/>
              <a:gd name="T71" fmla="*/ 2147483647 h 178"/>
              <a:gd name="T72" fmla="*/ 2147483647 w 446"/>
              <a:gd name="T73" fmla="*/ 2147483647 h 178"/>
              <a:gd name="T74" fmla="*/ 2147483647 w 446"/>
              <a:gd name="T75" fmla="*/ 2147483647 h 178"/>
              <a:gd name="T76" fmla="*/ 2147483647 w 446"/>
              <a:gd name="T77" fmla="*/ 2147483647 h 178"/>
              <a:gd name="T78" fmla="*/ 2147483647 w 446"/>
              <a:gd name="T79" fmla="*/ 2147483647 h 178"/>
              <a:gd name="T80" fmla="*/ 0 w 446"/>
              <a:gd name="T81" fmla="*/ 2147483647 h 178"/>
              <a:gd name="T82" fmla="*/ 2147483647 w 446"/>
              <a:gd name="T83" fmla="*/ 2147483647 h 178"/>
              <a:gd name="T84" fmla="*/ 2147483647 w 446"/>
              <a:gd name="T85" fmla="*/ 2147483647 h 178"/>
              <a:gd name="T86" fmla="*/ 2147483647 w 446"/>
              <a:gd name="T87" fmla="*/ 2147483647 h 178"/>
              <a:gd name="T88" fmla="*/ 2147483647 w 446"/>
              <a:gd name="T89" fmla="*/ 2147483647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8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508365" y="2825378"/>
            <a:ext cx="14288" cy="57150"/>
          </a:xfrm>
          <a:custGeom>
            <a:avLst/>
            <a:gdLst>
              <a:gd name="T0" fmla="*/ 0 w 28"/>
              <a:gd name="T1" fmla="*/ 2147483647 h 73"/>
              <a:gd name="T2" fmla="*/ 2147483647 w 28"/>
              <a:gd name="T3" fmla="*/ 2147483647 h 73"/>
              <a:gd name="T4" fmla="*/ 2147483647 w 28"/>
              <a:gd name="T5" fmla="*/ 2147483647 h 73"/>
              <a:gd name="T6" fmla="*/ 2147483647 w 28"/>
              <a:gd name="T7" fmla="*/ 2147483647 h 73"/>
              <a:gd name="T8" fmla="*/ 2147483647 w 28"/>
              <a:gd name="T9" fmla="*/ 2147483647 h 73"/>
              <a:gd name="T10" fmla="*/ 2147483647 w 28"/>
              <a:gd name="T11" fmla="*/ 2147483647 h 73"/>
              <a:gd name="T12" fmla="*/ 0 w 28"/>
              <a:gd name="T13" fmla="*/ 0 h 73"/>
              <a:gd name="T14" fmla="*/ 2147483647 w 28"/>
              <a:gd name="T15" fmla="*/ 0 h 73"/>
              <a:gd name="T16" fmla="*/ 2147483647 w 28"/>
              <a:gd name="T17" fmla="*/ 2147483647 h 73"/>
              <a:gd name="T18" fmla="*/ 2147483647 w 28"/>
              <a:gd name="T19" fmla="*/ 2147483647 h 73"/>
              <a:gd name="T20" fmla="*/ 2147483647 w 28"/>
              <a:gd name="T21" fmla="*/ 2147483647 h 73"/>
              <a:gd name="T22" fmla="*/ 2147483647 w 28"/>
              <a:gd name="T23" fmla="*/ 2147483647 h 73"/>
              <a:gd name="T24" fmla="*/ 0 w 28"/>
              <a:gd name="T25" fmla="*/ 2147483647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19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395653" y="2488828"/>
            <a:ext cx="234950" cy="395287"/>
          </a:xfrm>
          <a:custGeom>
            <a:avLst/>
            <a:gdLst>
              <a:gd name="T0" fmla="*/ 2147483647 w 531"/>
              <a:gd name="T1" fmla="*/ 2147483647 h 757"/>
              <a:gd name="T2" fmla="*/ 2147483647 w 531"/>
              <a:gd name="T3" fmla="*/ 2147483647 h 757"/>
              <a:gd name="T4" fmla="*/ 2147483647 w 531"/>
              <a:gd name="T5" fmla="*/ 2147483647 h 757"/>
              <a:gd name="T6" fmla="*/ 2147483647 w 531"/>
              <a:gd name="T7" fmla="*/ 2147483647 h 757"/>
              <a:gd name="T8" fmla="*/ 2147483647 w 531"/>
              <a:gd name="T9" fmla="*/ 2147483647 h 757"/>
              <a:gd name="T10" fmla="*/ 2147483647 w 531"/>
              <a:gd name="T11" fmla="*/ 2147483647 h 757"/>
              <a:gd name="T12" fmla="*/ 2147483647 w 531"/>
              <a:gd name="T13" fmla="*/ 2147483647 h 757"/>
              <a:gd name="T14" fmla="*/ 2147483647 w 531"/>
              <a:gd name="T15" fmla="*/ 2147483647 h 757"/>
              <a:gd name="T16" fmla="*/ 2147483647 w 531"/>
              <a:gd name="T17" fmla="*/ 2147483647 h 757"/>
              <a:gd name="T18" fmla="*/ 2147483647 w 531"/>
              <a:gd name="T19" fmla="*/ 2147483647 h 757"/>
              <a:gd name="T20" fmla="*/ 2147483647 w 531"/>
              <a:gd name="T21" fmla="*/ 2147483647 h 757"/>
              <a:gd name="T22" fmla="*/ 2147483647 w 531"/>
              <a:gd name="T23" fmla="*/ 2147483647 h 757"/>
              <a:gd name="T24" fmla="*/ 2147483647 w 531"/>
              <a:gd name="T25" fmla="*/ 2147483647 h 757"/>
              <a:gd name="T26" fmla="*/ 2147483647 w 531"/>
              <a:gd name="T27" fmla="*/ 2147483647 h 757"/>
              <a:gd name="T28" fmla="*/ 2147483647 w 531"/>
              <a:gd name="T29" fmla="*/ 2147483647 h 757"/>
              <a:gd name="T30" fmla="*/ 2147483647 w 531"/>
              <a:gd name="T31" fmla="*/ 2147483647 h 757"/>
              <a:gd name="T32" fmla="*/ 2147483647 w 531"/>
              <a:gd name="T33" fmla="*/ 2147483647 h 757"/>
              <a:gd name="T34" fmla="*/ 2147483647 w 531"/>
              <a:gd name="T35" fmla="*/ 2147483647 h 757"/>
              <a:gd name="T36" fmla="*/ 2147483647 w 531"/>
              <a:gd name="T37" fmla="*/ 2147483647 h 757"/>
              <a:gd name="T38" fmla="*/ 2147483647 w 531"/>
              <a:gd name="T39" fmla="*/ 2147483647 h 757"/>
              <a:gd name="T40" fmla="*/ 2147483647 w 531"/>
              <a:gd name="T41" fmla="*/ 2147483647 h 757"/>
              <a:gd name="T42" fmla="*/ 2147483647 w 531"/>
              <a:gd name="T43" fmla="*/ 2147483647 h 757"/>
              <a:gd name="T44" fmla="*/ 2147483647 w 531"/>
              <a:gd name="T45" fmla="*/ 2147483647 h 757"/>
              <a:gd name="T46" fmla="*/ 2147483647 w 531"/>
              <a:gd name="T47" fmla="*/ 2147483647 h 757"/>
              <a:gd name="T48" fmla="*/ 2147483647 w 531"/>
              <a:gd name="T49" fmla="*/ 2147483647 h 757"/>
              <a:gd name="T50" fmla="*/ 2147483647 w 531"/>
              <a:gd name="T51" fmla="*/ 2147483647 h 757"/>
              <a:gd name="T52" fmla="*/ 2147483647 w 531"/>
              <a:gd name="T53" fmla="*/ 2147483647 h 757"/>
              <a:gd name="T54" fmla="*/ 2147483647 w 531"/>
              <a:gd name="T55" fmla="*/ 2147483647 h 757"/>
              <a:gd name="T56" fmla="*/ 2147483647 w 531"/>
              <a:gd name="T57" fmla="*/ 2147483647 h 757"/>
              <a:gd name="T58" fmla="*/ 2147483647 w 531"/>
              <a:gd name="T59" fmla="*/ 2147483647 h 757"/>
              <a:gd name="T60" fmla="*/ 2147483647 w 531"/>
              <a:gd name="T61" fmla="*/ 2147483647 h 757"/>
              <a:gd name="T62" fmla="*/ 2147483647 w 531"/>
              <a:gd name="T63" fmla="*/ 2147483647 h 757"/>
              <a:gd name="T64" fmla="*/ 2147483647 w 531"/>
              <a:gd name="T65" fmla="*/ 2147483647 h 757"/>
              <a:gd name="T66" fmla="*/ 2147483647 w 531"/>
              <a:gd name="T67" fmla="*/ 2147483647 h 757"/>
              <a:gd name="T68" fmla="*/ 2147483647 w 531"/>
              <a:gd name="T69" fmla="*/ 2147483647 h 757"/>
              <a:gd name="T70" fmla="*/ 2147483647 w 531"/>
              <a:gd name="T71" fmla="*/ 2147483647 h 757"/>
              <a:gd name="T72" fmla="*/ 2147483647 w 531"/>
              <a:gd name="T73" fmla="*/ 2147483647 h 757"/>
              <a:gd name="T74" fmla="*/ 2147483647 w 531"/>
              <a:gd name="T75" fmla="*/ 2147483647 h 757"/>
              <a:gd name="T76" fmla="*/ 2147483647 w 531"/>
              <a:gd name="T77" fmla="*/ 2147483647 h 757"/>
              <a:gd name="T78" fmla="*/ 2147483647 w 531"/>
              <a:gd name="T79" fmla="*/ 2147483647 h 757"/>
              <a:gd name="T80" fmla="*/ 2147483647 w 531"/>
              <a:gd name="T81" fmla="*/ 2147483647 h 757"/>
              <a:gd name="T82" fmla="*/ 2147483647 w 531"/>
              <a:gd name="T83" fmla="*/ 2147483647 h 757"/>
              <a:gd name="T84" fmla="*/ 2147483647 w 531"/>
              <a:gd name="T85" fmla="*/ 2147483647 h 757"/>
              <a:gd name="T86" fmla="*/ 2147483647 w 531"/>
              <a:gd name="T87" fmla="*/ 2147483647 h 757"/>
              <a:gd name="T88" fmla="*/ 2147483647 w 531"/>
              <a:gd name="T89" fmla="*/ 2147483647 h 757"/>
              <a:gd name="T90" fmla="*/ 2147483647 w 531"/>
              <a:gd name="T91" fmla="*/ 2147483647 h 757"/>
              <a:gd name="T92" fmla="*/ 2147483647 w 531"/>
              <a:gd name="T93" fmla="*/ 2147483647 h 757"/>
              <a:gd name="T94" fmla="*/ 2147483647 w 531"/>
              <a:gd name="T95" fmla="*/ 2147483647 h 757"/>
              <a:gd name="T96" fmla="*/ 2147483647 w 531"/>
              <a:gd name="T97" fmla="*/ 2147483647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20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533765" y="2803153"/>
            <a:ext cx="26988" cy="57150"/>
          </a:xfrm>
          <a:custGeom>
            <a:avLst/>
            <a:gdLst>
              <a:gd name="T0" fmla="*/ 0 w 60"/>
              <a:gd name="T1" fmla="*/ 2147483647 h 51"/>
              <a:gd name="T2" fmla="*/ 2147483647 w 60"/>
              <a:gd name="T3" fmla="*/ 2147483647 h 51"/>
              <a:gd name="T4" fmla="*/ 2147483647 w 60"/>
              <a:gd name="T5" fmla="*/ 2147483647 h 51"/>
              <a:gd name="T6" fmla="*/ 2147483647 w 60"/>
              <a:gd name="T7" fmla="*/ 2147483647 h 51"/>
              <a:gd name="T8" fmla="*/ 2147483647 w 60"/>
              <a:gd name="T9" fmla="*/ 2147483647 h 51"/>
              <a:gd name="T10" fmla="*/ 2147483647 w 60"/>
              <a:gd name="T11" fmla="*/ 2147483647 h 51"/>
              <a:gd name="T12" fmla="*/ 2147483647 w 60"/>
              <a:gd name="T13" fmla="*/ 0 h 51"/>
              <a:gd name="T14" fmla="*/ 2147483647 w 60"/>
              <a:gd name="T15" fmla="*/ 2147483647 h 51"/>
              <a:gd name="T16" fmla="*/ 2147483647 w 60"/>
              <a:gd name="T17" fmla="*/ 2147483647 h 51"/>
              <a:gd name="T18" fmla="*/ 2147483647 w 60"/>
              <a:gd name="T19" fmla="*/ 2147483647 h 51"/>
              <a:gd name="T20" fmla="*/ 2147483647 w 60"/>
              <a:gd name="T21" fmla="*/ 2147483647 h 51"/>
              <a:gd name="T22" fmla="*/ 2147483647 w 60"/>
              <a:gd name="T23" fmla="*/ 2147483647 h 51"/>
              <a:gd name="T24" fmla="*/ 2147483647 w 60"/>
              <a:gd name="T25" fmla="*/ 2147483647 h 51"/>
              <a:gd name="T26" fmla="*/ 2147483647 w 60"/>
              <a:gd name="T27" fmla="*/ 2147483647 h 51"/>
              <a:gd name="T28" fmla="*/ 2147483647 w 60"/>
              <a:gd name="T29" fmla="*/ 2147483647 h 51"/>
              <a:gd name="T30" fmla="*/ 2147483647 w 60"/>
              <a:gd name="T31" fmla="*/ 2147483647 h 51"/>
              <a:gd name="T32" fmla="*/ 2147483647 w 60"/>
              <a:gd name="T33" fmla="*/ 2147483647 h 51"/>
              <a:gd name="T34" fmla="*/ 2147483647 w 60"/>
              <a:gd name="T35" fmla="*/ 2147483647 h 51"/>
              <a:gd name="T36" fmla="*/ 2147483647 w 60"/>
              <a:gd name="T37" fmla="*/ 2147483647 h 51"/>
              <a:gd name="T38" fmla="*/ 2147483647 w 60"/>
              <a:gd name="T39" fmla="*/ 2147483647 h 51"/>
              <a:gd name="T40" fmla="*/ 2147483647 w 60"/>
              <a:gd name="T41" fmla="*/ 2147483647 h 51"/>
              <a:gd name="T42" fmla="*/ 2147483647 w 60"/>
              <a:gd name="T43" fmla="*/ 2147483647 h 51"/>
              <a:gd name="T44" fmla="*/ 0 w 60"/>
              <a:gd name="T45" fmla="*/ 2147483647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21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978140" y="2965078"/>
            <a:ext cx="28575" cy="57150"/>
          </a:xfrm>
          <a:custGeom>
            <a:avLst/>
            <a:gdLst>
              <a:gd name="T0" fmla="*/ 2147483647 w 66"/>
              <a:gd name="T1" fmla="*/ 2147483647 h 51"/>
              <a:gd name="T2" fmla="*/ 2147483647 w 66"/>
              <a:gd name="T3" fmla="*/ 2147483647 h 51"/>
              <a:gd name="T4" fmla="*/ 2147483647 w 66"/>
              <a:gd name="T5" fmla="*/ 2147483647 h 51"/>
              <a:gd name="T6" fmla="*/ 2147483647 w 66"/>
              <a:gd name="T7" fmla="*/ 2147483647 h 51"/>
              <a:gd name="T8" fmla="*/ 2147483647 w 66"/>
              <a:gd name="T9" fmla="*/ 2147483647 h 51"/>
              <a:gd name="T10" fmla="*/ 2147483647 w 66"/>
              <a:gd name="T11" fmla="*/ 2147483647 h 51"/>
              <a:gd name="T12" fmla="*/ 2147483647 w 66"/>
              <a:gd name="T13" fmla="*/ 2147483647 h 51"/>
              <a:gd name="T14" fmla="*/ 2147483647 w 66"/>
              <a:gd name="T15" fmla="*/ 2147483647 h 51"/>
              <a:gd name="T16" fmla="*/ 2147483647 w 66"/>
              <a:gd name="T17" fmla="*/ 2147483647 h 51"/>
              <a:gd name="T18" fmla="*/ 0 w 66"/>
              <a:gd name="T19" fmla="*/ 2147483647 h 51"/>
              <a:gd name="T20" fmla="*/ 0 w 66"/>
              <a:gd name="T21" fmla="*/ 2147483647 h 51"/>
              <a:gd name="T22" fmla="*/ 2147483647 w 66"/>
              <a:gd name="T23" fmla="*/ 2147483647 h 51"/>
              <a:gd name="T24" fmla="*/ 2147483647 w 66"/>
              <a:gd name="T25" fmla="*/ 2147483647 h 51"/>
              <a:gd name="T26" fmla="*/ 2147483647 w 66"/>
              <a:gd name="T27" fmla="*/ 2147483647 h 51"/>
              <a:gd name="T28" fmla="*/ 2147483647 w 66"/>
              <a:gd name="T29" fmla="*/ 2147483647 h 51"/>
              <a:gd name="T30" fmla="*/ 2147483647 w 66"/>
              <a:gd name="T31" fmla="*/ 2147483647 h 51"/>
              <a:gd name="T32" fmla="*/ 2147483647 w 66"/>
              <a:gd name="T33" fmla="*/ 0 h 51"/>
              <a:gd name="T34" fmla="*/ 2147483647 w 66"/>
              <a:gd name="T35" fmla="*/ 2147483647 h 51"/>
              <a:gd name="T36" fmla="*/ 2147483647 w 66"/>
              <a:gd name="T37" fmla="*/ 2147483647 h 51"/>
              <a:gd name="T38" fmla="*/ 2147483647 w 66"/>
              <a:gd name="T39" fmla="*/ 2147483647 h 51"/>
              <a:gd name="T40" fmla="*/ 2147483647 w 66"/>
              <a:gd name="T41" fmla="*/ 0 h 51"/>
              <a:gd name="T42" fmla="*/ 2147483647 w 66"/>
              <a:gd name="T43" fmla="*/ 2147483647 h 51"/>
              <a:gd name="T44" fmla="*/ 2147483647 w 66"/>
              <a:gd name="T45" fmla="*/ 2147483647 h 51"/>
              <a:gd name="T46" fmla="*/ 2147483647 w 66"/>
              <a:gd name="T47" fmla="*/ 2147483647 h 51"/>
              <a:gd name="T48" fmla="*/ 2147483647 w 66"/>
              <a:gd name="T49" fmla="*/ 2147483647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22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930640" y="3493715"/>
            <a:ext cx="50800" cy="57150"/>
          </a:xfrm>
          <a:custGeom>
            <a:avLst/>
            <a:gdLst>
              <a:gd name="T0" fmla="*/ 0 w 113"/>
              <a:gd name="T1" fmla="*/ 2147483647 h 74"/>
              <a:gd name="T2" fmla="*/ 2147483647 w 113"/>
              <a:gd name="T3" fmla="*/ 2147483647 h 74"/>
              <a:gd name="T4" fmla="*/ 2147483647 w 113"/>
              <a:gd name="T5" fmla="*/ 2147483647 h 74"/>
              <a:gd name="T6" fmla="*/ 2147483647 w 113"/>
              <a:gd name="T7" fmla="*/ 2147483647 h 74"/>
              <a:gd name="T8" fmla="*/ 2147483647 w 113"/>
              <a:gd name="T9" fmla="*/ 2147483647 h 74"/>
              <a:gd name="T10" fmla="*/ 2147483647 w 113"/>
              <a:gd name="T11" fmla="*/ 2147483647 h 74"/>
              <a:gd name="T12" fmla="*/ 2147483647 w 113"/>
              <a:gd name="T13" fmla="*/ 2147483647 h 74"/>
              <a:gd name="T14" fmla="*/ 2147483647 w 113"/>
              <a:gd name="T15" fmla="*/ 2147483647 h 74"/>
              <a:gd name="T16" fmla="*/ 2147483647 w 113"/>
              <a:gd name="T17" fmla="*/ 2147483647 h 74"/>
              <a:gd name="T18" fmla="*/ 2147483647 w 113"/>
              <a:gd name="T19" fmla="*/ 2147483647 h 74"/>
              <a:gd name="T20" fmla="*/ 2147483647 w 113"/>
              <a:gd name="T21" fmla="*/ 2147483647 h 74"/>
              <a:gd name="T22" fmla="*/ 2147483647 w 113"/>
              <a:gd name="T23" fmla="*/ 2147483647 h 74"/>
              <a:gd name="T24" fmla="*/ 2147483647 w 113"/>
              <a:gd name="T25" fmla="*/ 2147483647 h 74"/>
              <a:gd name="T26" fmla="*/ 2147483647 w 113"/>
              <a:gd name="T27" fmla="*/ 2147483647 h 74"/>
              <a:gd name="T28" fmla="*/ 2147483647 w 113"/>
              <a:gd name="T29" fmla="*/ 2147483647 h 74"/>
              <a:gd name="T30" fmla="*/ 2147483647 w 113"/>
              <a:gd name="T31" fmla="*/ 2147483647 h 74"/>
              <a:gd name="T32" fmla="*/ 2147483647 w 113"/>
              <a:gd name="T33" fmla="*/ 2147483647 h 74"/>
              <a:gd name="T34" fmla="*/ 2147483647 w 113"/>
              <a:gd name="T35" fmla="*/ 2147483647 h 74"/>
              <a:gd name="T36" fmla="*/ 2147483647 w 113"/>
              <a:gd name="T37" fmla="*/ 2147483647 h 74"/>
              <a:gd name="T38" fmla="*/ 2147483647 w 113"/>
              <a:gd name="T39" fmla="*/ 0 h 74"/>
              <a:gd name="T40" fmla="*/ 2147483647 w 113"/>
              <a:gd name="T41" fmla="*/ 2147483647 h 74"/>
              <a:gd name="T42" fmla="*/ 2147483647 w 113"/>
              <a:gd name="T43" fmla="*/ 2147483647 h 74"/>
              <a:gd name="T44" fmla="*/ 2147483647 w 113"/>
              <a:gd name="T45" fmla="*/ 2147483647 h 74"/>
              <a:gd name="T46" fmla="*/ 2147483647 w 113"/>
              <a:gd name="T47" fmla="*/ 2147483647 h 74"/>
              <a:gd name="T48" fmla="*/ 2147483647 w 113"/>
              <a:gd name="T49" fmla="*/ 2147483647 h 74"/>
              <a:gd name="T50" fmla="*/ 0 w 113"/>
              <a:gd name="T51" fmla="*/ 2147483647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3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538528" y="4285878"/>
            <a:ext cx="325437" cy="244475"/>
          </a:xfrm>
          <a:custGeom>
            <a:avLst/>
            <a:gdLst>
              <a:gd name="T0" fmla="*/ 2147483647 w 746"/>
              <a:gd name="T1" fmla="*/ 2147483647 h 469"/>
              <a:gd name="T2" fmla="*/ 2147483647 w 746"/>
              <a:gd name="T3" fmla="*/ 2147483647 h 469"/>
              <a:gd name="T4" fmla="*/ 2147483647 w 746"/>
              <a:gd name="T5" fmla="*/ 2147483647 h 469"/>
              <a:gd name="T6" fmla="*/ 2147483647 w 746"/>
              <a:gd name="T7" fmla="*/ 2147483647 h 469"/>
              <a:gd name="T8" fmla="*/ 0 w 746"/>
              <a:gd name="T9" fmla="*/ 2147483647 h 469"/>
              <a:gd name="T10" fmla="*/ 2147483647 w 746"/>
              <a:gd name="T11" fmla="*/ 2147483647 h 469"/>
              <a:gd name="T12" fmla="*/ 2147483647 w 746"/>
              <a:gd name="T13" fmla="*/ 2147483647 h 469"/>
              <a:gd name="T14" fmla="*/ 2147483647 w 746"/>
              <a:gd name="T15" fmla="*/ 2147483647 h 469"/>
              <a:gd name="T16" fmla="*/ 2147483647 w 746"/>
              <a:gd name="T17" fmla="*/ 2147483647 h 469"/>
              <a:gd name="T18" fmla="*/ 2147483647 w 746"/>
              <a:gd name="T19" fmla="*/ 2147483647 h 469"/>
              <a:gd name="T20" fmla="*/ 2147483647 w 746"/>
              <a:gd name="T21" fmla="*/ 2147483647 h 469"/>
              <a:gd name="T22" fmla="*/ 2147483647 w 746"/>
              <a:gd name="T23" fmla="*/ 2147483647 h 469"/>
              <a:gd name="T24" fmla="*/ 2147483647 w 746"/>
              <a:gd name="T25" fmla="*/ 2147483647 h 469"/>
              <a:gd name="T26" fmla="*/ 2147483647 w 746"/>
              <a:gd name="T27" fmla="*/ 2147483647 h 469"/>
              <a:gd name="T28" fmla="*/ 2147483647 w 746"/>
              <a:gd name="T29" fmla="*/ 2147483647 h 469"/>
              <a:gd name="T30" fmla="*/ 2147483647 w 746"/>
              <a:gd name="T31" fmla="*/ 2147483647 h 469"/>
              <a:gd name="T32" fmla="*/ 2147483647 w 746"/>
              <a:gd name="T33" fmla="*/ 2147483647 h 469"/>
              <a:gd name="T34" fmla="*/ 2147483647 w 746"/>
              <a:gd name="T35" fmla="*/ 2147483647 h 469"/>
              <a:gd name="T36" fmla="*/ 2147483647 w 746"/>
              <a:gd name="T37" fmla="*/ 2147483647 h 469"/>
              <a:gd name="T38" fmla="*/ 2147483647 w 746"/>
              <a:gd name="T39" fmla="*/ 0 h 469"/>
              <a:gd name="T40" fmla="*/ 2147483647 w 746"/>
              <a:gd name="T41" fmla="*/ 2147483647 h 469"/>
              <a:gd name="T42" fmla="*/ 2147483647 w 746"/>
              <a:gd name="T43" fmla="*/ 2147483647 h 469"/>
              <a:gd name="T44" fmla="*/ 2147483647 w 746"/>
              <a:gd name="T45" fmla="*/ 2147483647 h 469"/>
              <a:gd name="T46" fmla="*/ 2147483647 w 746"/>
              <a:gd name="T47" fmla="*/ 2147483647 h 469"/>
              <a:gd name="T48" fmla="*/ 2147483647 w 746"/>
              <a:gd name="T49" fmla="*/ 2147483647 h 469"/>
              <a:gd name="T50" fmla="*/ 2147483647 w 746"/>
              <a:gd name="T51" fmla="*/ 2147483647 h 469"/>
              <a:gd name="T52" fmla="*/ 2147483647 w 746"/>
              <a:gd name="T53" fmla="*/ 2147483647 h 469"/>
              <a:gd name="T54" fmla="*/ 2147483647 w 746"/>
              <a:gd name="T55" fmla="*/ 2147483647 h 469"/>
              <a:gd name="T56" fmla="*/ 2147483647 w 746"/>
              <a:gd name="T57" fmla="*/ 2147483647 h 469"/>
              <a:gd name="T58" fmla="*/ 2147483647 w 746"/>
              <a:gd name="T59" fmla="*/ 2147483647 h 469"/>
              <a:gd name="T60" fmla="*/ 2147483647 w 746"/>
              <a:gd name="T61" fmla="*/ 2147483647 h 469"/>
              <a:gd name="T62" fmla="*/ 2147483647 w 746"/>
              <a:gd name="T63" fmla="*/ 2147483647 h 469"/>
              <a:gd name="T64" fmla="*/ 2147483647 w 746"/>
              <a:gd name="T65" fmla="*/ 2147483647 h 469"/>
              <a:gd name="T66" fmla="*/ 2147483647 w 746"/>
              <a:gd name="T67" fmla="*/ 2147483647 h 469"/>
              <a:gd name="T68" fmla="*/ 2147483647 w 746"/>
              <a:gd name="T69" fmla="*/ 2147483647 h 469"/>
              <a:gd name="T70" fmla="*/ 2147483647 w 746"/>
              <a:gd name="T71" fmla="*/ 2147483647 h 469"/>
              <a:gd name="T72" fmla="*/ 2147483647 w 746"/>
              <a:gd name="T73" fmla="*/ 2147483647 h 469"/>
              <a:gd name="T74" fmla="*/ 2147483647 w 746"/>
              <a:gd name="T75" fmla="*/ 2147483647 h 469"/>
              <a:gd name="T76" fmla="*/ 2147483647 w 746"/>
              <a:gd name="T77" fmla="*/ 2147483647 h 469"/>
              <a:gd name="T78" fmla="*/ 2147483647 w 746"/>
              <a:gd name="T79" fmla="*/ 2147483647 h 469"/>
              <a:gd name="T80" fmla="*/ 2147483647 w 746"/>
              <a:gd name="T81" fmla="*/ 2147483647 h 469"/>
              <a:gd name="T82" fmla="*/ 2147483647 w 746"/>
              <a:gd name="T83" fmla="*/ 2147483647 h 469"/>
              <a:gd name="T84" fmla="*/ 2147483647 w 746"/>
              <a:gd name="T85" fmla="*/ 2147483647 h 469"/>
              <a:gd name="T86" fmla="*/ 2147483647 w 746"/>
              <a:gd name="T87" fmla="*/ 2147483647 h 469"/>
              <a:gd name="T88" fmla="*/ 2147483647 w 746"/>
              <a:gd name="T89" fmla="*/ 2147483647 h 469"/>
              <a:gd name="T90" fmla="*/ 2147483647 w 746"/>
              <a:gd name="T91" fmla="*/ 2147483647 h 469"/>
              <a:gd name="T92" fmla="*/ 2147483647 w 746"/>
              <a:gd name="T93" fmla="*/ 2147483647 h 469"/>
              <a:gd name="T94" fmla="*/ 2147483647 w 746"/>
              <a:gd name="T95" fmla="*/ 2147483647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4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475028" y="4454153"/>
            <a:ext cx="500062" cy="552450"/>
          </a:xfrm>
          <a:custGeom>
            <a:avLst/>
            <a:gdLst>
              <a:gd name="T0" fmla="*/ 2147483647 w 1145"/>
              <a:gd name="T1" fmla="*/ 2147483647 h 1053"/>
              <a:gd name="T2" fmla="*/ 2147483647 w 1145"/>
              <a:gd name="T3" fmla="*/ 2147483647 h 1053"/>
              <a:gd name="T4" fmla="*/ 2147483647 w 1145"/>
              <a:gd name="T5" fmla="*/ 2147483647 h 1053"/>
              <a:gd name="T6" fmla="*/ 2147483647 w 1145"/>
              <a:gd name="T7" fmla="*/ 2147483647 h 1053"/>
              <a:gd name="T8" fmla="*/ 2147483647 w 1145"/>
              <a:gd name="T9" fmla="*/ 2147483647 h 1053"/>
              <a:gd name="T10" fmla="*/ 2147483647 w 1145"/>
              <a:gd name="T11" fmla="*/ 2147483647 h 1053"/>
              <a:gd name="T12" fmla="*/ 2147483647 w 1145"/>
              <a:gd name="T13" fmla="*/ 2147483647 h 1053"/>
              <a:gd name="T14" fmla="*/ 2147483647 w 1145"/>
              <a:gd name="T15" fmla="*/ 2147483647 h 1053"/>
              <a:gd name="T16" fmla="*/ 2147483647 w 1145"/>
              <a:gd name="T17" fmla="*/ 2147483647 h 1053"/>
              <a:gd name="T18" fmla="*/ 2147483647 w 1145"/>
              <a:gd name="T19" fmla="*/ 2147483647 h 1053"/>
              <a:gd name="T20" fmla="*/ 2147483647 w 1145"/>
              <a:gd name="T21" fmla="*/ 2147483647 h 1053"/>
              <a:gd name="T22" fmla="*/ 2147483647 w 1145"/>
              <a:gd name="T23" fmla="*/ 2147483647 h 1053"/>
              <a:gd name="T24" fmla="*/ 2147483647 w 1145"/>
              <a:gd name="T25" fmla="*/ 2147483647 h 1053"/>
              <a:gd name="T26" fmla="*/ 2147483647 w 1145"/>
              <a:gd name="T27" fmla="*/ 2147483647 h 1053"/>
              <a:gd name="T28" fmla="*/ 2147483647 w 1145"/>
              <a:gd name="T29" fmla="*/ 2147483647 h 1053"/>
              <a:gd name="T30" fmla="*/ 2147483647 w 1145"/>
              <a:gd name="T31" fmla="*/ 2147483647 h 1053"/>
              <a:gd name="T32" fmla="*/ 2147483647 w 1145"/>
              <a:gd name="T33" fmla="*/ 2147483647 h 1053"/>
              <a:gd name="T34" fmla="*/ 2147483647 w 1145"/>
              <a:gd name="T35" fmla="*/ 2147483647 h 1053"/>
              <a:gd name="T36" fmla="*/ 2147483647 w 1145"/>
              <a:gd name="T37" fmla="*/ 2147483647 h 1053"/>
              <a:gd name="T38" fmla="*/ 2147483647 w 1145"/>
              <a:gd name="T39" fmla="*/ 2147483647 h 1053"/>
              <a:gd name="T40" fmla="*/ 2147483647 w 1145"/>
              <a:gd name="T41" fmla="*/ 2147483647 h 1053"/>
              <a:gd name="T42" fmla="*/ 2147483647 w 1145"/>
              <a:gd name="T43" fmla="*/ 2147483647 h 1053"/>
              <a:gd name="T44" fmla="*/ 2147483647 w 1145"/>
              <a:gd name="T45" fmla="*/ 2147483647 h 1053"/>
              <a:gd name="T46" fmla="*/ 2147483647 w 1145"/>
              <a:gd name="T47" fmla="*/ 2147483647 h 1053"/>
              <a:gd name="T48" fmla="*/ 2147483647 w 1145"/>
              <a:gd name="T49" fmla="*/ 2147483647 h 1053"/>
              <a:gd name="T50" fmla="*/ 2147483647 w 1145"/>
              <a:gd name="T51" fmla="*/ 2147483647 h 1053"/>
              <a:gd name="T52" fmla="*/ 2147483647 w 1145"/>
              <a:gd name="T53" fmla="*/ 2147483647 h 1053"/>
              <a:gd name="T54" fmla="*/ 2147483647 w 1145"/>
              <a:gd name="T55" fmla="*/ 2147483647 h 1053"/>
              <a:gd name="T56" fmla="*/ 2147483647 w 1145"/>
              <a:gd name="T57" fmla="*/ 2147483647 h 1053"/>
              <a:gd name="T58" fmla="*/ 2147483647 w 1145"/>
              <a:gd name="T59" fmla="*/ 2147483647 h 1053"/>
              <a:gd name="T60" fmla="*/ 2147483647 w 1145"/>
              <a:gd name="T61" fmla="*/ 2147483647 h 1053"/>
              <a:gd name="T62" fmla="*/ 2147483647 w 1145"/>
              <a:gd name="T63" fmla="*/ 2147483647 h 1053"/>
              <a:gd name="T64" fmla="*/ 2147483647 w 1145"/>
              <a:gd name="T65" fmla="*/ 2147483647 h 1053"/>
              <a:gd name="T66" fmla="*/ 2147483647 w 1145"/>
              <a:gd name="T67" fmla="*/ 2147483647 h 1053"/>
              <a:gd name="T68" fmla="*/ 2147483647 w 1145"/>
              <a:gd name="T69" fmla="*/ 2147483647 h 1053"/>
              <a:gd name="T70" fmla="*/ 2147483647 w 1145"/>
              <a:gd name="T71" fmla="*/ 2147483647 h 1053"/>
              <a:gd name="T72" fmla="*/ 2147483647 w 1145"/>
              <a:gd name="T73" fmla="*/ 2147483647 h 1053"/>
              <a:gd name="T74" fmla="*/ 2147483647 w 1145"/>
              <a:gd name="T75" fmla="*/ 2147483647 h 1053"/>
              <a:gd name="T76" fmla="*/ 2147483647 w 1145"/>
              <a:gd name="T77" fmla="*/ 2147483647 h 1053"/>
              <a:gd name="T78" fmla="*/ 2147483647 w 1145"/>
              <a:gd name="T79" fmla="*/ 2147483647 h 1053"/>
              <a:gd name="T80" fmla="*/ 2147483647 w 1145"/>
              <a:gd name="T81" fmla="*/ 2147483647 h 1053"/>
              <a:gd name="T82" fmla="*/ 2147483647 w 1145"/>
              <a:gd name="T83" fmla="*/ 2147483647 h 1053"/>
              <a:gd name="T84" fmla="*/ 2147483647 w 1145"/>
              <a:gd name="T85" fmla="*/ 2147483647 h 1053"/>
              <a:gd name="T86" fmla="*/ 2147483647 w 1145"/>
              <a:gd name="T87" fmla="*/ 2147483647 h 1053"/>
              <a:gd name="T88" fmla="*/ 2147483647 w 1145"/>
              <a:gd name="T89" fmla="*/ 2147483647 h 1053"/>
              <a:gd name="T90" fmla="*/ 2147483647 w 1145"/>
              <a:gd name="T91" fmla="*/ 2147483647 h 1053"/>
              <a:gd name="T92" fmla="*/ 2147483647 w 1145"/>
              <a:gd name="T93" fmla="*/ 2147483647 h 1053"/>
              <a:gd name="T94" fmla="*/ 2147483647 w 1145"/>
              <a:gd name="T95" fmla="*/ 2147483647 h 1053"/>
              <a:gd name="T96" fmla="*/ 2147483647 w 1145"/>
              <a:gd name="T97" fmla="*/ 2147483647 h 1053"/>
              <a:gd name="T98" fmla="*/ 2147483647 w 1145"/>
              <a:gd name="T99" fmla="*/ 2147483647 h 1053"/>
              <a:gd name="T100" fmla="*/ 2147483647 w 1145"/>
              <a:gd name="T101" fmla="*/ 2147483647 h 1053"/>
              <a:gd name="T102" fmla="*/ 2147483647 w 1145"/>
              <a:gd name="T103" fmla="*/ 2147483647 h 1053"/>
              <a:gd name="T104" fmla="*/ 2147483647 w 1145"/>
              <a:gd name="T105" fmla="*/ 2147483647 h 1053"/>
              <a:gd name="T106" fmla="*/ 2147483647 w 1145"/>
              <a:gd name="T107" fmla="*/ 2147483647 h 1053"/>
              <a:gd name="T108" fmla="*/ 2147483647 w 1145"/>
              <a:gd name="T109" fmla="*/ 2147483647 h 1053"/>
              <a:gd name="T110" fmla="*/ 2147483647 w 1145"/>
              <a:gd name="T111" fmla="*/ 2147483647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5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411528" y="4554165"/>
            <a:ext cx="55562" cy="55563"/>
          </a:xfrm>
          <a:custGeom>
            <a:avLst/>
            <a:gdLst>
              <a:gd name="T0" fmla="*/ 2147483647 w 125"/>
              <a:gd name="T1" fmla="*/ 0 h 81"/>
              <a:gd name="T2" fmla="*/ 2147483647 w 125"/>
              <a:gd name="T3" fmla="*/ 2147483647 h 81"/>
              <a:gd name="T4" fmla="*/ 2147483647 w 125"/>
              <a:gd name="T5" fmla="*/ 2147483647 h 81"/>
              <a:gd name="T6" fmla="*/ 2147483647 w 125"/>
              <a:gd name="T7" fmla="*/ 2147483647 h 81"/>
              <a:gd name="T8" fmla="*/ 2147483647 w 125"/>
              <a:gd name="T9" fmla="*/ 2147483647 h 81"/>
              <a:gd name="T10" fmla="*/ 2147483647 w 125"/>
              <a:gd name="T11" fmla="*/ 2147483647 h 81"/>
              <a:gd name="T12" fmla="*/ 2147483647 w 125"/>
              <a:gd name="T13" fmla="*/ 2147483647 h 81"/>
              <a:gd name="T14" fmla="*/ 2147483647 w 125"/>
              <a:gd name="T15" fmla="*/ 2147483647 h 81"/>
              <a:gd name="T16" fmla="*/ 2147483647 w 125"/>
              <a:gd name="T17" fmla="*/ 2147483647 h 81"/>
              <a:gd name="T18" fmla="*/ 2147483647 w 125"/>
              <a:gd name="T19" fmla="*/ 2147483647 h 81"/>
              <a:gd name="T20" fmla="*/ 2147483647 w 125"/>
              <a:gd name="T21" fmla="*/ 2147483647 h 81"/>
              <a:gd name="T22" fmla="*/ 2147483647 w 125"/>
              <a:gd name="T23" fmla="*/ 2147483647 h 81"/>
              <a:gd name="T24" fmla="*/ 2147483647 w 125"/>
              <a:gd name="T25" fmla="*/ 2147483647 h 81"/>
              <a:gd name="T26" fmla="*/ 2147483647 w 125"/>
              <a:gd name="T27" fmla="*/ 2147483647 h 81"/>
              <a:gd name="T28" fmla="*/ 2147483647 w 125"/>
              <a:gd name="T29" fmla="*/ 2147483647 h 81"/>
              <a:gd name="T30" fmla="*/ 2147483647 w 125"/>
              <a:gd name="T31" fmla="*/ 2147483647 h 81"/>
              <a:gd name="T32" fmla="*/ 0 w 125"/>
              <a:gd name="T33" fmla="*/ 2147483647 h 81"/>
              <a:gd name="T34" fmla="*/ 0 w 125"/>
              <a:gd name="T35" fmla="*/ 2147483647 h 81"/>
              <a:gd name="T36" fmla="*/ 2147483647 w 125"/>
              <a:gd name="T37" fmla="*/ 2147483647 h 81"/>
              <a:gd name="T38" fmla="*/ 2147483647 w 125"/>
              <a:gd name="T39" fmla="*/ 2147483647 h 81"/>
              <a:gd name="T40" fmla="*/ 2147483647 w 125"/>
              <a:gd name="T41" fmla="*/ 2147483647 h 81"/>
              <a:gd name="T42" fmla="*/ 2147483647 w 125"/>
              <a:gd name="T43" fmla="*/ 2147483647 h 81"/>
              <a:gd name="T44" fmla="*/ 2147483647 w 125"/>
              <a:gd name="T45" fmla="*/ 2147483647 h 81"/>
              <a:gd name="T46" fmla="*/ 2147483647 w 125"/>
              <a:gd name="T47" fmla="*/ 2147483647 h 81"/>
              <a:gd name="T48" fmla="*/ 2147483647 w 125"/>
              <a:gd name="T49" fmla="*/ 0 h 81"/>
              <a:gd name="T50" fmla="*/ 2147483647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6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394065" y="4554165"/>
            <a:ext cx="152400" cy="201613"/>
          </a:xfrm>
          <a:custGeom>
            <a:avLst/>
            <a:gdLst>
              <a:gd name="T0" fmla="*/ 2147483647 w 355"/>
              <a:gd name="T1" fmla="*/ 2147483647 h 388"/>
              <a:gd name="T2" fmla="*/ 2147483647 w 355"/>
              <a:gd name="T3" fmla="*/ 2147483647 h 388"/>
              <a:gd name="T4" fmla="*/ 2147483647 w 355"/>
              <a:gd name="T5" fmla="*/ 2147483647 h 388"/>
              <a:gd name="T6" fmla="*/ 2147483647 w 355"/>
              <a:gd name="T7" fmla="*/ 2147483647 h 388"/>
              <a:gd name="T8" fmla="*/ 2147483647 w 355"/>
              <a:gd name="T9" fmla="*/ 2147483647 h 388"/>
              <a:gd name="T10" fmla="*/ 2147483647 w 355"/>
              <a:gd name="T11" fmla="*/ 2147483647 h 388"/>
              <a:gd name="T12" fmla="*/ 2147483647 w 355"/>
              <a:gd name="T13" fmla="*/ 2147483647 h 388"/>
              <a:gd name="T14" fmla="*/ 2147483647 w 355"/>
              <a:gd name="T15" fmla="*/ 2147483647 h 388"/>
              <a:gd name="T16" fmla="*/ 2147483647 w 355"/>
              <a:gd name="T17" fmla="*/ 2147483647 h 388"/>
              <a:gd name="T18" fmla="*/ 2147483647 w 355"/>
              <a:gd name="T19" fmla="*/ 2147483647 h 388"/>
              <a:gd name="T20" fmla="*/ 2147483647 w 355"/>
              <a:gd name="T21" fmla="*/ 2147483647 h 388"/>
              <a:gd name="T22" fmla="*/ 2147483647 w 355"/>
              <a:gd name="T23" fmla="*/ 2147483647 h 388"/>
              <a:gd name="T24" fmla="*/ 2147483647 w 355"/>
              <a:gd name="T25" fmla="*/ 2147483647 h 388"/>
              <a:gd name="T26" fmla="*/ 2147483647 w 355"/>
              <a:gd name="T27" fmla="*/ 2147483647 h 388"/>
              <a:gd name="T28" fmla="*/ 2147483647 w 355"/>
              <a:gd name="T29" fmla="*/ 2147483647 h 388"/>
              <a:gd name="T30" fmla="*/ 2147483647 w 355"/>
              <a:gd name="T31" fmla="*/ 2147483647 h 388"/>
              <a:gd name="T32" fmla="*/ 2147483647 w 355"/>
              <a:gd name="T33" fmla="*/ 2147483647 h 388"/>
              <a:gd name="T34" fmla="*/ 2147483647 w 355"/>
              <a:gd name="T35" fmla="*/ 2147483647 h 388"/>
              <a:gd name="T36" fmla="*/ 2147483647 w 355"/>
              <a:gd name="T37" fmla="*/ 2147483647 h 388"/>
              <a:gd name="T38" fmla="*/ 2147483647 w 355"/>
              <a:gd name="T39" fmla="*/ 2147483647 h 388"/>
              <a:gd name="T40" fmla="*/ 2147483647 w 355"/>
              <a:gd name="T41" fmla="*/ 2147483647 h 388"/>
              <a:gd name="T42" fmla="*/ 2147483647 w 355"/>
              <a:gd name="T43" fmla="*/ 2147483647 h 388"/>
              <a:gd name="T44" fmla="*/ 2147483647 w 355"/>
              <a:gd name="T45" fmla="*/ 2147483647 h 388"/>
              <a:gd name="T46" fmla="*/ 2147483647 w 355"/>
              <a:gd name="T47" fmla="*/ 2147483647 h 388"/>
              <a:gd name="T48" fmla="*/ 2147483647 w 355"/>
              <a:gd name="T49" fmla="*/ 2147483647 h 388"/>
              <a:gd name="T50" fmla="*/ 2147483647 w 355"/>
              <a:gd name="T51" fmla="*/ 2147483647 h 388"/>
              <a:gd name="T52" fmla="*/ 2147483647 w 355"/>
              <a:gd name="T53" fmla="*/ 2147483647 h 388"/>
              <a:gd name="T54" fmla="*/ 2147483647 w 355"/>
              <a:gd name="T55" fmla="*/ 2147483647 h 388"/>
              <a:gd name="T56" fmla="*/ 2147483647 w 355"/>
              <a:gd name="T57" fmla="*/ 2147483647 h 388"/>
              <a:gd name="T58" fmla="*/ 2147483647 w 355"/>
              <a:gd name="T59" fmla="*/ 2147483647 h 388"/>
              <a:gd name="T60" fmla="*/ 2147483647 w 355"/>
              <a:gd name="T61" fmla="*/ 2147483647 h 388"/>
              <a:gd name="T62" fmla="*/ 2147483647 w 355"/>
              <a:gd name="T63" fmla="*/ 2147483647 h 388"/>
              <a:gd name="T64" fmla="*/ 2147483647 w 355"/>
              <a:gd name="T65" fmla="*/ 2147483647 h 388"/>
              <a:gd name="T66" fmla="*/ 2147483647 w 355"/>
              <a:gd name="T67" fmla="*/ 2147483647 h 388"/>
              <a:gd name="T68" fmla="*/ 2147483647 w 355"/>
              <a:gd name="T69" fmla="*/ 2147483647 h 388"/>
              <a:gd name="T70" fmla="*/ 2147483647 w 355"/>
              <a:gd name="T71" fmla="*/ 2147483647 h 388"/>
              <a:gd name="T72" fmla="*/ 2147483647 w 355"/>
              <a:gd name="T73" fmla="*/ 2147483647 h 388"/>
              <a:gd name="T74" fmla="*/ 2147483647 w 355"/>
              <a:gd name="T75" fmla="*/ 2147483647 h 388"/>
              <a:gd name="T76" fmla="*/ 2147483647 w 355"/>
              <a:gd name="T77" fmla="*/ 2147483647 h 388"/>
              <a:gd name="T78" fmla="*/ 2147483647 w 355"/>
              <a:gd name="T79" fmla="*/ 2147483647 h 388"/>
              <a:gd name="T80" fmla="*/ 2147483647 w 355"/>
              <a:gd name="T81" fmla="*/ 2147483647 h 388"/>
              <a:gd name="T82" fmla="*/ 2147483647 w 355"/>
              <a:gd name="T83" fmla="*/ 2147483647 h 388"/>
              <a:gd name="T84" fmla="*/ 2147483647 w 355"/>
              <a:gd name="T85" fmla="*/ 2147483647 h 388"/>
              <a:gd name="T86" fmla="*/ 2147483647 w 355"/>
              <a:gd name="T87" fmla="*/ 2147483647 h 388"/>
              <a:gd name="T88" fmla="*/ 2147483647 w 355"/>
              <a:gd name="T89" fmla="*/ 2147483647 h 388"/>
              <a:gd name="T90" fmla="*/ 2147483647 w 355"/>
              <a:gd name="T91" fmla="*/ 2147483647 h 388"/>
              <a:gd name="T92" fmla="*/ 2147483647 w 355"/>
              <a:gd name="T93" fmla="*/ 2147483647 h 388"/>
              <a:gd name="T94" fmla="*/ 2147483647 w 355"/>
              <a:gd name="T95" fmla="*/ 2147483647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7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927465" y="4958978"/>
            <a:ext cx="260350" cy="520700"/>
          </a:xfrm>
          <a:custGeom>
            <a:avLst/>
            <a:gdLst>
              <a:gd name="T0" fmla="*/ 0 w 599"/>
              <a:gd name="T1" fmla="*/ 2147483647 h 993"/>
              <a:gd name="T2" fmla="*/ 2147483647 w 599"/>
              <a:gd name="T3" fmla="*/ 2147483647 h 993"/>
              <a:gd name="T4" fmla="*/ 2147483647 w 599"/>
              <a:gd name="T5" fmla="*/ 2147483647 h 993"/>
              <a:gd name="T6" fmla="*/ 2147483647 w 599"/>
              <a:gd name="T7" fmla="*/ 2147483647 h 993"/>
              <a:gd name="T8" fmla="*/ 2147483647 w 599"/>
              <a:gd name="T9" fmla="*/ 2147483647 h 993"/>
              <a:gd name="T10" fmla="*/ 2147483647 w 599"/>
              <a:gd name="T11" fmla="*/ 2147483647 h 993"/>
              <a:gd name="T12" fmla="*/ 2147483647 w 599"/>
              <a:gd name="T13" fmla="*/ 2147483647 h 993"/>
              <a:gd name="T14" fmla="*/ 2147483647 w 599"/>
              <a:gd name="T15" fmla="*/ 2147483647 h 993"/>
              <a:gd name="T16" fmla="*/ 2147483647 w 599"/>
              <a:gd name="T17" fmla="*/ 2147483647 h 993"/>
              <a:gd name="T18" fmla="*/ 2147483647 w 599"/>
              <a:gd name="T19" fmla="*/ 2147483647 h 993"/>
              <a:gd name="T20" fmla="*/ 2147483647 w 599"/>
              <a:gd name="T21" fmla="*/ 2147483647 h 993"/>
              <a:gd name="T22" fmla="*/ 2147483647 w 599"/>
              <a:gd name="T23" fmla="*/ 2147483647 h 993"/>
              <a:gd name="T24" fmla="*/ 2147483647 w 599"/>
              <a:gd name="T25" fmla="*/ 2147483647 h 993"/>
              <a:gd name="T26" fmla="*/ 2147483647 w 599"/>
              <a:gd name="T27" fmla="*/ 2147483647 h 993"/>
              <a:gd name="T28" fmla="*/ 2147483647 w 599"/>
              <a:gd name="T29" fmla="*/ 2147483647 h 993"/>
              <a:gd name="T30" fmla="*/ 2147483647 w 599"/>
              <a:gd name="T31" fmla="*/ 2147483647 h 993"/>
              <a:gd name="T32" fmla="*/ 2147483647 w 599"/>
              <a:gd name="T33" fmla="*/ 2147483647 h 993"/>
              <a:gd name="T34" fmla="*/ 2147483647 w 599"/>
              <a:gd name="T35" fmla="*/ 2147483647 h 993"/>
              <a:gd name="T36" fmla="*/ 2147483647 w 599"/>
              <a:gd name="T37" fmla="*/ 2147483647 h 993"/>
              <a:gd name="T38" fmla="*/ 2147483647 w 599"/>
              <a:gd name="T39" fmla="*/ 2147483647 h 993"/>
              <a:gd name="T40" fmla="*/ 2147483647 w 599"/>
              <a:gd name="T41" fmla="*/ 2147483647 h 993"/>
              <a:gd name="T42" fmla="*/ 2147483647 w 599"/>
              <a:gd name="T43" fmla="*/ 2147483647 h 993"/>
              <a:gd name="T44" fmla="*/ 2147483647 w 599"/>
              <a:gd name="T45" fmla="*/ 2147483647 h 993"/>
              <a:gd name="T46" fmla="*/ 2147483647 w 599"/>
              <a:gd name="T47" fmla="*/ 2147483647 h 993"/>
              <a:gd name="T48" fmla="*/ 2147483647 w 599"/>
              <a:gd name="T49" fmla="*/ 2147483647 h 993"/>
              <a:gd name="T50" fmla="*/ 2147483647 w 599"/>
              <a:gd name="T51" fmla="*/ 2147483647 h 993"/>
              <a:gd name="T52" fmla="*/ 2147483647 w 599"/>
              <a:gd name="T53" fmla="*/ 2147483647 h 993"/>
              <a:gd name="T54" fmla="*/ 2147483647 w 599"/>
              <a:gd name="T55" fmla="*/ 2147483647 h 993"/>
              <a:gd name="T56" fmla="*/ 2147483647 w 599"/>
              <a:gd name="T57" fmla="*/ 2147483647 h 993"/>
              <a:gd name="T58" fmla="*/ 2147483647 w 599"/>
              <a:gd name="T59" fmla="*/ 2147483647 h 993"/>
              <a:gd name="T60" fmla="*/ 2147483647 w 599"/>
              <a:gd name="T61" fmla="*/ 2147483647 h 993"/>
              <a:gd name="T62" fmla="*/ 2147483647 w 599"/>
              <a:gd name="T63" fmla="*/ 2147483647 h 993"/>
              <a:gd name="T64" fmla="*/ 2147483647 w 599"/>
              <a:gd name="T65" fmla="*/ 2147483647 h 993"/>
              <a:gd name="T66" fmla="*/ 2147483647 w 599"/>
              <a:gd name="T67" fmla="*/ 2147483647 h 993"/>
              <a:gd name="T68" fmla="*/ 2147483647 w 599"/>
              <a:gd name="T69" fmla="*/ 2147483647 h 993"/>
              <a:gd name="T70" fmla="*/ 2147483647 w 599"/>
              <a:gd name="T71" fmla="*/ 2147483647 h 993"/>
              <a:gd name="T72" fmla="*/ 2147483647 w 599"/>
              <a:gd name="T73" fmla="*/ 2147483647 h 993"/>
              <a:gd name="T74" fmla="*/ 2147483647 w 599"/>
              <a:gd name="T75" fmla="*/ 2147483647 h 993"/>
              <a:gd name="T76" fmla="*/ 2147483647 w 599"/>
              <a:gd name="T77" fmla="*/ 2147483647 h 993"/>
              <a:gd name="T78" fmla="*/ 2147483647 w 599"/>
              <a:gd name="T79" fmla="*/ 2147483647 h 993"/>
              <a:gd name="T80" fmla="*/ 2147483647 w 599"/>
              <a:gd name="T81" fmla="*/ 2147483647 h 993"/>
              <a:gd name="T82" fmla="*/ 2147483647 w 599"/>
              <a:gd name="T83" fmla="*/ 2147483647 h 993"/>
              <a:gd name="T84" fmla="*/ 2147483647 w 599"/>
              <a:gd name="T85" fmla="*/ 2147483647 h 993"/>
              <a:gd name="T86" fmla="*/ 2147483647 w 599"/>
              <a:gd name="T87" fmla="*/ 2147483647 h 993"/>
              <a:gd name="T88" fmla="*/ 2147483647 w 599"/>
              <a:gd name="T89" fmla="*/ 2147483647 h 993"/>
              <a:gd name="T90" fmla="*/ 2147483647 w 599"/>
              <a:gd name="T91" fmla="*/ 2147483647 h 993"/>
              <a:gd name="T92" fmla="*/ 2147483647 w 599"/>
              <a:gd name="T93" fmla="*/ 2147483647 h 993"/>
              <a:gd name="T94" fmla="*/ 2147483647 w 599"/>
              <a:gd name="T95" fmla="*/ 2147483647 h 993"/>
              <a:gd name="T96" fmla="*/ 2147483647 w 599"/>
              <a:gd name="T97" fmla="*/ 2147483647 h 993"/>
              <a:gd name="T98" fmla="*/ 2147483647 w 599"/>
              <a:gd name="T99" fmla="*/ 2147483647 h 993"/>
              <a:gd name="T100" fmla="*/ 2147483647 w 599"/>
              <a:gd name="T101" fmla="*/ 2147483647 h 993"/>
              <a:gd name="T102" fmla="*/ 2147483647 w 599"/>
              <a:gd name="T103" fmla="*/ 2147483647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8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662353" y="5198690"/>
            <a:ext cx="238125" cy="287338"/>
          </a:xfrm>
          <a:custGeom>
            <a:avLst/>
            <a:gdLst>
              <a:gd name="T0" fmla="*/ 2147483647 w 545"/>
              <a:gd name="T1" fmla="*/ 2147483647 h 549"/>
              <a:gd name="T2" fmla="*/ 2147483647 w 545"/>
              <a:gd name="T3" fmla="*/ 2147483647 h 549"/>
              <a:gd name="T4" fmla="*/ 2147483647 w 545"/>
              <a:gd name="T5" fmla="*/ 2147483647 h 549"/>
              <a:gd name="T6" fmla="*/ 2147483647 w 545"/>
              <a:gd name="T7" fmla="*/ 2147483647 h 549"/>
              <a:gd name="T8" fmla="*/ 2147483647 w 545"/>
              <a:gd name="T9" fmla="*/ 2147483647 h 549"/>
              <a:gd name="T10" fmla="*/ 2147483647 w 545"/>
              <a:gd name="T11" fmla="*/ 2147483647 h 549"/>
              <a:gd name="T12" fmla="*/ 2147483647 w 545"/>
              <a:gd name="T13" fmla="*/ 2147483647 h 549"/>
              <a:gd name="T14" fmla="*/ 2147483647 w 545"/>
              <a:gd name="T15" fmla="*/ 2147483647 h 549"/>
              <a:gd name="T16" fmla="*/ 2147483647 w 545"/>
              <a:gd name="T17" fmla="*/ 2147483647 h 549"/>
              <a:gd name="T18" fmla="*/ 2147483647 w 545"/>
              <a:gd name="T19" fmla="*/ 2147483647 h 549"/>
              <a:gd name="T20" fmla="*/ 2147483647 w 545"/>
              <a:gd name="T21" fmla="*/ 2147483647 h 549"/>
              <a:gd name="T22" fmla="*/ 2147483647 w 545"/>
              <a:gd name="T23" fmla="*/ 2147483647 h 549"/>
              <a:gd name="T24" fmla="*/ 2147483647 w 545"/>
              <a:gd name="T25" fmla="*/ 2147483647 h 549"/>
              <a:gd name="T26" fmla="*/ 2147483647 w 545"/>
              <a:gd name="T27" fmla="*/ 2147483647 h 549"/>
              <a:gd name="T28" fmla="*/ 2147483647 w 545"/>
              <a:gd name="T29" fmla="*/ 2147483647 h 549"/>
              <a:gd name="T30" fmla="*/ 2147483647 w 545"/>
              <a:gd name="T31" fmla="*/ 2147483647 h 549"/>
              <a:gd name="T32" fmla="*/ 2147483647 w 545"/>
              <a:gd name="T33" fmla="*/ 2147483647 h 549"/>
              <a:gd name="T34" fmla="*/ 2147483647 w 545"/>
              <a:gd name="T35" fmla="*/ 2147483647 h 549"/>
              <a:gd name="T36" fmla="*/ 2147483647 w 545"/>
              <a:gd name="T37" fmla="*/ 2147483647 h 549"/>
              <a:gd name="T38" fmla="*/ 2147483647 w 545"/>
              <a:gd name="T39" fmla="*/ 2147483647 h 549"/>
              <a:gd name="T40" fmla="*/ 2147483647 w 545"/>
              <a:gd name="T41" fmla="*/ 2147483647 h 549"/>
              <a:gd name="T42" fmla="*/ 2147483647 w 545"/>
              <a:gd name="T43" fmla="*/ 2147483647 h 549"/>
              <a:gd name="T44" fmla="*/ 2147483647 w 545"/>
              <a:gd name="T45" fmla="*/ 2147483647 h 549"/>
              <a:gd name="T46" fmla="*/ 2147483647 w 545"/>
              <a:gd name="T47" fmla="*/ 2147483647 h 549"/>
              <a:gd name="T48" fmla="*/ 2147483647 w 545"/>
              <a:gd name="T49" fmla="*/ 2147483647 h 549"/>
              <a:gd name="T50" fmla="*/ 2147483647 w 545"/>
              <a:gd name="T51" fmla="*/ 2147483647 h 549"/>
              <a:gd name="T52" fmla="*/ 2147483647 w 545"/>
              <a:gd name="T53" fmla="*/ 2147483647 h 549"/>
              <a:gd name="T54" fmla="*/ 2147483647 w 545"/>
              <a:gd name="T55" fmla="*/ 2147483647 h 549"/>
              <a:gd name="T56" fmla="*/ 2147483647 w 545"/>
              <a:gd name="T57" fmla="*/ 2147483647 h 549"/>
              <a:gd name="T58" fmla="*/ 2147483647 w 545"/>
              <a:gd name="T59" fmla="*/ 2147483647 h 549"/>
              <a:gd name="T60" fmla="*/ 2147483647 w 545"/>
              <a:gd name="T61" fmla="*/ 2147483647 h 549"/>
              <a:gd name="T62" fmla="*/ 2147483647 w 545"/>
              <a:gd name="T63" fmla="*/ 2147483647 h 549"/>
              <a:gd name="T64" fmla="*/ 2147483647 w 545"/>
              <a:gd name="T65" fmla="*/ 0 h 549"/>
              <a:gd name="T66" fmla="*/ 2147483647 w 545"/>
              <a:gd name="T67" fmla="*/ 2147483647 h 549"/>
              <a:gd name="T68" fmla="*/ 2147483647 w 545"/>
              <a:gd name="T69" fmla="*/ 2147483647 h 549"/>
              <a:gd name="T70" fmla="*/ 2147483647 w 545"/>
              <a:gd name="T71" fmla="*/ 2147483647 h 549"/>
              <a:gd name="T72" fmla="*/ 2147483647 w 545"/>
              <a:gd name="T73" fmla="*/ 2147483647 h 549"/>
              <a:gd name="T74" fmla="*/ 2147483647 w 545"/>
              <a:gd name="T75" fmla="*/ 2147483647 h 549"/>
              <a:gd name="T76" fmla="*/ 2147483647 w 545"/>
              <a:gd name="T77" fmla="*/ 2147483647 h 549"/>
              <a:gd name="T78" fmla="*/ 2147483647 w 545"/>
              <a:gd name="T79" fmla="*/ 2147483647 h 549"/>
              <a:gd name="T80" fmla="*/ 2147483647 w 545"/>
              <a:gd name="T81" fmla="*/ 2147483647 h 549"/>
              <a:gd name="T82" fmla="*/ 2147483647 w 545"/>
              <a:gd name="T83" fmla="*/ 2147483647 h 549"/>
              <a:gd name="T84" fmla="*/ 2147483647 w 545"/>
              <a:gd name="T85" fmla="*/ 2147483647 h 549"/>
              <a:gd name="T86" fmla="*/ 2147483647 w 545"/>
              <a:gd name="T87" fmla="*/ 2147483647 h 549"/>
              <a:gd name="T88" fmla="*/ 2147483647 w 545"/>
              <a:gd name="T89" fmla="*/ 2147483647 h 549"/>
              <a:gd name="T90" fmla="*/ 2147483647 w 545"/>
              <a:gd name="T91" fmla="*/ 2147483647 h 549"/>
              <a:gd name="T92" fmla="*/ 2147483647 w 545"/>
              <a:gd name="T93" fmla="*/ 2147483647 h 549"/>
              <a:gd name="T94" fmla="*/ 2147483647 w 545"/>
              <a:gd name="T95" fmla="*/ 2147483647 h 549"/>
              <a:gd name="T96" fmla="*/ 2147483647 w 545"/>
              <a:gd name="T97" fmla="*/ 2147483647 h 549"/>
              <a:gd name="T98" fmla="*/ 0 w 545"/>
              <a:gd name="T99" fmla="*/ 2147483647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9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235440" y="5000253"/>
            <a:ext cx="196850" cy="434975"/>
          </a:xfrm>
          <a:custGeom>
            <a:avLst/>
            <a:gdLst>
              <a:gd name="T0" fmla="*/ 2147483647 w 452"/>
              <a:gd name="T1" fmla="*/ 2147483647 h 832"/>
              <a:gd name="T2" fmla="*/ 2147483647 w 452"/>
              <a:gd name="T3" fmla="*/ 2147483647 h 832"/>
              <a:gd name="T4" fmla="*/ 2147483647 w 452"/>
              <a:gd name="T5" fmla="*/ 2147483647 h 832"/>
              <a:gd name="T6" fmla="*/ 2147483647 w 452"/>
              <a:gd name="T7" fmla="*/ 2147483647 h 832"/>
              <a:gd name="T8" fmla="*/ 2147483647 w 452"/>
              <a:gd name="T9" fmla="*/ 2147483647 h 832"/>
              <a:gd name="T10" fmla="*/ 2147483647 w 452"/>
              <a:gd name="T11" fmla="*/ 2147483647 h 832"/>
              <a:gd name="T12" fmla="*/ 2147483647 w 452"/>
              <a:gd name="T13" fmla="*/ 2147483647 h 832"/>
              <a:gd name="T14" fmla="*/ 2147483647 w 452"/>
              <a:gd name="T15" fmla="*/ 2147483647 h 832"/>
              <a:gd name="T16" fmla="*/ 2147483647 w 452"/>
              <a:gd name="T17" fmla="*/ 2147483647 h 832"/>
              <a:gd name="T18" fmla="*/ 2147483647 w 452"/>
              <a:gd name="T19" fmla="*/ 2147483647 h 832"/>
              <a:gd name="T20" fmla="*/ 2147483647 w 452"/>
              <a:gd name="T21" fmla="*/ 2147483647 h 832"/>
              <a:gd name="T22" fmla="*/ 2147483647 w 452"/>
              <a:gd name="T23" fmla="*/ 2147483647 h 832"/>
              <a:gd name="T24" fmla="*/ 2147483647 w 452"/>
              <a:gd name="T25" fmla="*/ 0 h 832"/>
              <a:gd name="T26" fmla="*/ 2147483647 w 452"/>
              <a:gd name="T27" fmla="*/ 2147483647 h 832"/>
              <a:gd name="T28" fmla="*/ 2147483647 w 452"/>
              <a:gd name="T29" fmla="*/ 2147483647 h 832"/>
              <a:gd name="T30" fmla="*/ 2147483647 w 452"/>
              <a:gd name="T31" fmla="*/ 2147483647 h 832"/>
              <a:gd name="T32" fmla="*/ 2147483647 w 452"/>
              <a:gd name="T33" fmla="*/ 2147483647 h 832"/>
              <a:gd name="T34" fmla="*/ 2147483647 w 452"/>
              <a:gd name="T35" fmla="*/ 2147483647 h 832"/>
              <a:gd name="T36" fmla="*/ 2147483647 w 452"/>
              <a:gd name="T37" fmla="*/ 2147483647 h 832"/>
              <a:gd name="T38" fmla="*/ 2147483647 w 452"/>
              <a:gd name="T39" fmla="*/ 2147483647 h 832"/>
              <a:gd name="T40" fmla="*/ 2147483647 w 452"/>
              <a:gd name="T41" fmla="*/ 2147483647 h 832"/>
              <a:gd name="T42" fmla="*/ 2147483647 w 452"/>
              <a:gd name="T43" fmla="*/ 2147483647 h 832"/>
              <a:gd name="T44" fmla="*/ 2147483647 w 452"/>
              <a:gd name="T45" fmla="*/ 2147483647 h 832"/>
              <a:gd name="T46" fmla="*/ 2147483647 w 452"/>
              <a:gd name="T47" fmla="*/ 2147483647 h 832"/>
              <a:gd name="T48" fmla="*/ 2147483647 w 452"/>
              <a:gd name="T49" fmla="*/ 2147483647 h 832"/>
              <a:gd name="T50" fmla="*/ 2147483647 w 452"/>
              <a:gd name="T51" fmla="*/ 2147483647 h 832"/>
              <a:gd name="T52" fmla="*/ 2147483647 w 452"/>
              <a:gd name="T53" fmla="*/ 2147483647 h 832"/>
              <a:gd name="T54" fmla="*/ 2147483647 w 452"/>
              <a:gd name="T55" fmla="*/ 2147483647 h 832"/>
              <a:gd name="T56" fmla="*/ 2147483647 w 452"/>
              <a:gd name="T57" fmla="*/ 2147483647 h 832"/>
              <a:gd name="T58" fmla="*/ 2147483647 w 452"/>
              <a:gd name="T59" fmla="*/ 2147483647 h 832"/>
              <a:gd name="T60" fmla="*/ 2147483647 w 452"/>
              <a:gd name="T61" fmla="*/ 2147483647 h 832"/>
              <a:gd name="T62" fmla="*/ 2147483647 w 452"/>
              <a:gd name="T63" fmla="*/ 2147483647 h 832"/>
              <a:gd name="T64" fmla="*/ 2147483647 w 452"/>
              <a:gd name="T65" fmla="*/ 2147483647 h 832"/>
              <a:gd name="T66" fmla="*/ 2147483647 w 452"/>
              <a:gd name="T67" fmla="*/ 2147483647 h 832"/>
              <a:gd name="T68" fmla="*/ 2147483647 w 452"/>
              <a:gd name="T69" fmla="*/ 2147483647 h 832"/>
              <a:gd name="T70" fmla="*/ 2147483647 w 452"/>
              <a:gd name="T71" fmla="*/ 2147483647 h 832"/>
              <a:gd name="T72" fmla="*/ 2147483647 w 452"/>
              <a:gd name="T73" fmla="*/ 2147483647 h 832"/>
              <a:gd name="T74" fmla="*/ 2147483647 w 452"/>
              <a:gd name="T75" fmla="*/ 2147483647 h 832"/>
              <a:gd name="T76" fmla="*/ 2147483647 w 452"/>
              <a:gd name="T77" fmla="*/ 2147483647 h 832"/>
              <a:gd name="T78" fmla="*/ 2147483647 w 452"/>
              <a:gd name="T79" fmla="*/ 2147483647 h 832"/>
              <a:gd name="T80" fmla="*/ 2147483647 w 452"/>
              <a:gd name="T81" fmla="*/ 2147483647 h 832"/>
              <a:gd name="T82" fmla="*/ 2147483647 w 452"/>
              <a:gd name="T83" fmla="*/ 2147483647 h 832"/>
              <a:gd name="T84" fmla="*/ 2147483647 w 452"/>
              <a:gd name="T85" fmla="*/ 2147483647 h 832"/>
              <a:gd name="T86" fmla="*/ 2147483647 w 452"/>
              <a:gd name="T87" fmla="*/ 2147483647 h 832"/>
              <a:gd name="T88" fmla="*/ 2147483647 w 452"/>
              <a:gd name="T89" fmla="*/ 2147483647 h 832"/>
              <a:gd name="T90" fmla="*/ 2147483647 w 452"/>
              <a:gd name="T91" fmla="*/ 2147483647 h 832"/>
              <a:gd name="T92" fmla="*/ 0 w 452"/>
              <a:gd name="T93" fmla="*/ 2147483647 h 832"/>
              <a:gd name="T94" fmla="*/ 2147483647 w 452"/>
              <a:gd name="T95" fmla="*/ 2147483647 h 832"/>
              <a:gd name="T96" fmla="*/ 2147483647 w 452"/>
              <a:gd name="T97" fmla="*/ 2147483647 h 832"/>
              <a:gd name="T98" fmla="*/ 2147483647 w 452"/>
              <a:gd name="T99" fmla="*/ 2147483647 h 832"/>
              <a:gd name="T100" fmla="*/ 0 w 452"/>
              <a:gd name="T101" fmla="*/ 2147483647 h 832"/>
              <a:gd name="T102" fmla="*/ 2147483647 w 452"/>
              <a:gd name="T103" fmla="*/ 2147483647 h 832"/>
              <a:gd name="T104" fmla="*/ 2147483647 w 452"/>
              <a:gd name="T105" fmla="*/ 2147483647 h 832"/>
              <a:gd name="T106" fmla="*/ 2147483647 w 452"/>
              <a:gd name="T107" fmla="*/ 2147483647 h 832"/>
              <a:gd name="T108" fmla="*/ 2147483647 w 452"/>
              <a:gd name="T109" fmla="*/ 2147483647 h 832"/>
              <a:gd name="T110" fmla="*/ 2147483647 w 452"/>
              <a:gd name="T111" fmla="*/ 2147483647 h 832"/>
              <a:gd name="T112" fmla="*/ 2147483647 w 452"/>
              <a:gd name="T113" fmla="*/ 2147483647 h 832"/>
              <a:gd name="T114" fmla="*/ 2147483647 w 452"/>
              <a:gd name="T115" fmla="*/ 2147483647 h 832"/>
              <a:gd name="T116" fmla="*/ 2147483647 w 452"/>
              <a:gd name="T117" fmla="*/ 2147483647 h 832"/>
              <a:gd name="T118" fmla="*/ 2147483647 w 452"/>
              <a:gd name="T119" fmla="*/ 2147483647 h 832"/>
              <a:gd name="T120" fmla="*/ 2147483647 w 452"/>
              <a:gd name="T121" fmla="*/ 2147483647 h 832"/>
              <a:gd name="T122" fmla="*/ 2147483647 w 452"/>
              <a:gd name="T123" fmla="*/ 2147483647 h 832"/>
              <a:gd name="T124" fmla="*/ 2147483647 w 452"/>
              <a:gd name="T125" fmla="*/ 2147483647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0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911590" y="4698628"/>
            <a:ext cx="36513" cy="66675"/>
          </a:xfrm>
          <a:custGeom>
            <a:avLst/>
            <a:gdLst>
              <a:gd name="T0" fmla="*/ 2147483647 w 80"/>
              <a:gd name="T1" fmla="*/ 2147483647 h 126"/>
              <a:gd name="T2" fmla="*/ 2147483647 w 80"/>
              <a:gd name="T3" fmla="*/ 2147483647 h 126"/>
              <a:gd name="T4" fmla="*/ 2147483647 w 80"/>
              <a:gd name="T5" fmla="*/ 2147483647 h 126"/>
              <a:gd name="T6" fmla="*/ 2147483647 w 80"/>
              <a:gd name="T7" fmla="*/ 2147483647 h 126"/>
              <a:gd name="T8" fmla="*/ 2147483647 w 80"/>
              <a:gd name="T9" fmla="*/ 2147483647 h 126"/>
              <a:gd name="T10" fmla="*/ 2147483647 w 80"/>
              <a:gd name="T11" fmla="*/ 2147483647 h 126"/>
              <a:gd name="T12" fmla="*/ 2147483647 w 80"/>
              <a:gd name="T13" fmla="*/ 2147483647 h 126"/>
              <a:gd name="T14" fmla="*/ 2147483647 w 80"/>
              <a:gd name="T15" fmla="*/ 2147483647 h 126"/>
              <a:gd name="T16" fmla="*/ 2147483647 w 80"/>
              <a:gd name="T17" fmla="*/ 2147483647 h 126"/>
              <a:gd name="T18" fmla="*/ 2147483647 w 80"/>
              <a:gd name="T19" fmla="*/ 2147483647 h 126"/>
              <a:gd name="T20" fmla="*/ 2147483647 w 80"/>
              <a:gd name="T21" fmla="*/ 2147483647 h 126"/>
              <a:gd name="T22" fmla="*/ 0 w 80"/>
              <a:gd name="T23" fmla="*/ 2147483647 h 126"/>
              <a:gd name="T24" fmla="*/ 2147483647 w 80"/>
              <a:gd name="T25" fmla="*/ 2147483647 h 126"/>
              <a:gd name="T26" fmla="*/ 2147483647 w 80"/>
              <a:gd name="T27" fmla="*/ 2147483647 h 126"/>
              <a:gd name="T28" fmla="*/ 2147483647 w 80"/>
              <a:gd name="T29" fmla="*/ 2147483647 h 126"/>
              <a:gd name="T30" fmla="*/ 2147483647 w 80"/>
              <a:gd name="T31" fmla="*/ 2147483647 h 126"/>
              <a:gd name="T32" fmla="*/ 2147483647 w 80"/>
              <a:gd name="T33" fmla="*/ 2147483647 h 126"/>
              <a:gd name="T34" fmla="*/ 2147483647 w 80"/>
              <a:gd name="T35" fmla="*/ 0 h 126"/>
              <a:gd name="T36" fmla="*/ 2147483647 w 80"/>
              <a:gd name="T37" fmla="*/ 0 h 126"/>
              <a:gd name="T38" fmla="*/ 2147483647 w 80"/>
              <a:gd name="T39" fmla="*/ 2147483647 h 126"/>
              <a:gd name="T40" fmla="*/ 2147483647 w 80"/>
              <a:gd name="T41" fmla="*/ 2147483647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1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900478" y="4658940"/>
            <a:ext cx="55562" cy="60325"/>
          </a:xfrm>
          <a:custGeom>
            <a:avLst/>
            <a:gdLst>
              <a:gd name="T0" fmla="*/ 2147483647 w 124"/>
              <a:gd name="T1" fmla="*/ 0 h 117"/>
              <a:gd name="T2" fmla="*/ 2147483647 w 124"/>
              <a:gd name="T3" fmla="*/ 2147483647 h 117"/>
              <a:gd name="T4" fmla="*/ 2147483647 w 124"/>
              <a:gd name="T5" fmla="*/ 2147483647 h 117"/>
              <a:gd name="T6" fmla="*/ 2147483647 w 124"/>
              <a:gd name="T7" fmla="*/ 2147483647 h 117"/>
              <a:gd name="T8" fmla="*/ 2147483647 w 124"/>
              <a:gd name="T9" fmla="*/ 2147483647 h 117"/>
              <a:gd name="T10" fmla="*/ 2147483647 w 124"/>
              <a:gd name="T11" fmla="*/ 2147483647 h 117"/>
              <a:gd name="T12" fmla="*/ 2147483647 w 124"/>
              <a:gd name="T13" fmla="*/ 2147483647 h 117"/>
              <a:gd name="T14" fmla="*/ 2147483647 w 124"/>
              <a:gd name="T15" fmla="*/ 2147483647 h 117"/>
              <a:gd name="T16" fmla="*/ 2147483647 w 124"/>
              <a:gd name="T17" fmla="*/ 2147483647 h 117"/>
              <a:gd name="T18" fmla="*/ 2147483647 w 124"/>
              <a:gd name="T19" fmla="*/ 2147483647 h 117"/>
              <a:gd name="T20" fmla="*/ 2147483647 w 124"/>
              <a:gd name="T21" fmla="*/ 2147483647 h 117"/>
              <a:gd name="T22" fmla="*/ 2147483647 w 124"/>
              <a:gd name="T23" fmla="*/ 2147483647 h 117"/>
              <a:gd name="T24" fmla="*/ 2147483647 w 124"/>
              <a:gd name="T25" fmla="*/ 2147483647 h 117"/>
              <a:gd name="T26" fmla="*/ 2147483647 w 124"/>
              <a:gd name="T27" fmla="*/ 2147483647 h 117"/>
              <a:gd name="T28" fmla="*/ 2147483647 w 124"/>
              <a:gd name="T29" fmla="*/ 2147483647 h 117"/>
              <a:gd name="T30" fmla="*/ 2147483647 w 124"/>
              <a:gd name="T31" fmla="*/ 2147483647 h 117"/>
              <a:gd name="T32" fmla="*/ 2147483647 w 124"/>
              <a:gd name="T33" fmla="*/ 2147483647 h 117"/>
              <a:gd name="T34" fmla="*/ 2147483647 w 124"/>
              <a:gd name="T35" fmla="*/ 2147483647 h 117"/>
              <a:gd name="T36" fmla="*/ 2147483647 w 124"/>
              <a:gd name="T37" fmla="*/ 2147483647 h 117"/>
              <a:gd name="T38" fmla="*/ 2147483647 w 124"/>
              <a:gd name="T39" fmla="*/ 2147483647 h 117"/>
              <a:gd name="T40" fmla="*/ 0 w 124"/>
              <a:gd name="T41" fmla="*/ 2147483647 h 117"/>
              <a:gd name="T42" fmla="*/ 2147483647 w 124"/>
              <a:gd name="T43" fmla="*/ 2147483647 h 117"/>
              <a:gd name="T44" fmla="*/ 2147483647 w 124"/>
              <a:gd name="T45" fmla="*/ 2147483647 h 117"/>
              <a:gd name="T46" fmla="*/ 2147483647 w 124"/>
              <a:gd name="T47" fmla="*/ 2147483647 h 117"/>
              <a:gd name="T48" fmla="*/ 2147483647 w 124"/>
              <a:gd name="T49" fmla="*/ 2147483647 h 117"/>
              <a:gd name="T50" fmla="*/ 2147483647 w 124"/>
              <a:gd name="T51" fmla="*/ 2147483647 h 117"/>
              <a:gd name="T52" fmla="*/ 2147483647 w 124"/>
              <a:gd name="T53" fmla="*/ 2147483647 h 117"/>
              <a:gd name="T54" fmla="*/ 2147483647 w 124"/>
              <a:gd name="T55" fmla="*/ 2147483647 h 117"/>
              <a:gd name="T56" fmla="*/ 2147483647 w 124"/>
              <a:gd name="T57" fmla="*/ 2147483647 h 117"/>
              <a:gd name="T58" fmla="*/ 2147483647 w 124"/>
              <a:gd name="T59" fmla="*/ 2147483647 h 117"/>
              <a:gd name="T60" fmla="*/ 2147483647 w 124"/>
              <a:gd name="T61" fmla="*/ 2147483647 h 117"/>
              <a:gd name="T62" fmla="*/ 2147483647 w 124"/>
              <a:gd name="T63" fmla="*/ 2147483647 h 117"/>
              <a:gd name="T64" fmla="*/ 2147483647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2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210040" y="3358778"/>
            <a:ext cx="503238" cy="473075"/>
          </a:xfrm>
          <a:custGeom>
            <a:avLst/>
            <a:gdLst>
              <a:gd name="T0" fmla="*/ 2147483647 w 1156"/>
              <a:gd name="T1" fmla="*/ 2147483647 h 900"/>
              <a:gd name="T2" fmla="*/ 2147483647 w 1156"/>
              <a:gd name="T3" fmla="*/ 2147483647 h 900"/>
              <a:gd name="T4" fmla="*/ 2147483647 w 1156"/>
              <a:gd name="T5" fmla="*/ 2147483647 h 900"/>
              <a:gd name="T6" fmla="*/ 2147483647 w 1156"/>
              <a:gd name="T7" fmla="*/ 2147483647 h 900"/>
              <a:gd name="T8" fmla="*/ 2147483647 w 1156"/>
              <a:gd name="T9" fmla="*/ 2147483647 h 900"/>
              <a:gd name="T10" fmla="*/ 2147483647 w 1156"/>
              <a:gd name="T11" fmla="*/ 2147483647 h 900"/>
              <a:gd name="T12" fmla="*/ 2147483647 w 1156"/>
              <a:gd name="T13" fmla="*/ 2147483647 h 900"/>
              <a:gd name="T14" fmla="*/ 2147483647 w 1156"/>
              <a:gd name="T15" fmla="*/ 2147483647 h 900"/>
              <a:gd name="T16" fmla="*/ 2147483647 w 1156"/>
              <a:gd name="T17" fmla="*/ 2147483647 h 900"/>
              <a:gd name="T18" fmla="*/ 2147483647 w 1156"/>
              <a:gd name="T19" fmla="*/ 2147483647 h 900"/>
              <a:gd name="T20" fmla="*/ 2147483647 w 1156"/>
              <a:gd name="T21" fmla="*/ 2147483647 h 900"/>
              <a:gd name="T22" fmla="*/ 2147483647 w 1156"/>
              <a:gd name="T23" fmla="*/ 2147483647 h 900"/>
              <a:gd name="T24" fmla="*/ 2147483647 w 1156"/>
              <a:gd name="T25" fmla="*/ 2147483647 h 900"/>
              <a:gd name="T26" fmla="*/ 2147483647 w 1156"/>
              <a:gd name="T27" fmla="*/ 2147483647 h 900"/>
              <a:gd name="T28" fmla="*/ 2147483647 w 1156"/>
              <a:gd name="T29" fmla="*/ 2147483647 h 900"/>
              <a:gd name="T30" fmla="*/ 2147483647 w 1156"/>
              <a:gd name="T31" fmla="*/ 2147483647 h 900"/>
              <a:gd name="T32" fmla="*/ 2147483647 w 1156"/>
              <a:gd name="T33" fmla="*/ 2147483647 h 900"/>
              <a:gd name="T34" fmla="*/ 2147483647 w 1156"/>
              <a:gd name="T35" fmla="*/ 2147483647 h 900"/>
              <a:gd name="T36" fmla="*/ 2147483647 w 1156"/>
              <a:gd name="T37" fmla="*/ 2147483647 h 900"/>
              <a:gd name="T38" fmla="*/ 2147483647 w 1156"/>
              <a:gd name="T39" fmla="*/ 2147483647 h 900"/>
              <a:gd name="T40" fmla="*/ 2147483647 w 1156"/>
              <a:gd name="T41" fmla="*/ 2147483647 h 900"/>
              <a:gd name="T42" fmla="*/ 2147483647 w 1156"/>
              <a:gd name="T43" fmla="*/ 2147483647 h 900"/>
              <a:gd name="T44" fmla="*/ 2147483647 w 1156"/>
              <a:gd name="T45" fmla="*/ 2147483647 h 900"/>
              <a:gd name="T46" fmla="*/ 2147483647 w 1156"/>
              <a:gd name="T47" fmla="*/ 2147483647 h 900"/>
              <a:gd name="T48" fmla="*/ 2147483647 w 1156"/>
              <a:gd name="T49" fmla="*/ 2147483647 h 900"/>
              <a:gd name="T50" fmla="*/ 2147483647 w 1156"/>
              <a:gd name="T51" fmla="*/ 2147483647 h 900"/>
              <a:gd name="T52" fmla="*/ 2147483647 w 1156"/>
              <a:gd name="T53" fmla="*/ 2147483647 h 900"/>
              <a:gd name="T54" fmla="*/ 2147483647 w 1156"/>
              <a:gd name="T55" fmla="*/ 2147483647 h 900"/>
              <a:gd name="T56" fmla="*/ 2147483647 w 1156"/>
              <a:gd name="T57" fmla="*/ 2147483647 h 900"/>
              <a:gd name="T58" fmla="*/ 2147483647 w 1156"/>
              <a:gd name="T59" fmla="*/ 2147483647 h 900"/>
              <a:gd name="T60" fmla="*/ 2147483647 w 1156"/>
              <a:gd name="T61" fmla="*/ 2147483647 h 900"/>
              <a:gd name="T62" fmla="*/ 2147483647 w 1156"/>
              <a:gd name="T63" fmla="*/ 2147483647 h 900"/>
              <a:gd name="T64" fmla="*/ 2147483647 w 1156"/>
              <a:gd name="T65" fmla="*/ 2147483647 h 900"/>
              <a:gd name="T66" fmla="*/ 2147483647 w 1156"/>
              <a:gd name="T67" fmla="*/ 2147483647 h 900"/>
              <a:gd name="T68" fmla="*/ 2147483647 w 1156"/>
              <a:gd name="T69" fmla="*/ 2147483647 h 900"/>
              <a:gd name="T70" fmla="*/ 2147483647 w 1156"/>
              <a:gd name="T71" fmla="*/ 2147483647 h 900"/>
              <a:gd name="T72" fmla="*/ 2147483647 w 1156"/>
              <a:gd name="T73" fmla="*/ 2147483647 h 900"/>
              <a:gd name="T74" fmla="*/ 2147483647 w 1156"/>
              <a:gd name="T75" fmla="*/ 2147483647 h 900"/>
              <a:gd name="T76" fmla="*/ 2147483647 w 1156"/>
              <a:gd name="T77" fmla="*/ 2147483647 h 900"/>
              <a:gd name="T78" fmla="*/ 2147483647 w 1156"/>
              <a:gd name="T79" fmla="*/ 2147483647 h 900"/>
              <a:gd name="T80" fmla="*/ 2147483647 w 1156"/>
              <a:gd name="T81" fmla="*/ 2147483647 h 900"/>
              <a:gd name="T82" fmla="*/ 2147483647 w 1156"/>
              <a:gd name="T83" fmla="*/ 2147483647 h 900"/>
              <a:gd name="T84" fmla="*/ 2147483647 w 1156"/>
              <a:gd name="T85" fmla="*/ 2147483647 h 900"/>
              <a:gd name="T86" fmla="*/ 2147483647 w 1156"/>
              <a:gd name="T87" fmla="*/ 2147483647 h 900"/>
              <a:gd name="T88" fmla="*/ 2147483647 w 1156"/>
              <a:gd name="T89" fmla="*/ 2147483647 h 900"/>
              <a:gd name="T90" fmla="*/ 2147483647 w 1156"/>
              <a:gd name="T91" fmla="*/ 2147483647 h 900"/>
              <a:gd name="T92" fmla="*/ 2147483647 w 1156"/>
              <a:gd name="T93" fmla="*/ 2147483647 h 900"/>
              <a:gd name="T94" fmla="*/ 2147483647 w 1156"/>
              <a:gd name="T95" fmla="*/ 2147483647 h 900"/>
              <a:gd name="T96" fmla="*/ 2147483647 w 1156"/>
              <a:gd name="T97" fmla="*/ 2147483647 h 900"/>
              <a:gd name="T98" fmla="*/ 2147483647 w 1156"/>
              <a:gd name="T99" fmla="*/ 2147483647 h 900"/>
              <a:gd name="T100" fmla="*/ 2147483647 w 1156"/>
              <a:gd name="T101" fmla="*/ 2147483647 h 900"/>
              <a:gd name="T102" fmla="*/ 2147483647 w 1156"/>
              <a:gd name="T103" fmla="*/ 2147483647 h 900"/>
              <a:gd name="T104" fmla="*/ 2147483647 w 1156"/>
              <a:gd name="T105" fmla="*/ 2147483647 h 900"/>
              <a:gd name="T106" fmla="*/ 2147483647 w 1156"/>
              <a:gd name="T107" fmla="*/ 2147483647 h 900"/>
              <a:gd name="T108" fmla="*/ 2147483647 w 1156"/>
              <a:gd name="T109" fmla="*/ 214748364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3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233853" y="4016003"/>
            <a:ext cx="247650" cy="228600"/>
          </a:xfrm>
          <a:custGeom>
            <a:avLst/>
            <a:gdLst>
              <a:gd name="T0" fmla="*/ 2147483647 w 571"/>
              <a:gd name="T1" fmla="*/ 2147483647 h 443"/>
              <a:gd name="T2" fmla="*/ 2147483647 w 571"/>
              <a:gd name="T3" fmla="*/ 2147483647 h 443"/>
              <a:gd name="T4" fmla="*/ 2147483647 w 571"/>
              <a:gd name="T5" fmla="*/ 2147483647 h 443"/>
              <a:gd name="T6" fmla="*/ 2147483647 w 571"/>
              <a:gd name="T7" fmla="*/ 2147483647 h 443"/>
              <a:gd name="T8" fmla="*/ 2147483647 w 571"/>
              <a:gd name="T9" fmla="*/ 2147483647 h 443"/>
              <a:gd name="T10" fmla="*/ 2147483647 w 571"/>
              <a:gd name="T11" fmla="*/ 2147483647 h 443"/>
              <a:gd name="T12" fmla="*/ 2147483647 w 571"/>
              <a:gd name="T13" fmla="*/ 2147483647 h 443"/>
              <a:gd name="T14" fmla="*/ 2147483647 w 571"/>
              <a:gd name="T15" fmla="*/ 2147483647 h 443"/>
              <a:gd name="T16" fmla="*/ 2147483647 w 571"/>
              <a:gd name="T17" fmla="*/ 2147483647 h 443"/>
              <a:gd name="T18" fmla="*/ 2147483647 w 571"/>
              <a:gd name="T19" fmla="*/ 2147483647 h 443"/>
              <a:gd name="T20" fmla="*/ 2147483647 w 571"/>
              <a:gd name="T21" fmla="*/ 2147483647 h 443"/>
              <a:gd name="T22" fmla="*/ 2147483647 w 571"/>
              <a:gd name="T23" fmla="*/ 2147483647 h 443"/>
              <a:gd name="T24" fmla="*/ 2147483647 w 571"/>
              <a:gd name="T25" fmla="*/ 2147483647 h 443"/>
              <a:gd name="T26" fmla="*/ 2147483647 w 571"/>
              <a:gd name="T27" fmla="*/ 2147483647 h 443"/>
              <a:gd name="T28" fmla="*/ 2147483647 w 571"/>
              <a:gd name="T29" fmla="*/ 2147483647 h 443"/>
              <a:gd name="T30" fmla="*/ 2147483647 w 571"/>
              <a:gd name="T31" fmla="*/ 2147483647 h 443"/>
              <a:gd name="T32" fmla="*/ 2147483647 w 571"/>
              <a:gd name="T33" fmla="*/ 2147483647 h 443"/>
              <a:gd name="T34" fmla="*/ 2147483647 w 571"/>
              <a:gd name="T35" fmla="*/ 2147483647 h 443"/>
              <a:gd name="T36" fmla="*/ 2147483647 w 571"/>
              <a:gd name="T37" fmla="*/ 2147483647 h 443"/>
              <a:gd name="T38" fmla="*/ 2147483647 w 571"/>
              <a:gd name="T39" fmla="*/ 2147483647 h 443"/>
              <a:gd name="T40" fmla="*/ 2147483647 w 571"/>
              <a:gd name="T41" fmla="*/ 2147483647 h 443"/>
              <a:gd name="T42" fmla="*/ 2147483647 w 571"/>
              <a:gd name="T43" fmla="*/ 2147483647 h 443"/>
              <a:gd name="T44" fmla="*/ 2147483647 w 571"/>
              <a:gd name="T45" fmla="*/ 2147483647 h 443"/>
              <a:gd name="T46" fmla="*/ 2147483647 w 571"/>
              <a:gd name="T47" fmla="*/ 2147483647 h 443"/>
              <a:gd name="T48" fmla="*/ 2147483647 w 571"/>
              <a:gd name="T49" fmla="*/ 2147483647 h 443"/>
              <a:gd name="T50" fmla="*/ 2147483647 w 571"/>
              <a:gd name="T51" fmla="*/ 2147483647 h 443"/>
              <a:gd name="T52" fmla="*/ 2147483647 w 571"/>
              <a:gd name="T53" fmla="*/ 2147483647 h 443"/>
              <a:gd name="T54" fmla="*/ 2147483647 w 571"/>
              <a:gd name="T55" fmla="*/ 2147483647 h 443"/>
              <a:gd name="T56" fmla="*/ 2147483647 w 571"/>
              <a:gd name="T57" fmla="*/ 2147483647 h 443"/>
              <a:gd name="T58" fmla="*/ 2147483647 w 571"/>
              <a:gd name="T59" fmla="*/ 2147483647 h 443"/>
              <a:gd name="T60" fmla="*/ 2147483647 w 571"/>
              <a:gd name="T61" fmla="*/ 2147483647 h 443"/>
              <a:gd name="T62" fmla="*/ 2147483647 w 571"/>
              <a:gd name="T63" fmla="*/ 2147483647 h 443"/>
              <a:gd name="T64" fmla="*/ 2147483647 w 571"/>
              <a:gd name="T65" fmla="*/ 2147483647 h 443"/>
              <a:gd name="T66" fmla="*/ 2147483647 w 571"/>
              <a:gd name="T67" fmla="*/ 2147483647 h 443"/>
              <a:gd name="T68" fmla="*/ 2147483647 w 571"/>
              <a:gd name="T69" fmla="*/ 2147483647 h 443"/>
              <a:gd name="T70" fmla="*/ 2147483647 w 571"/>
              <a:gd name="T71" fmla="*/ 2147483647 h 443"/>
              <a:gd name="T72" fmla="*/ 2147483647 w 571"/>
              <a:gd name="T73" fmla="*/ 2147483647 h 443"/>
              <a:gd name="T74" fmla="*/ 2147483647 w 571"/>
              <a:gd name="T75" fmla="*/ 2147483647 h 443"/>
              <a:gd name="T76" fmla="*/ 2147483647 w 571"/>
              <a:gd name="T77" fmla="*/ 2147483647 h 443"/>
              <a:gd name="T78" fmla="*/ 2147483647 w 571"/>
              <a:gd name="T79" fmla="*/ 2147483647 h 443"/>
              <a:gd name="T80" fmla="*/ 2147483647 w 571"/>
              <a:gd name="T81" fmla="*/ 2147483647 h 443"/>
              <a:gd name="T82" fmla="*/ 0 w 571"/>
              <a:gd name="T83" fmla="*/ 2147483647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4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429115" y="3790578"/>
            <a:ext cx="120650" cy="120650"/>
          </a:xfrm>
          <a:custGeom>
            <a:avLst/>
            <a:gdLst>
              <a:gd name="T0" fmla="*/ 0 w 286"/>
              <a:gd name="T1" fmla="*/ 2147483647 h 228"/>
              <a:gd name="T2" fmla="*/ 2147483647 w 286"/>
              <a:gd name="T3" fmla="*/ 2147483647 h 228"/>
              <a:gd name="T4" fmla="*/ 2147483647 w 286"/>
              <a:gd name="T5" fmla="*/ 2147483647 h 228"/>
              <a:gd name="T6" fmla="*/ 2147483647 w 286"/>
              <a:gd name="T7" fmla="*/ 2147483647 h 228"/>
              <a:gd name="T8" fmla="*/ 2147483647 w 286"/>
              <a:gd name="T9" fmla="*/ 2147483647 h 228"/>
              <a:gd name="T10" fmla="*/ 2147483647 w 286"/>
              <a:gd name="T11" fmla="*/ 2147483647 h 228"/>
              <a:gd name="T12" fmla="*/ 2147483647 w 286"/>
              <a:gd name="T13" fmla="*/ 2147483647 h 228"/>
              <a:gd name="T14" fmla="*/ 2147483647 w 286"/>
              <a:gd name="T15" fmla="*/ 2147483647 h 228"/>
              <a:gd name="T16" fmla="*/ 2147483647 w 286"/>
              <a:gd name="T17" fmla="*/ 2147483647 h 228"/>
              <a:gd name="T18" fmla="*/ 2147483647 w 286"/>
              <a:gd name="T19" fmla="*/ 2147483647 h 228"/>
              <a:gd name="T20" fmla="*/ 2147483647 w 286"/>
              <a:gd name="T21" fmla="*/ 2147483647 h 228"/>
              <a:gd name="T22" fmla="*/ 2147483647 w 286"/>
              <a:gd name="T23" fmla="*/ 2147483647 h 228"/>
              <a:gd name="T24" fmla="*/ 2147483647 w 286"/>
              <a:gd name="T25" fmla="*/ 2147483647 h 228"/>
              <a:gd name="T26" fmla="*/ 2147483647 w 286"/>
              <a:gd name="T27" fmla="*/ 2147483647 h 228"/>
              <a:gd name="T28" fmla="*/ 2147483647 w 286"/>
              <a:gd name="T29" fmla="*/ 2147483647 h 228"/>
              <a:gd name="T30" fmla="*/ 2147483647 w 286"/>
              <a:gd name="T31" fmla="*/ 2147483647 h 228"/>
              <a:gd name="T32" fmla="*/ 2147483647 w 286"/>
              <a:gd name="T33" fmla="*/ 2147483647 h 228"/>
              <a:gd name="T34" fmla="*/ 2147483647 w 286"/>
              <a:gd name="T35" fmla="*/ 2147483647 h 228"/>
              <a:gd name="T36" fmla="*/ 2147483647 w 286"/>
              <a:gd name="T37" fmla="*/ 2147483647 h 228"/>
              <a:gd name="T38" fmla="*/ 2147483647 w 286"/>
              <a:gd name="T39" fmla="*/ 2147483647 h 228"/>
              <a:gd name="T40" fmla="*/ 2147483647 w 286"/>
              <a:gd name="T41" fmla="*/ 2147483647 h 228"/>
              <a:gd name="T42" fmla="*/ 2147483647 w 286"/>
              <a:gd name="T43" fmla="*/ 2147483647 h 228"/>
              <a:gd name="T44" fmla="*/ 2147483647 w 286"/>
              <a:gd name="T45" fmla="*/ 2147483647 h 228"/>
              <a:gd name="T46" fmla="*/ 2147483647 w 286"/>
              <a:gd name="T47" fmla="*/ 2147483647 h 228"/>
              <a:gd name="T48" fmla="*/ 2147483647 w 286"/>
              <a:gd name="T49" fmla="*/ 2147483647 h 228"/>
              <a:gd name="T50" fmla="*/ 2147483647 w 286"/>
              <a:gd name="T51" fmla="*/ 2147483647 h 228"/>
              <a:gd name="T52" fmla="*/ 2147483647 w 286"/>
              <a:gd name="T53" fmla="*/ 2147483647 h 228"/>
              <a:gd name="T54" fmla="*/ 2147483647 w 286"/>
              <a:gd name="T55" fmla="*/ 2147483647 h 228"/>
              <a:gd name="T56" fmla="*/ 2147483647 w 286"/>
              <a:gd name="T57" fmla="*/ 0 h 228"/>
              <a:gd name="T58" fmla="*/ 2147483647 w 286"/>
              <a:gd name="T59" fmla="*/ 2147483647 h 228"/>
              <a:gd name="T60" fmla="*/ 2147483647 w 286"/>
              <a:gd name="T61" fmla="*/ 2147483647 h 228"/>
              <a:gd name="T62" fmla="*/ 2147483647 w 286"/>
              <a:gd name="T63" fmla="*/ 2147483647 h 228"/>
              <a:gd name="T64" fmla="*/ 2147483647 w 286"/>
              <a:gd name="T65" fmla="*/ 2147483647 h 228"/>
              <a:gd name="T66" fmla="*/ 2147483647 w 286"/>
              <a:gd name="T67" fmla="*/ 2147483647 h 228"/>
              <a:gd name="T68" fmla="*/ 2147483647 w 286"/>
              <a:gd name="T69" fmla="*/ 2147483647 h 228"/>
              <a:gd name="T70" fmla="*/ 2147483647 w 286"/>
              <a:gd name="T71" fmla="*/ 2147483647 h 228"/>
              <a:gd name="T72" fmla="*/ 2147483647 w 286"/>
              <a:gd name="T73" fmla="*/ 2147483647 h 228"/>
              <a:gd name="T74" fmla="*/ 2147483647 w 286"/>
              <a:gd name="T75" fmla="*/ 2147483647 h 228"/>
              <a:gd name="T76" fmla="*/ 0 w 286"/>
              <a:gd name="T77" fmla="*/ 214748364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35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116378" y="3442915"/>
            <a:ext cx="222250" cy="263525"/>
          </a:xfrm>
          <a:custGeom>
            <a:avLst/>
            <a:gdLst>
              <a:gd name="T0" fmla="*/ 2147483647 w 524"/>
              <a:gd name="T1" fmla="*/ 2147483647 h 505"/>
              <a:gd name="T2" fmla="*/ 2147483647 w 524"/>
              <a:gd name="T3" fmla="*/ 2147483647 h 505"/>
              <a:gd name="T4" fmla="*/ 2147483647 w 524"/>
              <a:gd name="T5" fmla="*/ 2147483647 h 505"/>
              <a:gd name="T6" fmla="*/ 2147483647 w 524"/>
              <a:gd name="T7" fmla="*/ 2147483647 h 505"/>
              <a:gd name="T8" fmla="*/ 2147483647 w 524"/>
              <a:gd name="T9" fmla="*/ 2147483647 h 505"/>
              <a:gd name="T10" fmla="*/ 2147483647 w 524"/>
              <a:gd name="T11" fmla="*/ 2147483647 h 505"/>
              <a:gd name="T12" fmla="*/ 2147483647 w 524"/>
              <a:gd name="T13" fmla="*/ 2147483647 h 505"/>
              <a:gd name="T14" fmla="*/ 2147483647 w 524"/>
              <a:gd name="T15" fmla="*/ 2147483647 h 505"/>
              <a:gd name="T16" fmla="*/ 2147483647 w 524"/>
              <a:gd name="T17" fmla="*/ 2147483647 h 505"/>
              <a:gd name="T18" fmla="*/ 2147483647 w 524"/>
              <a:gd name="T19" fmla="*/ 2147483647 h 505"/>
              <a:gd name="T20" fmla="*/ 2147483647 w 524"/>
              <a:gd name="T21" fmla="*/ 2147483647 h 505"/>
              <a:gd name="T22" fmla="*/ 2147483647 w 524"/>
              <a:gd name="T23" fmla="*/ 2147483647 h 505"/>
              <a:gd name="T24" fmla="*/ 2147483647 w 524"/>
              <a:gd name="T25" fmla="*/ 2147483647 h 505"/>
              <a:gd name="T26" fmla="*/ 2147483647 w 524"/>
              <a:gd name="T27" fmla="*/ 2147483647 h 505"/>
              <a:gd name="T28" fmla="*/ 2147483647 w 524"/>
              <a:gd name="T29" fmla="*/ 2147483647 h 505"/>
              <a:gd name="T30" fmla="*/ 2147483647 w 524"/>
              <a:gd name="T31" fmla="*/ 2147483647 h 505"/>
              <a:gd name="T32" fmla="*/ 2147483647 w 524"/>
              <a:gd name="T33" fmla="*/ 2147483647 h 505"/>
              <a:gd name="T34" fmla="*/ 2147483647 w 524"/>
              <a:gd name="T35" fmla="*/ 2147483647 h 505"/>
              <a:gd name="T36" fmla="*/ 2147483647 w 524"/>
              <a:gd name="T37" fmla="*/ 2147483647 h 505"/>
              <a:gd name="T38" fmla="*/ 2147483647 w 524"/>
              <a:gd name="T39" fmla="*/ 2147483647 h 505"/>
              <a:gd name="T40" fmla="*/ 2147483647 w 524"/>
              <a:gd name="T41" fmla="*/ 2147483647 h 505"/>
              <a:gd name="T42" fmla="*/ 2147483647 w 524"/>
              <a:gd name="T43" fmla="*/ 2147483647 h 505"/>
              <a:gd name="T44" fmla="*/ 2147483647 w 524"/>
              <a:gd name="T45" fmla="*/ 2147483647 h 505"/>
              <a:gd name="T46" fmla="*/ 2147483647 w 524"/>
              <a:gd name="T47" fmla="*/ 2147483647 h 505"/>
              <a:gd name="T48" fmla="*/ 2147483647 w 524"/>
              <a:gd name="T49" fmla="*/ 2147483647 h 505"/>
              <a:gd name="T50" fmla="*/ 2147483647 w 524"/>
              <a:gd name="T51" fmla="*/ 2147483647 h 505"/>
              <a:gd name="T52" fmla="*/ 2147483647 w 524"/>
              <a:gd name="T53" fmla="*/ 2147483647 h 505"/>
              <a:gd name="T54" fmla="*/ 2147483647 w 524"/>
              <a:gd name="T55" fmla="*/ 2147483647 h 505"/>
              <a:gd name="T56" fmla="*/ 2147483647 w 524"/>
              <a:gd name="T57" fmla="*/ 2147483647 h 505"/>
              <a:gd name="T58" fmla="*/ 2147483647 w 524"/>
              <a:gd name="T59" fmla="*/ 2147483647 h 505"/>
              <a:gd name="T60" fmla="*/ 2147483647 w 524"/>
              <a:gd name="T61" fmla="*/ 2147483647 h 505"/>
              <a:gd name="T62" fmla="*/ 2147483647 w 524"/>
              <a:gd name="T63" fmla="*/ 2147483647 h 505"/>
              <a:gd name="T64" fmla="*/ 2147483647 w 524"/>
              <a:gd name="T65" fmla="*/ 2147483647 h 505"/>
              <a:gd name="T66" fmla="*/ 2147483647 w 524"/>
              <a:gd name="T67" fmla="*/ 2147483647 h 505"/>
              <a:gd name="T68" fmla="*/ 2147483647 w 524"/>
              <a:gd name="T69" fmla="*/ 2147483647 h 505"/>
              <a:gd name="T70" fmla="*/ 2147483647 w 524"/>
              <a:gd name="T71" fmla="*/ 2147483647 h 505"/>
              <a:gd name="T72" fmla="*/ 2147483647 w 524"/>
              <a:gd name="T73" fmla="*/ 2147483647 h 505"/>
              <a:gd name="T74" fmla="*/ 2147483647 w 524"/>
              <a:gd name="T75" fmla="*/ 2147483647 h 505"/>
              <a:gd name="T76" fmla="*/ 0 w 524"/>
              <a:gd name="T77" fmla="*/ 2147483647 h 505"/>
              <a:gd name="T78" fmla="*/ 0 w 524"/>
              <a:gd name="T79" fmla="*/ 2147483647 h 505"/>
              <a:gd name="T80" fmla="*/ 2147483647 w 524"/>
              <a:gd name="T81" fmla="*/ 2147483647 h 505"/>
              <a:gd name="T82" fmla="*/ 2147483647 w 524"/>
              <a:gd name="T83" fmla="*/ 2147483647 h 505"/>
              <a:gd name="T84" fmla="*/ 2147483647 w 524"/>
              <a:gd name="T85" fmla="*/ 2147483647 h 505"/>
              <a:gd name="T86" fmla="*/ 2147483647 w 524"/>
              <a:gd name="T87" fmla="*/ 2147483647 h 505"/>
              <a:gd name="T88" fmla="*/ 2147483647 w 524"/>
              <a:gd name="T89" fmla="*/ 2147483647 h 505"/>
              <a:gd name="T90" fmla="*/ 2147483647 w 524"/>
              <a:gd name="T91" fmla="*/ 2147483647 h 505"/>
              <a:gd name="T92" fmla="*/ 2147483647 w 524"/>
              <a:gd name="T93" fmla="*/ 2147483647 h 505"/>
              <a:gd name="T94" fmla="*/ 2147483647 w 524"/>
              <a:gd name="T95" fmla="*/ 2147483647 h 505"/>
              <a:gd name="T96" fmla="*/ 2147483647 w 524"/>
              <a:gd name="T97" fmla="*/ 2147483647 h 505"/>
              <a:gd name="T98" fmla="*/ 2147483647 w 524"/>
              <a:gd name="T99" fmla="*/ 2147483647 h 505"/>
              <a:gd name="T100" fmla="*/ 2147483647 w 524"/>
              <a:gd name="T101" fmla="*/ 2147483647 h 505"/>
              <a:gd name="T102" fmla="*/ 2147483647 w 524"/>
              <a:gd name="T103" fmla="*/ 2147483647 h 505"/>
              <a:gd name="T104" fmla="*/ 2147483647 w 524"/>
              <a:gd name="T105" fmla="*/ 2147483647 h 505"/>
              <a:gd name="T106" fmla="*/ 2147483647 w 524"/>
              <a:gd name="T107" fmla="*/ 2147483647 h 505"/>
              <a:gd name="T108" fmla="*/ 2147483647 w 524"/>
              <a:gd name="T109" fmla="*/ 2147483647 h 505"/>
              <a:gd name="T110" fmla="*/ 2147483647 w 524"/>
              <a:gd name="T111" fmla="*/ 2147483647 h 505"/>
              <a:gd name="T112" fmla="*/ 2147483647 w 524"/>
              <a:gd name="T113" fmla="*/ 2147483647 h 505"/>
              <a:gd name="T114" fmla="*/ 2147483647 w 524"/>
              <a:gd name="T115" fmla="*/ 2147483647 h 505"/>
              <a:gd name="T116" fmla="*/ 2147483647 w 524"/>
              <a:gd name="T117" fmla="*/ 2147483647 h 505"/>
              <a:gd name="T118" fmla="*/ 2147483647 w 524"/>
              <a:gd name="T119" fmla="*/ 2147483647 h 505"/>
              <a:gd name="T120" fmla="*/ 2147483647 w 524"/>
              <a:gd name="T121" fmla="*/ 2147483647 h 505"/>
              <a:gd name="T122" fmla="*/ 2147483647 w 524"/>
              <a:gd name="T123" fmla="*/ 214748364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6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616440" y="3403228"/>
            <a:ext cx="331788" cy="290512"/>
          </a:xfrm>
          <a:custGeom>
            <a:avLst/>
            <a:gdLst>
              <a:gd name="T0" fmla="*/ 2147483647 w 764"/>
              <a:gd name="T1" fmla="*/ 2147483647 h 555"/>
              <a:gd name="T2" fmla="*/ 2147483647 w 764"/>
              <a:gd name="T3" fmla="*/ 2147483647 h 555"/>
              <a:gd name="T4" fmla="*/ 2147483647 w 764"/>
              <a:gd name="T5" fmla="*/ 2147483647 h 555"/>
              <a:gd name="T6" fmla="*/ 2147483647 w 764"/>
              <a:gd name="T7" fmla="*/ 2147483647 h 555"/>
              <a:gd name="T8" fmla="*/ 2147483647 w 764"/>
              <a:gd name="T9" fmla="*/ 2147483647 h 555"/>
              <a:gd name="T10" fmla="*/ 2147483647 w 764"/>
              <a:gd name="T11" fmla="*/ 2147483647 h 555"/>
              <a:gd name="T12" fmla="*/ 2147483647 w 764"/>
              <a:gd name="T13" fmla="*/ 2147483647 h 555"/>
              <a:gd name="T14" fmla="*/ 2147483647 w 764"/>
              <a:gd name="T15" fmla="*/ 2147483647 h 555"/>
              <a:gd name="T16" fmla="*/ 2147483647 w 764"/>
              <a:gd name="T17" fmla="*/ 2147483647 h 555"/>
              <a:gd name="T18" fmla="*/ 2147483647 w 764"/>
              <a:gd name="T19" fmla="*/ 2147483647 h 555"/>
              <a:gd name="T20" fmla="*/ 2147483647 w 764"/>
              <a:gd name="T21" fmla="*/ 2147483647 h 555"/>
              <a:gd name="T22" fmla="*/ 2147483647 w 764"/>
              <a:gd name="T23" fmla="*/ 2147483647 h 555"/>
              <a:gd name="T24" fmla="*/ 2147483647 w 764"/>
              <a:gd name="T25" fmla="*/ 2147483647 h 555"/>
              <a:gd name="T26" fmla="*/ 2147483647 w 764"/>
              <a:gd name="T27" fmla="*/ 2147483647 h 555"/>
              <a:gd name="T28" fmla="*/ 2147483647 w 764"/>
              <a:gd name="T29" fmla="*/ 2147483647 h 555"/>
              <a:gd name="T30" fmla="*/ 2147483647 w 764"/>
              <a:gd name="T31" fmla="*/ 2147483647 h 555"/>
              <a:gd name="T32" fmla="*/ 2147483647 w 764"/>
              <a:gd name="T33" fmla="*/ 2147483647 h 555"/>
              <a:gd name="T34" fmla="*/ 2147483647 w 764"/>
              <a:gd name="T35" fmla="*/ 2147483647 h 555"/>
              <a:gd name="T36" fmla="*/ 2147483647 w 764"/>
              <a:gd name="T37" fmla="*/ 2147483647 h 555"/>
              <a:gd name="T38" fmla="*/ 2147483647 w 764"/>
              <a:gd name="T39" fmla="*/ 2147483647 h 555"/>
              <a:gd name="T40" fmla="*/ 2147483647 w 764"/>
              <a:gd name="T41" fmla="*/ 2147483647 h 555"/>
              <a:gd name="T42" fmla="*/ 2147483647 w 764"/>
              <a:gd name="T43" fmla="*/ 2147483647 h 555"/>
              <a:gd name="T44" fmla="*/ 2147483647 w 764"/>
              <a:gd name="T45" fmla="*/ 2147483647 h 555"/>
              <a:gd name="T46" fmla="*/ 2147483647 w 764"/>
              <a:gd name="T47" fmla="*/ 2147483647 h 555"/>
              <a:gd name="T48" fmla="*/ 2147483647 w 764"/>
              <a:gd name="T49" fmla="*/ 2147483647 h 555"/>
              <a:gd name="T50" fmla="*/ 2147483647 w 764"/>
              <a:gd name="T51" fmla="*/ 2147483647 h 555"/>
              <a:gd name="T52" fmla="*/ 2147483647 w 764"/>
              <a:gd name="T53" fmla="*/ 2147483647 h 555"/>
              <a:gd name="T54" fmla="*/ 2147483647 w 764"/>
              <a:gd name="T55" fmla="*/ 2147483647 h 555"/>
              <a:gd name="T56" fmla="*/ 2147483647 w 764"/>
              <a:gd name="T57" fmla="*/ 2147483647 h 555"/>
              <a:gd name="T58" fmla="*/ 2147483647 w 764"/>
              <a:gd name="T59" fmla="*/ 2147483647 h 555"/>
              <a:gd name="T60" fmla="*/ 2147483647 w 764"/>
              <a:gd name="T61" fmla="*/ 2147483647 h 555"/>
              <a:gd name="T62" fmla="*/ 2147483647 w 764"/>
              <a:gd name="T63" fmla="*/ 2147483647 h 555"/>
              <a:gd name="T64" fmla="*/ 2147483647 w 764"/>
              <a:gd name="T65" fmla="*/ 2147483647 h 555"/>
              <a:gd name="T66" fmla="*/ 2147483647 w 764"/>
              <a:gd name="T67" fmla="*/ 2147483647 h 555"/>
              <a:gd name="T68" fmla="*/ 2147483647 w 764"/>
              <a:gd name="T69" fmla="*/ 2147483647 h 555"/>
              <a:gd name="T70" fmla="*/ 2147483647 w 764"/>
              <a:gd name="T71" fmla="*/ 2147483647 h 555"/>
              <a:gd name="T72" fmla="*/ 2147483647 w 764"/>
              <a:gd name="T73" fmla="*/ 2147483647 h 555"/>
              <a:gd name="T74" fmla="*/ 2147483647 w 764"/>
              <a:gd name="T75" fmla="*/ 2147483647 h 555"/>
              <a:gd name="T76" fmla="*/ 2147483647 w 764"/>
              <a:gd name="T77" fmla="*/ 2147483647 h 555"/>
              <a:gd name="T78" fmla="*/ 2147483647 w 764"/>
              <a:gd name="T79" fmla="*/ 2147483647 h 555"/>
              <a:gd name="T80" fmla="*/ 2147483647 w 764"/>
              <a:gd name="T81" fmla="*/ 2147483647 h 555"/>
              <a:gd name="T82" fmla="*/ 2147483647 w 764"/>
              <a:gd name="T83" fmla="*/ 2147483647 h 555"/>
              <a:gd name="T84" fmla="*/ 2147483647 w 764"/>
              <a:gd name="T85" fmla="*/ 2147483647 h 555"/>
              <a:gd name="T86" fmla="*/ 2147483647 w 764"/>
              <a:gd name="T87" fmla="*/ 2147483647 h 555"/>
              <a:gd name="T88" fmla="*/ 2147483647 w 764"/>
              <a:gd name="T89" fmla="*/ 2147483647 h 555"/>
              <a:gd name="T90" fmla="*/ 2147483647 w 764"/>
              <a:gd name="T91" fmla="*/ 2147483647 h 555"/>
              <a:gd name="T92" fmla="*/ 2147483647 w 764"/>
              <a:gd name="T93" fmla="*/ 2147483647 h 555"/>
              <a:gd name="T94" fmla="*/ 2147483647 w 764"/>
              <a:gd name="T95" fmla="*/ 2147483647 h 555"/>
              <a:gd name="T96" fmla="*/ 2147483647 w 764"/>
              <a:gd name="T97" fmla="*/ 2147483647 h 555"/>
              <a:gd name="T98" fmla="*/ 2147483647 w 764"/>
              <a:gd name="T99" fmla="*/ 2147483647 h 555"/>
              <a:gd name="T100" fmla="*/ 2147483647 w 764"/>
              <a:gd name="T101" fmla="*/ 2147483647 h 555"/>
              <a:gd name="T102" fmla="*/ 2147483647 w 764"/>
              <a:gd name="T103" fmla="*/ 2147483647 h 555"/>
              <a:gd name="T104" fmla="*/ 2147483647 w 764"/>
              <a:gd name="T105" fmla="*/ 2147483647 h 555"/>
              <a:gd name="T106" fmla="*/ 2147483647 w 764"/>
              <a:gd name="T107" fmla="*/ 2147483647 h 555"/>
              <a:gd name="T108" fmla="*/ 2147483647 w 764"/>
              <a:gd name="T109" fmla="*/ 2147483647 h 555"/>
              <a:gd name="T110" fmla="*/ 2147483647 w 764"/>
              <a:gd name="T111" fmla="*/ 2147483647 h 555"/>
              <a:gd name="T112" fmla="*/ 2147483647 w 764"/>
              <a:gd name="T113" fmla="*/ 2147483647 h 555"/>
              <a:gd name="T114" fmla="*/ 2147483647 w 764"/>
              <a:gd name="T115" fmla="*/ 2147483647 h 555"/>
              <a:gd name="T116" fmla="*/ 2147483647 w 764"/>
              <a:gd name="T117" fmla="*/ 2147483647 h 555"/>
              <a:gd name="T118" fmla="*/ 0 w 764"/>
              <a:gd name="T119" fmla="*/ 2147483647 h 555"/>
              <a:gd name="T120" fmla="*/ 2147483647 w 764"/>
              <a:gd name="T121" fmla="*/ 2147483647 h 555"/>
              <a:gd name="T122" fmla="*/ 2147483647 w 764"/>
              <a:gd name="T123" fmla="*/ 2147483647 h 555"/>
              <a:gd name="T124" fmla="*/ 2147483647 w 764"/>
              <a:gd name="T125" fmla="*/ 2147483647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7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648190" y="3452440"/>
            <a:ext cx="365125" cy="423863"/>
          </a:xfrm>
          <a:custGeom>
            <a:avLst/>
            <a:gdLst>
              <a:gd name="T0" fmla="*/ 2147483647 w 831"/>
              <a:gd name="T1" fmla="*/ 2147483647 h 812"/>
              <a:gd name="T2" fmla="*/ 2147483647 w 831"/>
              <a:gd name="T3" fmla="*/ 2147483647 h 812"/>
              <a:gd name="T4" fmla="*/ 2147483647 w 831"/>
              <a:gd name="T5" fmla="*/ 2147483647 h 812"/>
              <a:gd name="T6" fmla="*/ 2147483647 w 831"/>
              <a:gd name="T7" fmla="*/ 2147483647 h 812"/>
              <a:gd name="T8" fmla="*/ 2147483647 w 831"/>
              <a:gd name="T9" fmla="*/ 2147483647 h 812"/>
              <a:gd name="T10" fmla="*/ 2147483647 w 831"/>
              <a:gd name="T11" fmla="*/ 2147483647 h 812"/>
              <a:gd name="T12" fmla="*/ 2147483647 w 831"/>
              <a:gd name="T13" fmla="*/ 2147483647 h 812"/>
              <a:gd name="T14" fmla="*/ 2147483647 w 831"/>
              <a:gd name="T15" fmla="*/ 2147483647 h 812"/>
              <a:gd name="T16" fmla="*/ 2147483647 w 831"/>
              <a:gd name="T17" fmla="*/ 2147483647 h 812"/>
              <a:gd name="T18" fmla="*/ 2147483647 w 831"/>
              <a:gd name="T19" fmla="*/ 2147483647 h 812"/>
              <a:gd name="T20" fmla="*/ 2147483647 w 831"/>
              <a:gd name="T21" fmla="*/ 2147483647 h 812"/>
              <a:gd name="T22" fmla="*/ 2147483647 w 831"/>
              <a:gd name="T23" fmla="*/ 2147483647 h 812"/>
              <a:gd name="T24" fmla="*/ 2147483647 w 831"/>
              <a:gd name="T25" fmla="*/ 2147483647 h 812"/>
              <a:gd name="T26" fmla="*/ 2147483647 w 831"/>
              <a:gd name="T27" fmla="*/ 2147483647 h 812"/>
              <a:gd name="T28" fmla="*/ 2147483647 w 831"/>
              <a:gd name="T29" fmla="*/ 2147483647 h 812"/>
              <a:gd name="T30" fmla="*/ 2147483647 w 831"/>
              <a:gd name="T31" fmla="*/ 2147483647 h 812"/>
              <a:gd name="T32" fmla="*/ 2147483647 w 831"/>
              <a:gd name="T33" fmla="*/ 2147483647 h 812"/>
              <a:gd name="T34" fmla="*/ 2147483647 w 831"/>
              <a:gd name="T35" fmla="*/ 2147483647 h 812"/>
              <a:gd name="T36" fmla="*/ 2147483647 w 831"/>
              <a:gd name="T37" fmla="*/ 2147483647 h 812"/>
              <a:gd name="T38" fmla="*/ 2147483647 w 831"/>
              <a:gd name="T39" fmla="*/ 2147483647 h 812"/>
              <a:gd name="T40" fmla="*/ 2147483647 w 831"/>
              <a:gd name="T41" fmla="*/ 2147483647 h 812"/>
              <a:gd name="T42" fmla="*/ 2147483647 w 831"/>
              <a:gd name="T43" fmla="*/ 2147483647 h 812"/>
              <a:gd name="T44" fmla="*/ 2147483647 w 831"/>
              <a:gd name="T45" fmla="*/ 2147483647 h 812"/>
              <a:gd name="T46" fmla="*/ 2147483647 w 831"/>
              <a:gd name="T47" fmla="*/ 2147483647 h 812"/>
              <a:gd name="T48" fmla="*/ 2147483647 w 831"/>
              <a:gd name="T49" fmla="*/ 2147483647 h 812"/>
              <a:gd name="T50" fmla="*/ 2147483647 w 831"/>
              <a:gd name="T51" fmla="*/ 2147483647 h 812"/>
              <a:gd name="T52" fmla="*/ 2147483647 w 831"/>
              <a:gd name="T53" fmla="*/ 2147483647 h 812"/>
              <a:gd name="T54" fmla="*/ 2147483647 w 831"/>
              <a:gd name="T55" fmla="*/ 2147483647 h 812"/>
              <a:gd name="T56" fmla="*/ 2147483647 w 831"/>
              <a:gd name="T57" fmla="*/ 2147483647 h 812"/>
              <a:gd name="T58" fmla="*/ 2147483647 w 831"/>
              <a:gd name="T59" fmla="*/ 2147483647 h 812"/>
              <a:gd name="T60" fmla="*/ 2147483647 w 831"/>
              <a:gd name="T61" fmla="*/ 2147483647 h 812"/>
              <a:gd name="T62" fmla="*/ 2147483647 w 831"/>
              <a:gd name="T63" fmla="*/ 2147483647 h 812"/>
              <a:gd name="T64" fmla="*/ 2147483647 w 831"/>
              <a:gd name="T65" fmla="*/ 2147483647 h 812"/>
              <a:gd name="T66" fmla="*/ 2147483647 w 831"/>
              <a:gd name="T67" fmla="*/ 2147483647 h 812"/>
              <a:gd name="T68" fmla="*/ 2147483647 w 831"/>
              <a:gd name="T69" fmla="*/ 2147483647 h 812"/>
              <a:gd name="T70" fmla="*/ 2147483647 w 831"/>
              <a:gd name="T71" fmla="*/ 2147483647 h 812"/>
              <a:gd name="T72" fmla="*/ 2147483647 w 831"/>
              <a:gd name="T73" fmla="*/ 2147483647 h 812"/>
              <a:gd name="T74" fmla="*/ 2147483647 w 831"/>
              <a:gd name="T75" fmla="*/ 2147483647 h 812"/>
              <a:gd name="T76" fmla="*/ 2147483647 w 831"/>
              <a:gd name="T77" fmla="*/ 2147483647 h 812"/>
              <a:gd name="T78" fmla="*/ 2147483647 w 831"/>
              <a:gd name="T79" fmla="*/ 2147483647 h 812"/>
              <a:gd name="T80" fmla="*/ 2147483647 w 831"/>
              <a:gd name="T81" fmla="*/ 2147483647 h 812"/>
              <a:gd name="T82" fmla="*/ 2147483647 w 831"/>
              <a:gd name="T83" fmla="*/ 2147483647 h 812"/>
              <a:gd name="T84" fmla="*/ 2147483647 w 831"/>
              <a:gd name="T85" fmla="*/ 2147483647 h 812"/>
              <a:gd name="T86" fmla="*/ 2147483647 w 831"/>
              <a:gd name="T87" fmla="*/ 2147483647 h 812"/>
              <a:gd name="T88" fmla="*/ 2147483647 w 831"/>
              <a:gd name="T89" fmla="*/ 2147483647 h 812"/>
              <a:gd name="T90" fmla="*/ 2147483647 w 831"/>
              <a:gd name="T91" fmla="*/ 2147483647 h 812"/>
              <a:gd name="T92" fmla="*/ 2147483647 w 831"/>
              <a:gd name="T93" fmla="*/ 2147483647 h 812"/>
              <a:gd name="T94" fmla="*/ 2147483647 w 831"/>
              <a:gd name="T95" fmla="*/ 2147483647 h 812"/>
              <a:gd name="T96" fmla="*/ 2147483647 w 831"/>
              <a:gd name="T97" fmla="*/ 2147483647 h 812"/>
              <a:gd name="T98" fmla="*/ 2147483647 w 831"/>
              <a:gd name="T99" fmla="*/ 2147483647 h 812"/>
              <a:gd name="T100" fmla="*/ 2147483647 w 831"/>
              <a:gd name="T101" fmla="*/ 2147483647 h 812"/>
              <a:gd name="T102" fmla="*/ 2147483647 w 831"/>
              <a:gd name="T103" fmla="*/ 2147483647 h 812"/>
              <a:gd name="T104" fmla="*/ 2147483647 w 831"/>
              <a:gd name="T105" fmla="*/ 2147483647 h 812"/>
              <a:gd name="T106" fmla="*/ 2147483647 w 831"/>
              <a:gd name="T107" fmla="*/ 2147483647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8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438765" y="3720728"/>
            <a:ext cx="220663" cy="585787"/>
          </a:xfrm>
          <a:custGeom>
            <a:avLst/>
            <a:gdLst>
              <a:gd name="T0" fmla="*/ 2147483647 w 505"/>
              <a:gd name="T1" fmla="*/ 2147483647 h 1121"/>
              <a:gd name="T2" fmla="*/ 2147483647 w 505"/>
              <a:gd name="T3" fmla="*/ 2147483647 h 1121"/>
              <a:gd name="T4" fmla="*/ 2147483647 w 505"/>
              <a:gd name="T5" fmla="*/ 2147483647 h 1121"/>
              <a:gd name="T6" fmla="*/ 2147483647 w 505"/>
              <a:gd name="T7" fmla="*/ 2147483647 h 1121"/>
              <a:gd name="T8" fmla="*/ 2147483647 w 505"/>
              <a:gd name="T9" fmla="*/ 2147483647 h 1121"/>
              <a:gd name="T10" fmla="*/ 2147483647 w 505"/>
              <a:gd name="T11" fmla="*/ 2147483647 h 1121"/>
              <a:gd name="T12" fmla="*/ 2147483647 w 505"/>
              <a:gd name="T13" fmla="*/ 2147483647 h 1121"/>
              <a:gd name="T14" fmla="*/ 2147483647 w 505"/>
              <a:gd name="T15" fmla="*/ 2147483647 h 1121"/>
              <a:gd name="T16" fmla="*/ 2147483647 w 505"/>
              <a:gd name="T17" fmla="*/ 2147483647 h 1121"/>
              <a:gd name="T18" fmla="*/ 2147483647 w 505"/>
              <a:gd name="T19" fmla="*/ 2147483647 h 1121"/>
              <a:gd name="T20" fmla="*/ 2147483647 w 505"/>
              <a:gd name="T21" fmla="*/ 2147483647 h 1121"/>
              <a:gd name="T22" fmla="*/ 2147483647 w 505"/>
              <a:gd name="T23" fmla="*/ 2147483647 h 1121"/>
              <a:gd name="T24" fmla="*/ 2147483647 w 505"/>
              <a:gd name="T25" fmla="*/ 2147483647 h 1121"/>
              <a:gd name="T26" fmla="*/ 2147483647 w 505"/>
              <a:gd name="T27" fmla="*/ 2147483647 h 1121"/>
              <a:gd name="T28" fmla="*/ 2147483647 w 505"/>
              <a:gd name="T29" fmla="*/ 2147483647 h 1121"/>
              <a:gd name="T30" fmla="*/ 2147483647 w 505"/>
              <a:gd name="T31" fmla="*/ 2147483647 h 1121"/>
              <a:gd name="T32" fmla="*/ 2147483647 w 505"/>
              <a:gd name="T33" fmla="*/ 2147483647 h 1121"/>
              <a:gd name="T34" fmla="*/ 2147483647 w 505"/>
              <a:gd name="T35" fmla="*/ 2147483647 h 1121"/>
              <a:gd name="T36" fmla="*/ 2147483647 w 505"/>
              <a:gd name="T37" fmla="*/ 2147483647 h 1121"/>
              <a:gd name="T38" fmla="*/ 2147483647 w 505"/>
              <a:gd name="T39" fmla="*/ 2147483647 h 1121"/>
              <a:gd name="T40" fmla="*/ 2147483647 w 505"/>
              <a:gd name="T41" fmla="*/ 2147483647 h 1121"/>
              <a:gd name="T42" fmla="*/ 2147483647 w 505"/>
              <a:gd name="T43" fmla="*/ 2147483647 h 1121"/>
              <a:gd name="T44" fmla="*/ 2147483647 w 505"/>
              <a:gd name="T45" fmla="*/ 2147483647 h 1121"/>
              <a:gd name="T46" fmla="*/ 2147483647 w 505"/>
              <a:gd name="T47" fmla="*/ 2147483647 h 1121"/>
              <a:gd name="T48" fmla="*/ 2147483647 w 505"/>
              <a:gd name="T49" fmla="*/ 2147483647 h 1121"/>
              <a:gd name="T50" fmla="*/ 2147483647 w 505"/>
              <a:gd name="T51" fmla="*/ 2147483647 h 1121"/>
              <a:gd name="T52" fmla="*/ 2147483647 w 505"/>
              <a:gd name="T53" fmla="*/ 2147483647 h 1121"/>
              <a:gd name="T54" fmla="*/ 2147483647 w 505"/>
              <a:gd name="T55" fmla="*/ 2147483647 h 1121"/>
              <a:gd name="T56" fmla="*/ 2147483647 w 505"/>
              <a:gd name="T57" fmla="*/ 2147483647 h 1121"/>
              <a:gd name="T58" fmla="*/ 2147483647 w 505"/>
              <a:gd name="T59" fmla="*/ 2147483647 h 1121"/>
              <a:gd name="T60" fmla="*/ 2147483647 w 505"/>
              <a:gd name="T61" fmla="*/ 2147483647 h 1121"/>
              <a:gd name="T62" fmla="*/ 2147483647 w 505"/>
              <a:gd name="T63" fmla="*/ 2147483647 h 1121"/>
              <a:gd name="T64" fmla="*/ 2147483647 w 505"/>
              <a:gd name="T65" fmla="*/ 2147483647 h 1121"/>
              <a:gd name="T66" fmla="*/ 2147483647 w 505"/>
              <a:gd name="T67" fmla="*/ 2147483647 h 1121"/>
              <a:gd name="T68" fmla="*/ 2147483647 w 505"/>
              <a:gd name="T69" fmla="*/ 2147483647 h 1121"/>
              <a:gd name="T70" fmla="*/ 2147483647 w 505"/>
              <a:gd name="T71" fmla="*/ 2147483647 h 1121"/>
              <a:gd name="T72" fmla="*/ 2147483647 w 505"/>
              <a:gd name="T73" fmla="*/ 2147483647 h 1121"/>
              <a:gd name="T74" fmla="*/ 2147483647 w 505"/>
              <a:gd name="T75" fmla="*/ 2147483647 h 1121"/>
              <a:gd name="T76" fmla="*/ 2147483647 w 505"/>
              <a:gd name="T77" fmla="*/ 2147483647 h 1121"/>
              <a:gd name="T78" fmla="*/ 2147483647 w 505"/>
              <a:gd name="T79" fmla="*/ 2147483647 h 1121"/>
              <a:gd name="T80" fmla="*/ 2147483647 w 505"/>
              <a:gd name="T81" fmla="*/ 2147483647 h 1121"/>
              <a:gd name="T82" fmla="*/ 2147483647 w 505"/>
              <a:gd name="T83" fmla="*/ 2147483647 h 1121"/>
              <a:gd name="T84" fmla="*/ 2147483647 w 505"/>
              <a:gd name="T85" fmla="*/ 2147483647 h 1121"/>
              <a:gd name="T86" fmla="*/ 2147483647 w 505"/>
              <a:gd name="T87" fmla="*/ 2147483647 h 1121"/>
              <a:gd name="T88" fmla="*/ 2147483647 w 505"/>
              <a:gd name="T89" fmla="*/ 2147483647 h 1121"/>
              <a:gd name="T90" fmla="*/ 2147483647 w 505"/>
              <a:gd name="T91" fmla="*/ 2147483647 h 1121"/>
              <a:gd name="T92" fmla="*/ 2147483647 w 505"/>
              <a:gd name="T93" fmla="*/ 2147483647 h 1121"/>
              <a:gd name="T94" fmla="*/ 2147483647 w 505"/>
              <a:gd name="T95" fmla="*/ 2147483647 h 1121"/>
              <a:gd name="T96" fmla="*/ 2147483647 w 505"/>
              <a:gd name="T97" fmla="*/ 2147483647 h 1121"/>
              <a:gd name="T98" fmla="*/ 2147483647 w 505"/>
              <a:gd name="T99" fmla="*/ 2147483647 h 1121"/>
              <a:gd name="T100" fmla="*/ 2147483647 w 505"/>
              <a:gd name="T101" fmla="*/ 2147483647 h 1121"/>
              <a:gd name="T102" fmla="*/ 2147483647 w 505"/>
              <a:gd name="T103" fmla="*/ 214748364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9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762240" y="4230315"/>
            <a:ext cx="80963" cy="58738"/>
          </a:xfrm>
          <a:custGeom>
            <a:avLst/>
            <a:gdLst>
              <a:gd name="T0" fmla="*/ 2147483647 w 180"/>
              <a:gd name="T1" fmla="*/ 2147483647 h 112"/>
              <a:gd name="T2" fmla="*/ 2147483647 w 180"/>
              <a:gd name="T3" fmla="*/ 2147483647 h 112"/>
              <a:gd name="T4" fmla="*/ 2147483647 w 180"/>
              <a:gd name="T5" fmla="*/ 2147483647 h 112"/>
              <a:gd name="T6" fmla="*/ 2147483647 w 180"/>
              <a:gd name="T7" fmla="*/ 2147483647 h 112"/>
              <a:gd name="T8" fmla="*/ 2147483647 w 180"/>
              <a:gd name="T9" fmla="*/ 2147483647 h 112"/>
              <a:gd name="T10" fmla="*/ 2147483647 w 180"/>
              <a:gd name="T11" fmla="*/ 2147483647 h 112"/>
              <a:gd name="T12" fmla="*/ 2147483647 w 180"/>
              <a:gd name="T13" fmla="*/ 2147483647 h 112"/>
              <a:gd name="T14" fmla="*/ 2147483647 w 180"/>
              <a:gd name="T15" fmla="*/ 2147483647 h 112"/>
              <a:gd name="T16" fmla="*/ 2147483647 w 180"/>
              <a:gd name="T17" fmla="*/ 2147483647 h 112"/>
              <a:gd name="T18" fmla="*/ 2147483647 w 180"/>
              <a:gd name="T19" fmla="*/ 2147483647 h 112"/>
              <a:gd name="T20" fmla="*/ 2147483647 w 180"/>
              <a:gd name="T21" fmla="*/ 2147483647 h 112"/>
              <a:gd name="T22" fmla="*/ 2147483647 w 180"/>
              <a:gd name="T23" fmla="*/ 2147483647 h 112"/>
              <a:gd name="T24" fmla="*/ 2147483647 w 180"/>
              <a:gd name="T25" fmla="*/ 2147483647 h 112"/>
              <a:gd name="T26" fmla="*/ 2147483647 w 180"/>
              <a:gd name="T27" fmla="*/ 2147483647 h 112"/>
              <a:gd name="T28" fmla="*/ 2147483647 w 180"/>
              <a:gd name="T29" fmla="*/ 2147483647 h 112"/>
              <a:gd name="T30" fmla="*/ 2147483647 w 180"/>
              <a:gd name="T31" fmla="*/ 2147483647 h 112"/>
              <a:gd name="T32" fmla="*/ 2147483647 w 180"/>
              <a:gd name="T33" fmla="*/ 2147483647 h 112"/>
              <a:gd name="T34" fmla="*/ 2147483647 w 180"/>
              <a:gd name="T35" fmla="*/ 2147483647 h 112"/>
              <a:gd name="T36" fmla="*/ 2147483647 w 180"/>
              <a:gd name="T37" fmla="*/ 2147483647 h 112"/>
              <a:gd name="T38" fmla="*/ 2147483647 w 180"/>
              <a:gd name="T39" fmla="*/ 2147483647 h 112"/>
              <a:gd name="T40" fmla="*/ 2147483647 w 180"/>
              <a:gd name="T41" fmla="*/ 2147483647 h 112"/>
              <a:gd name="T42" fmla="*/ 2147483647 w 180"/>
              <a:gd name="T43" fmla="*/ 2147483647 h 112"/>
              <a:gd name="T44" fmla="*/ 0 w 180"/>
              <a:gd name="T45" fmla="*/ 2147483647 h 112"/>
              <a:gd name="T46" fmla="*/ 2147483647 w 180"/>
              <a:gd name="T47" fmla="*/ 2147483647 h 112"/>
              <a:gd name="T48" fmla="*/ 2147483647 w 180"/>
              <a:gd name="T49" fmla="*/ 2147483647 h 112"/>
              <a:gd name="T50" fmla="*/ 2147483647 w 180"/>
              <a:gd name="T51" fmla="*/ 2147483647 h 112"/>
              <a:gd name="T52" fmla="*/ 2147483647 w 180"/>
              <a:gd name="T53" fmla="*/ 2147483647 h 112"/>
              <a:gd name="T54" fmla="*/ 2147483647 w 180"/>
              <a:gd name="T55" fmla="*/ 2147483647 h 112"/>
              <a:gd name="T56" fmla="*/ 2147483647 w 180"/>
              <a:gd name="T57" fmla="*/ 0 h 112"/>
              <a:gd name="T58" fmla="*/ 2147483647 w 180"/>
              <a:gd name="T59" fmla="*/ 2147483647 h 112"/>
              <a:gd name="T60" fmla="*/ 2147483647 w 180"/>
              <a:gd name="T61" fmla="*/ 2147483647 h 112"/>
              <a:gd name="T62" fmla="*/ 2147483647 w 180"/>
              <a:gd name="T63" fmla="*/ 2147483647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0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846378" y="4312865"/>
            <a:ext cx="74612" cy="100013"/>
          </a:xfrm>
          <a:custGeom>
            <a:avLst/>
            <a:gdLst>
              <a:gd name="T0" fmla="*/ 0 w 173"/>
              <a:gd name="T1" fmla="*/ 2147483647 h 192"/>
              <a:gd name="T2" fmla="*/ 2147483647 w 173"/>
              <a:gd name="T3" fmla="*/ 2147483647 h 192"/>
              <a:gd name="T4" fmla="*/ 2147483647 w 173"/>
              <a:gd name="T5" fmla="*/ 2147483647 h 192"/>
              <a:gd name="T6" fmla="*/ 2147483647 w 173"/>
              <a:gd name="T7" fmla="*/ 2147483647 h 192"/>
              <a:gd name="T8" fmla="*/ 2147483647 w 173"/>
              <a:gd name="T9" fmla="*/ 2147483647 h 192"/>
              <a:gd name="T10" fmla="*/ 2147483647 w 173"/>
              <a:gd name="T11" fmla="*/ 2147483647 h 192"/>
              <a:gd name="T12" fmla="*/ 2147483647 w 173"/>
              <a:gd name="T13" fmla="*/ 2147483647 h 192"/>
              <a:gd name="T14" fmla="*/ 2147483647 w 173"/>
              <a:gd name="T15" fmla="*/ 2147483647 h 192"/>
              <a:gd name="T16" fmla="*/ 2147483647 w 173"/>
              <a:gd name="T17" fmla="*/ 2147483647 h 192"/>
              <a:gd name="T18" fmla="*/ 2147483647 w 173"/>
              <a:gd name="T19" fmla="*/ 2147483647 h 192"/>
              <a:gd name="T20" fmla="*/ 2147483647 w 173"/>
              <a:gd name="T21" fmla="*/ 0 h 192"/>
              <a:gd name="T22" fmla="*/ 2147483647 w 173"/>
              <a:gd name="T23" fmla="*/ 2147483647 h 192"/>
              <a:gd name="T24" fmla="*/ 2147483647 w 173"/>
              <a:gd name="T25" fmla="*/ 2147483647 h 192"/>
              <a:gd name="T26" fmla="*/ 2147483647 w 173"/>
              <a:gd name="T27" fmla="*/ 2147483647 h 192"/>
              <a:gd name="T28" fmla="*/ 2147483647 w 173"/>
              <a:gd name="T29" fmla="*/ 2147483647 h 192"/>
              <a:gd name="T30" fmla="*/ 2147483647 w 173"/>
              <a:gd name="T31" fmla="*/ 2147483647 h 192"/>
              <a:gd name="T32" fmla="*/ 2147483647 w 173"/>
              <a:gd name="T33" fmla="*/ 2147483647 h 192"/>
              <a:gd name="T34" fmla="*/ 2147483647 w 173"/>
              <a:gd name="T35" fmla="*/ 2147483647 h 192"/>
              <a:gd name="T36" fmla="*/ 2147483647 w 173"/>
              <a:gd name="T37" fmla="*/ 2147483647 h 192"/>
              <a:gd name="T38" fmla="*/ 2147483647 w 173"/>
              <a:gd name="T39" fmla="*/ 2147483647 h 192"/>
              <a:gd name="T40" fmla="*/ 2147483647 w 173"/>
              <a:gd name="T41" fmla="*/ 2147483647 h 192"/>
              <a:gd name="T42" fmla="*/ 2147483647 w 173"/>
              <a:gd name="T43" fmla="*/ 2147483647 h 192"/>
              <a:gd name="T44" fmla="*/ 2147483647 w 173"/>
              <a:gd name="T45" fmla="*/ 2147483647 h 192"/>
              <a:gd name="T46" fmla="*/ 2147483647 w 173"/>
              <a:gd name="T47" fmla="*/ 2147483647 h 192"/>
              <a:gd name="T48" fmla="*/ 2147483647 w 173"/>
              <a:gd name="T49" fmla="*/ 2147483647 h 192"/>
              <a:gd name="T50" fmla="*/ 2147483647 w 173"/>
              <a:gd name="T51" fmla="*/ 2147483647 h 192"/>
              <a:gd name="T52" fmla="*/ 2147483647 w 173"/>
              <a:gd name="T53" fmla="*/ 2147483647 h 192"/>
              <a:gd name="T54" fmla="*/ 2147483647 w 173"/>
              <a:gd name="T55" fmla="*/ 2147483647 h 192"/>
              <a:gd name="T56" fmla="*/ 2147483647 w 173"/>
              <a:gd name="T57" fmla="*/ 2147483647 h 192"/>
              <a:gd name="T58" fmla="*/ 2147483647 w 173"/>
              <a:gd name="T59" fmla="*/ 2147483647 h 192"/>
              <a:gd name="T60" fmla="*/ 2147483647 w 173"/>
              <a:gd name="T61" fmla="*/ 2147483647 h 192"/>
              <a:gd name="T62" fmla="*/ 2147483647 w 173"/>
              <a:gd name="T63" fmla="*/ 2147483647 h 192"/>
              <a:gd name="T64" fmla="*/ 2147483647 w 173"/>
              <a:gd name="T65" fmla="*/ 2147483647 h 192"/>
              <a:gd name="T66" fmla="*/ 2147483647 w 173"/>
              <a:gd name="T67" fmla="*/ 2147483647 h 192"/>
              <a:gd name="T68" fmla="*/ 2147483647 w 173"/>
              <a:gd name="T69" fmla="*/ 2147483647 h 192"/>
              <a:gd name="T70" fmla="*/ 2147483647 w 173"/>
              <a:gd name="T71" fmla="*/ 2147483647 h 192"/>
              <a:gd name="T72" fmla="*/ 2147483647 w 173"/>
              <a:gd name="T73" fmla="*/ 2147483647 h 192"/>
              <a:gd name="T74" fmla="*/ 2147483647 w 173"/>
              <a:gd name="T75" fmla="*/ 2147483647 h 192"/>
              <a:gd name="T76" fmla="*/ 2147483647 w 173"/>
              <a:gd name="T77" fmla="*/ 2147483647 h 192"/>
              <a:gd name="T78" fmla="*/ 2147483647 w 173"/>
              <a:gd name="T79" fmla="*/ 2147483647 h 192"/>
              <a:gd name="T80" fmla="*/ 2147483647 w 173"/>
              <a:gd name="T81" fmla="*/ 2147483647 h 192"/>
              <a:gd name="T82" fmla="*/ 2147483647 w 173"/>
              <a:gd name="T83" fmla="*/ 2147483647 h 192"/>
              <a:gd name="T84" fmla="*/ 0 w 173"/>
              <a:gd name="T85" fmla="*/ 2147483647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1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889240" y="4363665"/>
            <a:ext cx="104775" cy="131763"/>
          </a:xfrm>
          <a:custGeom>
            <a:avLst/>
            <a:gdLst>
              <a:gd name="T0" fmla="*/ 2147483647 w 233"/>
              <a:gd name="T1" fmla="*/ 0 h 252"/>
              <a:gd name="T2" fmla="*/ 2147483647 w 233"/>
              <a:gd name="T3" fmla="*/ 2147483647 h 252"/>
              <a:gd name="T4" fmla="*/ 2147483647 w 233"/>
              <a:gd name="T5" fmla="*/ 2147483647 h 252"/>
              <a:gd name="T6" fmla="*/ 2147483647 w 233"/>
              <a:gd name="T7" fmla="*/ 2147483647 h 252"/>
              <a:gd name="T8" fmla="*/ 2147483647 w 233"/>
              <a:gd name="T9" fmla="*/ 2147483647 h 252"/>
              <a:gd name="T10" fmla="*/ 2147483647 w 233"/>
              <a:gd name="T11" fmla="*/ 2147483647 h 252"/>
              <a:gd name="T12" fmla="*/ 2147483647 w 233"/>
              <a:gd name="T13" fmla="*/ 0 h 252"/>
              <a:gd name="T14" fmla="*/ 2147483647 w 233"/>
              <a:gd name="T15" fmla="*/ 2147483647 h 252"/>
              <a:gd name="T16" fmla="*/ 2147483647 w 233"/>
              <a:gd name="T17" fmla="*/ 2147483647 h 252"/>
              <a:gd name="T18" fmla="*/ 2147483647 w 233"/>
              <a:gd name="T19" fmla="*/ 2147483647 h 252"/>
              <a:gd name="T20" fmla="*/ 2147483647 w 233"/>
              <a:gd name="T21" fmla="*/ 2147483647 h 252"/>
              <a:gd name="T22" fmla="*/ 2147483647 w 233"/>
              <a:gd name="T23" fmla="*/ 2147483647 h 252"/>
              <a:gd name="T24" fmla="*/ 2147483647 w 233"/>
              <a:gd name="T25" fmla="*/ 2147483647 h 252"/>
              <a:gd name="T26" fmla="*/ 2147483647 w 233"/>
              <a:gd name="T27" fmla="*/ 2147483647 h 252"/>
              <a:gd name="T28" fmla="*/ 2147483647 w 233"/>
              <a:gd name="T29" fmla="*/ 2147483647 h 252"/>
              <a:gd name="T30" fmla="*/ 2147483647 w 233"/>
              <a:gd name="T31" fmla="*/ 2147483647 h 252"/>
              <a:gd name="T32" fmla="*/ 2147483647 w 233"/>
              <a:gd name="T33" fmla="*/ 2147483647 h 252"/>
              <a:gd name="T34" fmla="*/ 2147483647 w 233"/>
              <a:gd name="T35" fmla="*/ 2147483647 h 252"/>
              <a:gd name="T36" fmla="*/ 2147483647 w 233"/>
              <a:gd name="T37" fmla="*/ 2147483647 h 252"/>
              <a:gd name="T38" fmla="*/ 2147483647 w 233"/>
              <a:gd name="T39" fmla="*/ 2147483647 h 252"/>
              <a:gd name="T40" fmla="*/ 2147483647 w 233"/>
              <a:gd name="T41" fmla="*/ 2147483647 h 252"/>
              <a:gd name="T42" fmla="*/ 2147483647 w 233"/>
              <a:gd name="T43" fmla="*/ 2147483647 h 252"/>
              <a:gd name="T44" fmla="*/ 2147483647 w 233"/>
              <a:gd name="T45" fmla="*/ 2147483647 h 252"/>
              <a:gd name="T46" fmla="*/ 2147483647 w 233"/>
              <a:gd name="T47" fmla="*/ 2147483647 h 252"/>
              <a:gd name="T48" fmla="*/ 2147483647 w 233"/>
              <a:gd name="T49" fmla="*/ 2147483647 h 252"/>
              <a:gd name="T50" fmla="*/ 2147483647 w 233"/>
              <a:gd name="T51" fmla="*/ 2147483647 h 252"/>
              <a:gd name="T52" fmla="*/ 2147483647 w 233"/>
              <a:gd name="T53" fmla="*/ 2147483647 h 252"/>
              <a:gd name="T54" fmla="*/ 2147483647 w 233"/>
              <a:gd name="T55" fmla="*/ 2147483647 h 252"/>
              <a:gd name="T56" fmla="*/ 2147483647 w 233"/>
              <a:gd name="T57" fmla="*/ 2147483647 h 252"/>
              <a:gd name="T58" fmla="*/ 2147483647 w 233"/>
              <a:gd name="T59" fmla="*/ 2147483647 h 252"/>
              <a:gd name="T60" fmla="*/ 2147483647 w 233"/>
              <a:gd name="T61" fmla="*/ 2147483647 h 252"/>
              <a:gd name="T62" fmla="*/ 2147483647 w 233"/>
              <a:gd name="T63" fmla="*/ 2147483647 h 252"/>
              <a:gd name="T64" fmla="*/ 2147483647 w 233"/>
              <a:gd name="T65" fmla="*/ 2147483647 h 252"/>
              <a:gd name="T66" fmla="*/ 2147483647 w 233"/>
              <a:gd name="T67" fmla="*/ 2147483647 h 252"/>
              <a:gd name="T68" fmla="*/ 2147483647 w 233"/>
              <a:gd name="T69" fmla="*/ 2147483647 h 252"/>
              <a:gd name="T70" fmla="*/ 2147483647 w 233"/>
              <a:gd name="T71" fmla="*/ 2147483647 h 252"/>
              <a:gd name="T72" fmla="*/ 2147483647 w 233"/>
              <a:gd name="T73" fmla="*/ 2147483647 h 252"/>
              <a:gd name="T74" fmla="*/ 2147483647 w 233"/>
              <a:gd name="T75" fmla="*/ 2147483647 h 252"/>
              <a:gd name="T76" fmla="*/ 2147483647 w 233"/>
              <a:gd name="T77" fmla="*/ 2147483647 h 252"/>
              <a:gd name="T78" fmla="*/ 2147483647 w 233"/>
              <a:gd name="T79" fmla="*/ 2147483647 h 252"/>
              <a:gd name="T80" fmla="*/ 2147483647 w 233"/>
              <a:gd name="T81" fmla="*/ 2147483647 h 252"/>
              <a:gd name="T82" fmla="*/ 2147483647 w 233"/>
              <a:gd name="T83" fmla="*/ 2147483647 h 252"/>
              <a:gd name="T84" fmla="*/ 2147483647 w 233"/>
              <a:gd name="T85" fmla="*/ 2147483647 h 252"/>
              <a:gd name="T86" fmla="*/ 2147483647 w 233"/>
              <a:gd name="T87" fmla="*/ 2147483647 h 252"/>
              <a:gd name="T88" fmla="*/ 2147483647 w 233"/>
              <a:gd name="T89" fmla="*/ 2147483647 h 252"/>
              <a:gd name="T90" fmla="*/ 2147483647 w 233"/>
              <a:gd name="T91" fmla="*/ 2147483647 h 252"/>
              <a:gd name="T92" fmla="*/ 2147483647 w 233"/>
              <a:gd name="T93" fmla="*/ 2147483647 h 252"/>
              <a:gd name="T94" fmla="*/ 0 w 233"/>
              <a:gd name="T95" fmla="*/ 2147483647 h 252"/>
              <a:gd name="T96" fmla="*/ 2147483647 w 233"/>
              <a:gd name="T97" fmla="*/ 2147483647 h 252"/>
              <a:gd name="T98" fmla="*/ 2147483647 w 233"/>
              <a:gd name="T99" fmla="*/ 2147483647 h 252"/>
              <a:gd name="T100" fmla="*/ 2147483647 w 233"/>
              <a:gd name="T101" fmla="*/ 2147483647 h 252"/>
              <a:gd name="T102" fmla="*/ 2147483647 w 233"/>
              <a:gd name="T103" fmla="*/ 2147483647 h 252"/>
              <a:gd name="T104" fmla="*/ 2147483647 w 233"/>
              <a:gd name="T105" fmla="*/ 2147483647 h 252"/>
              <a:gd name="T106" fmla="*/ 2147483647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2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103553" y="4282703"/>
            <a:ext cx="104775" cy="201612"/>
          </a:xfrm>
          <a:custGeom>
            <a:avLst/>
            <a:gdLst>
              <a:gd name="T0" fmla="*/ 2147483647 w 246"/>
              <a:gd name="T1" fmla="*/ 2147483647 h 380"/>
              <a:gd name="T2" fmla="*/ 2147483647 w 246"/>
              <a:gd name="T3" fmla="*/ 2147483647 h 380"/>
              <a:gd name="T4" fmla="*/ 2147483647 w 246"/>
              <a:gd name="T5" fmla="*/ 2147483647 h 380"/>
              <a:gd name="T6" fmla="*/ 2147483647 w 246"/>
              <a:gd name="T7" fmla="*/ 2147483647 h 380"/>
              <a:gd name="T8" fmla="*/ 2147483647 w 246"/>
              <a:gd name="T9" fmla="*/ 2147483647 h 380"/>
              <a:gd name="T10" fmla="*/ 2147483647 w 246"/>
              <a:gd name="T11" fmla="*/ 2147483647 h 380"/>
              <a:gd name="T12" fmla="*/ 2147483647 w 246"/>
              <a:gd name="T13" fmla="*/ 2147483647 h 380"/>
              <a:gd name="T14" fmla="*/ 2147483647 w 246"/>
              <a:gd name="T15" fmla="*/ 2147483647 h 380"/>
              <a:gd name="T16" fmla="*/ 2147483647 w 246"/>
              <a:gd name="T17" fmla="*/ 2147483647 h 380"/>
              <a:gd name="T18" fmla="*/ 2147483647 w 246"/>
              <a:gd name="T19" fmla="*/ 2147483647 h 380"/>
              <a:gd name="T20" fmla="*/ 2147483647 w 246"/>
              <a:gd name="T21" fmla="*/ 2147483647 h 380"/>
              <a:gd name="T22" fmla="*/ 2147483647 w 246"/>
              <a:gd name="T23" fmla="*/ 2147483647 h 380"/>
              <a:gd name="T24" fmla="*/ 2147483647 w 246"/>
              <a:gd name="T25" fmla="*/ 2147483647 h 380"/>
              <a:gd name="T26" fmla="*/ 2147483647 w 246"/>
              <a:gd name="T27" fmla="*/ 2147483647 h 380"/>
              <a:gd name="T28" fmla="*/ 0 w 246"/>
              <a:gd name="T29" fmla="*/ 2147483647 h 380"/>
              <a:gd name="T30" fmla="*/ 2147483647 w 246"/>
              <a:gd name="T31" fmla="*/ 2147483647 h 380"/>
              <a:gd name="T32" fmla="*/ 2147483647 w 246"/>
              <a:gd name="T33" fmla="*/ 2147483647 h 380"/>
              <a:gd name="T34" fmla="*/ 2147483647 w 246"/>
              <a:gd name="T35" fmla="*/ 2147483647 h 380"/>
              <a:gd name="T36" fmla="*/ 2147483647 w 246"/>
              <a:gd name="T37" fmla="*/ 2147483647 h 380"/>
              <a:gd name="T38" fmla="*/ 2147483647 w 246"/>
              <a:gd name="T39" fmla="*/ 2147483647 h 380"/>
              <a:gd name="T40" fmla="*/ 2147483647 w 246"/>
              <a:gd name="T41" fmla="*/ 2147483647 h 380"/>
              <a:gd name="T42" fmla="*/ 2147483647 w 246"/>
              <a:gd name="T43" fmla="*/ 2147483647 h 380"/>
              <a:gd name="T44" fmla="*/ 2147483647 w 246"/>
              <a:gd name="T45" fmla="*/ 2147483647 h 380"/>
              <a:gd name="T46" fmla="*/ 2147483647 w 246"/>
              <a:gd name="T47" fmla="*/ 2147483647 h 380"/>
              <a:gd name="T48" fmla="*/ 2147483647 w 246"/>
              <a:gd name="T49" fmla="*/ 2147483647 h 380"/>
              <a:gd name="T50" fmla="*/ 2147483647 w 246"/>
              <a:gd name="T51" fmla="*/ 2147483647 h 380"/>
              <a:gd name="T52" fmla="*/ 2147483647 w 246"/>
              <a:gd name="T53" fmla="*/ 2147483647 h 380"/>
              <a:gd name="T54" fmla="*/ 2147483647 w 246"/>
              <a:gd name="T55" fmla="*/ 2147483647 h 380"/>
              <a:gd name="T56" fmla="*/ 2147483647 w 246"/>
              <a:gd name="T57" fmla="*/ 2147483647 h 380"/>
              <a:gd name="T58" fmla="*/ 2147483647 w 246"/>
              <a:gd name="T59" fmla="*/ 2147483647 h 380"/>
              <a:gd name="T60" fmla="*/ 2147483647 w 246"/>
              <a:gd name="T61" fmla="*/ 2147483647 h 380"/>
              <a:gd name="T62" fmla="*/ 2147483647 w 246"/>
              <a:gd name="T63" fmla="*/ 0 h 380"/>
              <a:gd name="T64" fmla="*/ 2147483647 w 246"/>
              <a:gd name="T65" fmla="*/ 0 h 380"/>
              <a:gd name="T66" fmla="*/ 2147483647 w 246"/>
              <a:gd name="T67" fmla="*/ 2147483647 h 380"/>
              <a:gd name="T68" fmla="*/ 2147483647 w 246"/>
              <a:gd name="T69" fmla="*/ 2147483647 h 380"/>
              <a:gd name="T70" fmla="*/ 2147483647 w 246"/>
              <a:gd name="T71" fmla="*/ 2147483647 h 380"/>
              <a:gd name="T72" fmla="*/ 2147483647 w 246"/>
              <a:gd name="T73" fmla="*/ 2147483647 h 380"/>
              <a:gd name="T74" fmla="*/ 2147483647 w 246"/>
              <a:gd name="T75" fmla="*/ 2147483647 h 380"/>
              <a:gd name="T76" fmla="*/ 2147483647 w 246"/>
              <a:gd name="T77" fmla="*/ 2147483647 h 380"/>
              <a:gd name="T78" fmla="*/ 2147483647 w 246"/>
              <a:gd name="T79" fmla="*/ 2147483647 h 380"/>
              <a:gd name="T80" fmla="*/ 2147483647 w 246"/>
              <a:gd name="T81" fmla="*/ 2147483647 h 380"/>
              <a:gd name="T82" fmla="*/ 2147483647 w 246"/>
              <a:gd name="T83" fmla="*/ 2147483647 h 380"/>
              <a:gd name="T84" fmla="*/ 2147483647 w 246"/>
              <a:gd name="T85" fmla="*/ 2147483647 h 380"/>
              <a:gd name="T86" fmla="*/ 2147483647 w 246"/>
              <a:gd name="T87" fmla="*/ 2147483647 h 380"/>
              <a:gd name="T88" fmla="*/ 2147483647 w 246"/>
              <a:gd name="T89" fmla="*/ 2147483647 h 380"/>
              <a:gd name="T90" fmla="*/ 2147483647 w 246"/>
              <a:gd name="T91" fmla="*/ 2147483647 h 380"/>
              <a:gd name="T92" fmla="*/ 2147483647 w 246"/>
              <a:gd name="T93" fmla="*/ 2147483647 h 380"/>
              <a:gd name="T94" fmla="*/ 2147483647 w 246"/>
              <a:gd name="T95" fmla="*/ 2147483647 h 380"/>
              <a:gd name="T96" fmla="*/ 2147483647 w 246"/>
              <a:gd name="T97" fmla="*/ 2147483647 h 380"/>
              <a:gd name="T98" fmla="*/ 2147483647 w 246"/>
              <a:gd name="T99" fmla="*/ 2147483647 h 380"/>
              <a:gd name="T100" fmla="*/ 2147483647 w 246"/>
              <a:gd name="T101" fmla="*/ 2147483647 h 380"/>
              <a:gd name="T102" fmla="*/ 2147483647 w 246"/>
              <a:gd name="T103" fmla="*/ 2147483647 h 380"/>
              <a:gd name="T104" fmla="*/ 2147483647 w 246"/>
              <a:gd name="T105" fmla="*/ 2147483647 h 380"/>
              <a:gd name="T106" fmla="*/ 2147483647 w 246"/>
              <a:gd name="T107" fmla="*/ 2147483647 h 380"/>
              <a:gd name="T108" fmla="*/ 2147483647 w 246"/>
              <a:gd name="T109" fmla="*/ 2147483647 h 380"/>
              <a:gd name="T110" fmla="*/ 2147483647 w 246"/>
              <a:gd name="T111" fmla="*/ 2147483647 h 380"/>
              <a:gd name="T112" fmla="*/ 2147483647 w 246"/>
              <a:gd name="T113" fmla="*/ 2147483647 h 380"/>
              <a:gd name="T114" fmla="*/ 2147483647 w 246"/>
              <a:gd name="T115" fmla="*/ 2147483647 h 380"/>
              <a:gd name="T116" fmla="*/ 2147483647 w 246"/>
              <a:gd name="T117" fmla="*/ 2147483647 h 380"/>
              <a:gd name="T118" fmla="*/ 2147483647 w 246"/>
              <a:gd name="T119" fmla="*/ 2147483647 h 380"/>
              <a:gd name="T120" fmla="*/ 2147483647 w 246"/>
              <a:gd name="T121" fmla="*/ 2147483647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3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755890" y="4198565"/>
            <a:ext cx="87313" cy="58738"/>
          </a:xfrm>
          <a:custGeom>
            <a:avLst/>
            <a:gdLst>
              <a:gd name="T0" fmla="*/ 2147483647 w 193"/>
              <a:gd name="T1" fmla="*/ 2147483647 h 38"/>
              <a:gd name="T2" fmla="*/ 2147483647 w 193"/>
              <a:gd name="T3" fmla="*/ 2147483647 h 38"/>
              <a:gd name="T4" fmla="*/ 2147483647 w 193"/>
              <a:gd name="T5" fmla="*/ 2147483647 h 38"/>
              <a:gd name="T6" fmla="*/ 2147483647 w 193"/>
              <a:gd name="T7" fmla="*/ 2147483647 h 38"/>
              <a:gd name="T8" fmla="*/ 2147483647 w 193"/>
              <a:gd name="T9" fmla="*/ 2147483647 h 38"/>
              <a:gd name="T10" fmla="*/ 2147483647 w 193"/>
              <a:gd name="T11" fmla="*/ 2147483647 h 38"/>
              <a:gd name="T12" fmla="*/ 2147483647 w 193"/>
              <a:gd name="T13" fmla="*/ 0 h 38"/>
              <a:gd name="T14" fmla="*/ 2147483647 w 193"/>
              <a:gd name="T15" fmla="*/ 2147483647 h 38"/>
              <a:gd name="T16" fmla="*/ 2147483647 w 193"/>
              <a:gd name="T17" fmla="*/ 2147483647 h 38"/>
              <a:gd name="T18" fmla="*/ 2147483647 w 193"/>
              <a:gd name="T19" fmla="*/ 2147483647 h 38"/>
              <a:gd name="T20" fmla="*/ 2147483647 w 193"/>
              <a:gd name="T21" fmla="*/ 2147483647 h 38"/>
              <a:gd name="T22" fmla="*/ 2147483647 w 193"/>
              <a:gd name="T23" fmla="*/ 2147483647 h 38"/>
              <a:gd name="T24" fmla="*/ 2147483647 w 193"/>
              <a:gd name="T25" fmla="*/ 2147483647 h 38"/>
              <a:gd name="T26" fmla="*/ 2147483647 w 193"/>
              <a:gd name="T27" fmla="*/ 2147483647 h 38"/>
              <a:gd name="T28" fmla="*/ 2147483647 w 193"/>
              <a:gd name="T29" fmla="*/ 2147483647 h 38"/>
              <a:gd name="T30" fmla="*/ 2147483647 w 193"/>
              <a:gd name="T31" fmla="*/ 2147483647 h 38"/>
              <a:gd name="T32" fmla="*/ 2147483647 w 193"/>
              <a:gd name="T33" fmla="*/ 2147483647 h 38"/>
              <a:gd name="T34" fmla="*/ 2147483647 w 193"/>
              <a:gd name="T35" fmla="*/ 2147483647 h 38"/>
              <a:gd name="T36" fmla="*/ 2147483647 w 193"/>
              <a:gd name="T37" fmla="*/ 2147483647 h 38"/>
              <a:gd name="T38" fmla="*/ 2147483647 w 193"/>
              <a:gd name="T39" fmla="*/ 2147483647 h 38"/>
              <a:gd name="T40" fmla="*/ 2147483647 w 193"/>
              <a:gd name="T41" fmla="*/ 2147483647 h 38"/>
              <a:gd name="T42" fmla="*/ 2147483647 w 193"/>
              <a:gd name="T43" fmla="*/ 2147483647 h 38"/>
              <a:gd name="T44" fmla="*/ 2147483647 w 193"/>
              <a:gd name="T45" fmla="*/ 2147483647 h 38"/>
              <a:gd name="T46" fmla="*/ 2147483647 w 193"/>
              <a:gd name="T47" fmla="*/ 2147483647 h 38"/>
              <a:gd name="T48" fmla="*/ 2147483647 w 193"/>
              <a:gd name="T49" fmla="*/ 2147483647 h 38"/>
              <a:gd name="T50" fmla="*/ 2147483647 w 193"/>
              <a:gd name="T51" fmla="*/ 2147483647 h 38"/>
              <a:gd name="T52" fmla="*/ 2147483647 w 193"/>
              <a:gd name="T53" fmla="*/ 2147483647 h 38"/>
              <a:gd name="T54" fmla="*/ 2147483647 w 193"/>
              <a:gd name="T55" fmla="*/ 2147483647 h 38"/>
              <a:gd name="T56" fmla="*/ 2147483647 w 193"/>
              <a:gd name="T57" fmla="*/ 2147483647 h 38"/>
              <a:gd name="T58" fmla="*/ 2147483647 w 193"/>
              <a:gd name="T59" fmla="*/ 2147483647 h 38"/>
              <a:gd name="T60" fmla="*/ 0 w 193"/>
              <a:gd name="T61" fmla="*/ 2147483647 h 38"/>
              <a:gd name="T62" fmla="*/ 0 w 193"/>
              <a:gd name="T63" fmla="*/ 2147483647 h 38"/>
              <a:gd name="T64" fmla="*/ 2147483647 w 193"/>
              <a:gd name="T65" fmla="*/ 2147483647 h 38"/>
              <a:gd name="T66" fmla="*/ 2147483647 w 193"/>
              <a:gd name="T67" fmla="*/ 2147483647 h 38"/>
              <a:gd name="T68" fmla="*/ 2147483647 w 193"/>
              <a:gd name="T69" fmla="*/ 2147483647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4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181340" y="4276353"/>
            <a:ext cx="42863" cy="155575"/>
          </a:xfrm>
          <a:custGeom>
            <a:avLst/>
            <a:gdLst>
              <a:gd name="T0" fmla="*/ 2147483647 w 99"/>
              <a:gd name="T1" fmla="*/ 2147483647 h 301"/>
              <a:gd name="T2" fmla="*/ 2147483647 w 99"/>
              <a:gd name="T3" fmla="*/ 2147483647 h 301"/>
              <a:gd name="T4" fmla="*/ 2147483647 w 99"/>
              <a:gd name="T5" fmla="*/ 2147483647 h 301"/>
              <a:gd name="T6" fmla="*/ 2147483647 w 99"/>
              <a:gd name="T7" fmla="*/ 2147483647 h 301"/>
              <a:gd name="T8" fmla="*/ 2147483647 w 99"/>
              <a:gd name="T9" fmla="*/ 2147483647 h 301"/>
              <a:gd name="T10" fmla="*/ 2147483647 w 99"/>
              <a:gd name="T11" fmla="*/ 2147483647 h 301"/>
              <a:gd name="T12" fmla="*/ 2147483647 w 99"/>
              <a:gd name="T13" fmla="*/ 2147483647 h 301"/>
              <a:gd name="T14" fmla="*/ 2147483647 w 99"/>
              <a:gd name="T15" fmla="*/ 2147483647 h 301"/>
              <a:gd name="T16" fmla="*/ 2147483647 w 99"/>
              <a:gd name="T17" fmla="*/ 2147483647 h 301"/>
              <a:gd name="T18" fmla="*/ 2147483647 w 99"/>
              <a:gd name="T19" fmla="*/ 2147483647 h 301"/>
              <a:gd name="T20" fmla="*/ 2147483647 w 99"/>
              <a:gd name="T21" fmla="*/ 2147483647 h 301"/>
              <a:gd name="T22" fmla="*/ 2147483647 w 99"/>
              <a:gd name="T23" fmla="*/ 2147483647 h 301"/>
              <a:gd name="T24" fmla="*/ 2147483647 w 99"/>
              <a:gd name="T25" fmla="*/ 2147483647 h 301"/>
              <a:gd name="T26" fmla="*/ 2147483647 w 99"/>
              <a:gd name="T27" fmla="*/ 2147483647 h 301"/>
              <a:gd name="T28" fmla="*/ 2147483647 w 99"/>
              <a:gd name="T29" fmla="*/ 2147483647 h 301"/>
              <a:gd name="T30" fmla="*/ 2147483647 w 99"/>
              <a:gd name="T31" fmla="*/ 2147483647 h 301"/>
              <a:gd name="T32" fmla="*/ 2147483647 w 99"/>
              <a:gd name="T33" fmla="*/ 2147483647 h 301"/>
              <a:gd name="T34" fmla="*/ 2147483647 w 99"/>
              <a:gd name="T35" fmla="*/ 2147483647 h 301"/>
              <a:gd name="T36" fmla="*/ 2147483647 w 99"/>
              <a:gd name="T37" fmla="*/ 2147483647 h 301"/>
              <a:gd name="T38" fmla="*/ 2147483647 w 99"/>
              <a:gd name="T39" fmla="*/ 2147483647 h 301"/>
              <a:gd name="T40" fmla="*/ 2147483647 w 99"/>
              <a:gd name="T41" fmla="*/ 2147483647 h 301"/>
              <a:gd name="T42" fmla="*/ 2147483647 w 99"/>
              <a:gd name="T43" fmla="*/ 2147483647 h 301"/>
              <a:gd name="T44" fmla="*/ 2147483647 w 99"/>
              <a:gd name="T45" fmla="*/ 2147483647 h 301"/>
              <a:gd name="T46" fmla="*/ 2147483647 w 99"/>
              <a:gd name="T47" fmla="*/ 2147483647 h 301"/>
              <a:gd name="T48" fmla="*/ 2147483647 w 99"/>
              <a:gd name="T49" fmla="*/ 2147483647 h 301"/>
              <a:gd name="T50" fmla="*/ 2147483647 w 99"/>
              <a:gd name="T51" fmla="*/ 2147483647 h 301"/>
              <a:gd name="T52" fmla="*/ 2147483647 w 99"/>
              <a:gd name="T53" fmla="*/ 2147483647 h 301"/>
              <a:gd name="T54" fmla="*/ 2147483647 w 99"/>
              <a:gd name="T55" fmla="*/ 2147483647 h 301"/>
              <a:gd name="T56" fmla="*/ 0 w 99"/>
              <a:gd name="T57" fmla="*/ 2147483647 h 301"/>
              <a:gd name="T58" fmla="*/ 2147483647 w 99"/>
              <a:gd name="T59" fmla="*/ 2147483647 h 301"/>
              <a:gd name="T60" fmla="*/ 2147483647 w 99"/>
              <a:gd name="T61" fmla="*/ 0 h 301"/>
              <a:gd name="T62" fmla="*/ 2147483647 w 99"/>
              <a:gd name="T63" fmla="*/ 0 h 301"/>
              <a:gd name="T64" fmla="*/ 2147483647 w 99"/>
              <a:gd name="T65" fmla="*/ 0 h 301"/>
              <a:gd name="T66" fmla="*/ 2147483647 w 99"/>
              <a:gd name="T67" fmla="*/ 0 h 301"/>
              <a:gd name="T68" fmla="*/ 2147483647 w 99"/>
              <a:gd name="T69" fmla="*/ 2147483647 h 301"/>
              <a:gd name="T70" fmla="*/ 2147483647 w 99"/>
              <a:gd name="T71" fmla="*/ 2147483647 h 301"/>
              <a:gd name="T72" fmla="*/ 2147483647 w 99"/>
              <a:gd name="T73" fmla="*/ 2147483647 h 301"/>
              <a:gd name="T74" fmla="*/ 2147483647 w 99"/>
              <a:gd name="T75" fmla="*/ 2147483647 h 301"/>
              <a:gd name="T76" fmla="*/ 2147483647 w 99"/>
              <a:gd name="T77" fmla="*/ 2147483647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5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206740" y="4238253"/>
            <a:ext cx="76200" cy="188912"/>
          </a:xfrm>
          <a:custGeom>
            <a:avLst/>
            <a:gdLst>
              <a:gd name="T0" fmla="*/ 0 w 173"/>
              <a:gd name="T1" fmla="*/ 2147483647 h 357"/>
              <a:gd name="T2" fmla="*/ 2147483647 w 173"/>
              <a:gd name="T3" fmla="*/ 2147483647 h 357"/>
              <a:gd name="T4" fmla="*/ 2147483647 w 173"/>
              <a:gd name="T5" fmla="*/ 2147483647 h 357"/>
              <a:gd name="T6" fmla="*/ 2147483647 w 173"/>
              <a:gd name="T7" fmla="*/ 2147483647 h 357"/>
              <a:gd name="T8" fmla="*/ 2147483647 w 173"/>
              <a:gd name="T9" fmla="*/ 2147483647 h 357"/>
              <a:gd name="T10" fmla="*/ 2147483647 w 173"/>
              <a:gd name="T11" fmla="*/ 2147483647 h 357"/>
              <a:gd name="T12" fmla="*/ 2147483647 w 173"/>
              <a:gd name="T13" fmla="*/ 2147483647 h 357"/>
              <a:gd name="T14" fmla="*/ 2147483647 w 173"/>
              <a:gd name="T15" fmla="*/ 0 h 357"/>
              <a:gd name="T16" fmla="*/ 2147483647 w 173"/>
              <a:gd name="T17" fmla="*/ 2147483647 h 357"/>
              <a:gd name="T18" fmla="*/ 2147483647 w 173"/>
              <a:gd name="T19" fmla="*/ 2147483647 h 357"/>
              <a:gd name="T20" fmla="*/ 2147483647 w 173"/>
              <a:gd name="T21" fmla="*/ 2147483647 h 357"/>
              <a:gd name="T22" fmla="*/ 2147483647 w 173"/>
              <a:gd name="T23" fmla="*/ 2147483647 h 357"/>
              <a:gd name="T24" fmla="*/ 2147483647 w 173"/>
              <a:gd name="T25" fmla="*/ 2147483647 h 357"/>
              <a:gd name="T26" fmla="*/ 2147483647 w 173"/>
              <a:gd name="T27" fmla="*/ 2147483647 h 357"/>
              <a:gd name="T28" fmla="*/ 2147483647 w 173"/>
              <a:gd name="T29" fmla="*/ 2147483647 h 357"/>
              <a:gd name="T30" fmla="*/ 2147483647 w 173"/>
              <a:gd name="T31" fmla="*/ 2147483647 h 357"/>
              <a:gd name="T32" fmla="*/ 2147483647 w 173"/>
              <a:gd name="T33" fmla="*/ 2147483647 h 357"/>
              <a:gd name="T34" fmla="*/ 2147483647 w 173"/>
              <a:gd name="T35" fmla="*/ 2147483647 h 357"/>
              <a:gd name="T36" fmla="*/ 2147483647 w 173"/>
              <a:gd name="T37" fmla="*/ 2147483647 h 357"/>
              <a:gd name="T38" fmla="*/ 2147483647 w 173"/>
              <a:gd name="T39" fmla="*/ 2147483647 h 357"/>
              <a:gd name="T40" fmla="*/ 2147483647 w 173"/>
              <a:gd name="T41" fmla="*/ 2147483647 h 357"/>
              <a:gd name="T42" fmla="*/ 2147483647 w 173"/>
              <a:gd name="T43" fmla="*/ 2147483647 h 357"/>
              <a:gd name="T44" fmla="*/ 2147483647 w 173"/>
              <a:gd name="T45" fmla="*/ 2147483647 h 357"/>
              <a:gd name="T46" fmla="*/ 2147483647 w 173"/>
              <a:gd name="T47" fmla="*/ 2147483647 h 357"/>
              <a:gd name="T48" fmla="*/ 2147483647 w 173"/>
              <a:gd name="T49" fmla="*/ 2147483647 h 357"/>
              <a:gd name="T50" fmla="*/ 2147483647 w 173"/>
              <a:gd name="T51" fmla="*/ 2147483647 h 357"/>
              <a:gd name="T52" fmla="*/ 2147483647 w 173"/>
              <a:gd name="T53" fmla="*/ 2147483647 h 357"/>
              <a:gd name="T54" fmla="*/ 2147483647 w 173"/>
              <a:gd name="T55" fmla="*/ 2147483647 h 357"/>
              <a:gd name="T56" fmla="*/ 2147483647 w 173"/>
              <a:gd name="T57" fmla="*/ 2147483647 h 357"/>
              <a:gd name="T58" fmla="*/ 2147483647 w 173"/>
              <a:gd name="T59" fmla="*/ 2147483647 h 357"/>
              <a:gd name="T60" fmla="*/ 2147483647 w 173"/>
              <a:gd name="T61" fmla="*/ 2147483647 h 357"/>
              <a:gd name="T62" fmla="*/ 2147483647 w 173"/>
              <a:gd name="T63" fmla="*/ 2147483647 h 357"/>
              <a:gd name="T64" fmla="*/ 2147483647 w 173"/>
              <a:gd name="T65" fmla="*/ 2147483647 h 357"/>
              <a:gd name="T66" fmla="*/ 2147483647 w 173"/>
              <a:gd name="T67" fmla="*/ 2147483647 h 357"/>
              <a:gd name="T68" fmla="*/ 2147483647 w 173"/>
              <a:gd name="T69" fmla="*/ 2147483647 h 357"/>
              <a:gd name="T70" fmla="*/ 2147483647 w 173"/>
              <a:gd name="T71" fmla="*/ 2147483647 h 357"/>
              <a:gd name="T72" fmla="*/ 2147483647 w 173"/>
              <a:gd name="T73" fmla="*/ 2147483647 h 357"/>
              <a:gd name="T74" fmla="*/ 2147483647 w 173"/>
              <a:gd name="T75" fmla="*/ 2147483647 h 357"/>
              <a:gd name="T76" fmla="*/ 2147483647 w 173"/>
              <a:gd name="T77" fmla="*/ 2147483647 h 357"/>
              <a:gd name="T78" fmla="*/ 2147483647 w 173"/>
              <a:gd name="T79" fmla="*/ 2147483647 h 357"/>
              <a:gd name="T80" fmla="*/ 2147483647 w 173"/>
              <a:gd name="T81" fmla="*/ 2147483647 h 357"/>
              <a:gd name="T82" fmla="*/ 2147483647 w 173"/>
              <a:gd name="T83" fmla="*/ 2147483647 h 357"/>
              <a:gd name="T84" fmla="*/ 2147483647 w 173"/>
              <a:gd name="T85" fmla="*/ 2147483647 h 357"/>
              <a:gd name="T86" fmla="*/ 2147483647 w 173"/>
              <a:gd name="T87" fmla="*/ 2147483647 h 357"/>
              <a:gd name="T88" fmla="*/ 2147483647 w 173"/>
              <a:gd name="T89" fmla="*/ 2147483647 h 357"/>
              <a:gd name="T90" fmla="*/ 2147483647 w 173"/>
              <a:gd name="T91" fmla="*/ 2147483647 h 357"/>
              <a:gd name="T92" fmla="*/ 2147483647 w 173"/>
              <a:gd name="T93" fmla="*/ 2147483647 h 357"/>
              <a:gd name="T94" fmla="*/ 2147483647 w 173"/>
              <a:gd name="T95" fmla="*/ 2147483647 h 357"/>
              <a:gd name="T96" fmla="*/ 2147483647 w 173"/>
              <a:gd name="T97" fmla="*/ 2147483647 h 357"/>
              <a:gd name="T98" fmla="*/ 2147483647 w 173"/>
              <a:gd name="T99" fmla="*/ 2147483647 h 357"/>
              <a:gd name="T100" fmla="*/ 2147483647 w 173"/>
              <a:gd name="T101" fmla="*/ 2147483647 h 357"/>
              <a:gd name="T102" fmla="*/ 2147483647 w 173"/>
              <a:gd name="T103" fmla="*/ 2147483647 h 357"/>
              <a:gd name="T104" fmla="*/ 2147483647 w 173"/>
              <a:gd name="T105" fmla="*/ 2147483647 h 357"/>
              <a:gd name="T106" fmla="*/ 2147483647 w 173"/>
              <a:gd name="T107" fmla="*/ 2147483647 h 357"/>
              <a:gd name="T108" fmla="*/ 2147483647 w 173"/>
              <a:gd name="T109" fmla="*/ 2147483647 h 357"/>
              <a:gd name="T110" fmla="*/ 2147483647 w 173"/>
              <a:gd name="T111" fmla="*/ 2147483647 h 357"/>
              <a:gd name="T112" fmla="*/ 2147483647 w 173"/>
              <a:gd name="T113" fmla="*/ 2147483647 h 357"/>
              <a:gd name="T114" fmla="*/ 2147483647 w 173"/>
              <a:gd name="T115" fmla="*/ 2147483647 h 357"/>
              <a:gd name="T116" fmla="*/ 2147483647 w 173"/>
              <a:gd name="T117" fmla="*/ 2147483647 h 357"/>
              <a:gd name="T118" fmla="*/ 0 w 173"/>
              <a:gd name="T119" fmla="*/ 2147483647 h 357"/>
              <a:gd name="T120" fmla="*/ 0 w 173"/>
              <a:gd name="T121" fmla="*/ 2147483647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6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935403" y="5443165"/>
            <a:ext cx="25400" cy="60325"/>
          </a:xfrm>
          <a:custGeom>
            <a:avLst/>
            <a:gdLst>
              <a:gd name="T0" fmla="*/ 2147483647 w 50"/>
              <a:gd name="T1" fmla="*/ 0 h 74"/>
              <a:gd name="T2" fmla="*/ 2147483647 w 50"/>
              <a:gd name="T3" fmla="*/ 2147483647 h 74"/>
              <a:gd name="T4" fmla="*/ 2147483647 w 50"/>
              <a:gd name="T5" fmla="*/ 2147483647 h 74"/>
              <a:gd name="T6" fmla="*/ 0 w 50"/>
              <a:gd name="T7" fmla="*/ 2147483647 h 74"/>
              <a:gd name="T8" fmla="*/ 0 w 50"/>
              <a:gd name="T9" fmla="*/ 2147483647 h 74"/>
              <a:gd name="T10" fmla="*/ 0 w 50"/>
              <a:gd name="T11" fmla="*/ 2147483647 h 74"/>
              <a:gd name="T12" fmla="*/ 2147483647 w 50"/>
              <a:gd name="T13" fmla="*/ 2147483647 h 74"/>
              <a:gd name="T14" fmla="*/ 2147483647 w 50"/>
              <a:gd name="T15" fmla="*/ 2147483647 h 74"/>
              <a:gd name="T16" fmla="*/ 2147483647 w 50"/>
              <a:gd name="T17" fmla="*/ 2147483647 h 74"/>
              <a:gd name="T18" fmla="*/ 2147483647 w 50"/>
              <a:gd name="T19" fmla="*/ 2147483647 h 74"/>
              <a:gd name="T20" fmla="*/ 2147483647 w 50"/>
              <a:gd name="T21" fmla="*/ 2147483647 h 74"/>
              <a:gd name="T22" fmla="*/ 2147483647 w 50"/>
              <a:gd name="T23" fmla="*/ 2147483647 h 74"/>
              <a:gd name="T24" fmla="*/ 2147483647 w 50"/>
              <a:gd name="T25" fmla="*/ 2147483647 h 74"/>
              <a:gd name="T26" fmla="*/ 2147483647 w 50"/>
              <a:gd name="T27" fmla="*/ 0 h 74"/>
              <a:gd name="T28" fmla="*/ 2147483647 w 50"/>
              <a:gd name="T29" fmla="*/ 0 h 74"/>
              <a:gd name="T30" fmla="*/ 2147483647 w 50"/>
              <a:gd name="T31" fmla="*/ 0 h 74"/>
              <a:gd name="T32" fmla="*/ 2147483647 w 50"/>
              <a:gd name="T33" fmla="*/ 0 h 74"/>
              <a:gd name="T34" fmla="*/ 2147483647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7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830628" y="5540003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8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7048365" y="3254003"/>
            <a:ext cx="120650" cy="171450"/>
          </a:xfrm>
          <a:custGeom>
            <a:avLst/>
            <a:gdLst>
              <a:gd name="T0" fmla="*/ 2147483647 w 266"/>
              <a:gd name="T1" fmla="*/ 2147483647 h 326"/>
              <a:gd name="T2" fmla="*/ 2147483647 w 266"/>
              <a:gd name="T3" fmla="*/ 2147483647 h 326"/>
              <a:gd name="T4" fmla="*/ 2147483647 w 266"/>
              <a:gd name="T5" fmla="*/ 2147483647 h 326"/>
              <a:gd name="T6" fmla="*/ 2147483647 w 266"/>
              <a:gd name="T7" fmla="*/ 2147483647 h 326"/>
              <a:gd name="T8" fmla="*/ 2147483647 w 266"/>
              <a:gd name="T9" fmla="*/ 2147483647 h 326"/>
              <a:gd name="T10" fmla="*/ 2147483647 w 266"/>
              <a:gd name="T11" fmla="*/ 2147483647 h 326"/>
              <a:gd name="T12" fmla="*/ 2147483647 w 266"/>
              <a:gd name="T13" fmla="*/ 2147483647 h 326"/>
              <a:gd name="T14" fmla="*/ 2147483647 w 266"/>
              <a:gd name="T15" fmla="*/ 2147483647 h 326"/>
              <a:gd name="T16" fmla="*/ 2147483647 w 266"/>
              <a:gd name="T17" fmla="*/ 2147483647 h 326"/>
              <a:gd name="T18" fmla="*/ 2147483647 w 266"/>
              <a:gd name="T19" fmla="*/ 2147483647 h 326"/>
              <a:gd name="T20" fmla="*/ 2147483647 w 266"/>
              <a:gd name="T21" fmla="*/ 2147483647 h 326"/>
              <a:gd name="T22" fmla="*/ 2147483647 w 266"/>
              <a:gd name="T23" fmla="*/ 2147483647 h 326"/>
              <a:gd name="T24" fmla="*/ 2147483647 w 266"/>
              <a:gd name="T25" fmla="*/ 2147483647 h 326"/>
              <a:gd name="T26" fmla="*/ 2147483647 w 266"/>
              <a:gd name="T27" fmla="*/ 2147483647 h 326"/>
              <a:gd name="T28" fmla="*/ 2147483647 w 266"/>
              <a:gd name="T29" fmla="*/ 2147483647 h 326"/>
              <a:gd name="T30" fmla="*/ 2147483647 w 266"/>
              <a:gd name="T31" fmla="*/ 2147483647 h 326"/>
              <a:gd name="T32" fmla="*/ 2147483647 w 266"/>
              <a:gd name="T33" fmla="*/ 2147483647 h 326"/>
              <a:gd name="T34" fmla="*/ 2147483647 w 266"/>
              <a:gd name="T35" fmla="*/ 2147483647 h 326"/>
              <a:gd name="T36" fmla="*/ 2147483647 w 266"/>
              <a:gd name="T37" fmla="*/ 2147483647 h 326"/>
              <a:gd name="T38" fmla="*/ 2147483647 w 266"/>
              <a:gd name="T39" fmla="*/ 2147483647 h 326"/>
              <a:gd name="T40" fmla="*/ 2147483647 w 266"/>
              <a:gd name="T41" fmla="*/ 2147483647 h 326"/>
              <a:gd name="T42" fmla="*/ 2147483647 w 266"/>
              <a:gd name="T43" fmla="*/ 2147483647 h 326"/>
              <a:gd name="T44" fmla="*/ 2147483647 w 266"/>
              <a:gd name="T45" fmla="*/ 2147483647 h 326"/>
              <a:gd name="T46" fmla="*/ 2147483647 w 266"/>
              <a:gd name="T47" fmla="*/ 2147483647 h 326"/>
              <a:gd name="T48" fmla="*/ 2147483647 w 266"/>
              <a:gd name="T49" fmla="*/ 2147483647 h 326"/>
              <a:gd name="T50" fmla="*/ 2147483647 w 266"/>
              <a:gd name="T51" fmla="*/ 2147483647 h 326"/>
              <a:gd name="T52" fmla="*/ 2147483647 w 266"/>
              <a:gd name="T53" fmla="*/ 2147483647 h 326"/>
              <a:gd name="T54" fmla="*/ 2147483647 w 266"/>
              <a:gd name="T55" fmla="*/ 2147483647 h 326"/>
              <a:gd name="T56" fmla="*/ 2147483647 w 266"/>
              <a:gd name="T57" fmla="*/ 2147483647 h 326"/>
              <a:gd name="T58" fmla="*/ 2147483647 w 266"/>
              <a:gd name="T59" fmla="*/ 2147483647 h 326"/>
              <a:gd name="T60" fmla="*/ 2147483647 w 266"/>
              <a:gd name="T61" fmla="*/ 2147483647 h 326"/>
              <a:gd name="T62" fmla="*/ 2147483647 w 266"/>
              <a:gd name="T63" fmla="*/ 2147483647 h 326"/>
              <a:gd name="T64" fmla="*/ 2147483647 w 266"/>
              <a:gd name="T65" fmla="*/ 2147483647 h 326"/>
              <a:gd name="T66" fmla="*/ 2147483647 w 266"/>
              <a:gd name="T67" fmla="*/ 2147483647 h 326"/>
              <a:gd name="T68" fmla="*/ 2147483647 w 266"/>
              <a:gd name="T69" fmla="*/ 2147483647 h 326"/>
              <a:gd name="T70" fmla="*/ 2147483647 w 266"/>
              <a:gd name="T71" fmla="*/ 2147483647 h 326"/>
              <a:gd name="T72" fmla="*/ 2147483647 w 266"/>
              <a:gd name="T73" fmla="*/ 2147483647 h 326"/>
              <a:gd name="T74" fmla="*/ 2147483647 w 266"/>
              <a:gd name="T75" fmla="*/ 2147483647 h 326"/>
              <a:gd name="T76" fmla="*/ 2147483647 w 266"/>
              <a:gd name="T77" fmla="*/ 2147483647 h 326"/>
              <a:gd name="T78" fmla="*/ 2147483647 w 266"/>
              <a:gd name="T79" fmla="*/ 2147483647 h 326"/>
              <a:gd name="T80" fmla="*/ 2147483647 w 266"/>
              <a:gd name="T81" fmla="*/ 2147483647 h 326"/>
              <a:gd name="T82" fmla="*/ 2147483647 w 266"/>
              <a:gd name="T83" fmla="*/ 2147483647 h 326"/>
              <a:gd name="T84" fmla="*/ 2147483647 w 266"/>
              <a:gd name="T85" fmla="*/ 2147483647 h 326"/>
              <a:gd name="T86" fmla="*/ 2147483647 w 266"/>
              <a:gd name="T87" fmla="*/ 2147483647 h 326"/>
              <a:gd name="T88" fmla="*/ 2147483647 w 266"/>
              <a:gd name="T89" fmla="*/ 2147483647 h 326"/>
              <a:gd name="T90" fmla="*/ 2147483647 w 266"/>
              <a:gd name="T91" fmla="*/ 2147483647 h 326"/>
              <a:gd name="T92" fmla="*/ 2147483647 w 266"/>
              <a:gd name="T93" fmla="*/ 2147483647 h 326"/>
              <a:gd name="T94" fmla="*/ 2147483647 w 266"/>
              <a:gd name="T95" fmla="*/ 2147483647 h 326"/>
              <a:gd name="T96" fmla="*/ 2147483647 w 266"/>
              <a:gd name="T97" fmla="*/ 2147483647 h 326"/>
              <a:gd name="T98" fmla="*/ 2147483647 w 266"/>
              <a:gd name="T99" fmla="*/ 2147483647 h 326"/>
              <a:gd name="T100" fmla="*/ 2147483647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9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119678" y="3668340"/>
            <a:ext cx="206375" cy="123825"/>
          </a:xfrm>
          <a:custGeom>
            <a:avLst/>
            <a:gdLst>
              <a:gd name="T0" fmla="*/ 2147483647 w 471"/>
              <a:gd name="T1" fmla="*/ 0 h 237"/>
              <a:gd name="T2" fmla="*/ 2147483647 w 471"/>
              <a:gd name="T3" fmla="*/ 2147483647 h 237"/>
              <a:gd name="T4" fmla="*/ 2147483647 w 471"/>
              <a:gd name="T5" fmla="*/ 2147483647 h 237"/>
              <a:gd name="T6" fmla="*/ 2147483647 w 471"/>
              <a:gd name="T7" fmla="*/ 2147483647 h 237"/>
              <a:gd name="T8" fmla="*/ 2147483647 w 471"/>
              <a:gd name="T9" fmla="*/ 2147483647 h 237"/>
              <a:gd name="T10" fmla="*/ 2147483647 w 471"/>
              <a:gd name="T11" fmla="*/ 2147483647 h 237"/>
              <a:gd name="T12" fmla="*/ 2147483647 w 471"/>
              <a:gd name="T13" fmla="*/ 2147483647 h 237"/>
              <a:gd name="T14" fmla="*/ 2147483647 w 471"/>
              <a:gd name="T15" fmla="*/ 2147483647 h 237"/>
              <a:gd name="T16" fmla="*/ 2147483647 w 471"/>
              <a:gd name="T17" fmla="*/ 2147483647 h 237"/>
              <a:gd name="T18" fmla="*/ 2147483647 w 471"/>
              <a:gd name="T19" fmla="*/ 2147483647 h 237"/>
              <a:gd name="T20" fmla="*/ 2147483647 w 471"/>
              <a:gd name="T21" fmla="*/ 2147483647 h 237"/>
              <a:gd name="T22" fmla="*/ 2147483647 w 471"/>
              <a:gd name="T23" fmla="*/ 2147483647 h 237"/>
              <a:gd name="T24" fmla="*/ 2147483647 w 471"/>
              <a:gd name="T25" fmla="*/ 2147483647 h 237"/>
              <a:gd name="T26" fmla="*/ 2147483647 w 471"/>
              <a:gd name="T27" fmla="*/ 2147483647 h 237"/>
              <a:gd name="T28" fmla="*/ 2147483647 w 471"/>
              <a:gd name="T29" fmla="*/ 2147483647 h 237"/>
              <a:gd name="T30" fmla="*/ 2147483647 w 471"/>
              <a:gd name="T31" fmla="*/ 2147483647 h 237"/>
              <a:gd name="T32" fmla="*/ 2147483647 w 471"/>
              <a:gd name="T33" fmla="*/ 2147483647 h 237"/>
              <a:gd name="T34" fmla="*/ 2147483647 w 471"/>
              <a:gd name="T35" fmla="*/ 2147483647 h 237"/>
              <a:gd name="T36" fmla="*/ 2147483647 w 471"/>
              <a:gd name="T37" fmla="*/ 2147483647 h 237"/>
              <a:gd name="T38" fmla="*/ 2147483647 w 471"/>
              <a:gd name="T39" fmla="*/ 2147483647 h 237"/>
              <a:gd name="T40" fmla="*/ 2147483647 w 471"/>
              <a:gd name="T41" fmla="*/ 2147483647 h 237"/>
              <a:gd name="T42" fmla="*/ 2147483647 w 471"/>
              <a:gd name="T43" fmla="*/ 2147483647 h 237"/>
              <a:gd name="T44" fmla="*/ 2147483647 w 471"/>
              <a:gd name="T45" fmla="*/ 2147483647 h 237"/>
              <a:gd name="T46" fmla="*/ 2147483647 w 471"/>
              <a:gd name="T47" fmla="*/ 2147483647 h 237"/>
              <a:gd name="T48" fmla="*/ 2147483647 w 471"/>
              <a:gd name="T49" fmla="*/ 2147483647 h 237"/>
              <a:gd name="T50" fmla="*/ 2147483647 w 471"/>
              <a:gd name="T51" fmla="*/ 2147483647 h 237"/>
              <a:gd name="T52" fmla="*/ 2147483647 w 471"/>
              <a:gd name="T53" fmla="*/ 2147483647 h 237"/>
              <a:gd name="T54" fmla="*/ 2147483647 w 471"/>
              <a:gd name="T55" fmla="*/ 2147483647 h 237"/>
              <a:gd name="T56" fmla="*/ 2147483647 w 471"/>
              <a:gd name="T57" fmla="*/ 2147483647 h 237"/>
              <a:gd name="T58" fmla="*/ 2147483647 w 471"/>
              <a:gd name="T59" fmla="*/ 2147483647 h 237"/>
              <a:gd name="T60" fmla="*/ 2147483647 w 471"/>
              <a:gd name="T61" fmla="*/ 2147483647 h 237"/>
              <a:gd name="T62" fmla="*/ 2147483647 w 471"/>
              <a:gd name="T63" fmla="*/ 2147483647 h 237"/>
              <a:gd name="T64" fmla="*/ 2147483647 w 471"/>
              <a:gd name="T65" fmla="*/ 2147483647 h 237"/>
              <a:gd name="T66" fmla="*/ 2147483647 w 471"/>
              <a:gd name="T67" fmla="*/ 2147483647 h 237"/>
              <a:gd name="T68" fmla="*/ 2147483647 w 471"/>
              <a:gd name="T69" fmla="*/ 2147483647 h 237"/>
              <a:gd name="T70" fmla="*/ 2147483647 w 471"/>
              <a:gd name="T71" fmla="*/ 2147483647 h 237"/>
              <a:gd name="T72" fmla="*/ 2147483647 w 471"/>
              <a:gd name="T73" fmla="*/ 2147483647 h 237"/>
              <a:gd name="T74" fmla="*/ 21474836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0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335578" y="3723903"/>
            <a:ext cx="73025" cy="65087"/>
          </a:xfrm>
          <a:custGeom>
            <a:avLst/>
            <a:gdLst>
              <a:gd name="T0" fmla="*/ 2147483647 w 167"/>
              <a:gd name="T1" fmla="*/ 2147483647 h 123"/>
              <a:gd name="T2" fmla="*/ 2147483647 w 167"/>
              <a:gd name="T3" fmla="*/ 2147483647 h 123"/>
              <a:gd name="T4" fmla="*/ 2147483647 w 167"/>
              <a:gd name="T5" fmla="*/ 2147483647 h 123"/>
              <a:gd name="T6" fmla="*/ 2147483647 w 167"/>
              <a:gd name="T7" fmla="*/ 2147483647 h 123"/>
              <a:gd name="T8" fmla="*/ 2147483647 w 167"/>
              <a:gd name="T9" fmla="*/ 2147483647 h 123"/>
              <a:gd name="T10" fmla="*/ 2147483647 w 167"/>
              <a:gd name="T11" fmla="*/ 2147483647 h 123"/>
              <a:gd name="T12" fmla="*/ 2147483647 w 167"/>
              <a:gd name="T13" fmla="*/ 2147483647 h 123"/>
              <a:gd name="T14" fmla="*/ 2147483647 w 167"/>
              <a:gd name="T15" fmla="*/ 2147483647 h 123"/>
              <a:gd name="T16" fmla="*/ 2147483647 w 167"/>
              <a:gd name="T17" fmla="*/ 2147483647 h 123"/>
              <a:gd name="T18" fmla="*/ 2147483647 w 167"/>
              <a:gd name="T19" fmla="*/ 2147483647 h 123"/>
              <a:gd name="T20" fmla="*/ 2147483647 w 167"/>
              <a:gd name="T21" fmla="*/ 2147483647 h 123"/>
              <a:gd name="T22" fmla="*/ 2147483647 w 167"/>
              <a:gd name="T23" fmla="*/ 2147483647 h 123"/>
              <a:gd name="T24" fmla="*/ 2147483647 w 167"/>
              <a:gd name="T25" fmla="*/ 2147483647 h 123"/>
              <a:gd name="T26" fmla="*/ 2147483647 w 167"/>
              <a:gd name="T27" fmla="*/ 2147483647 h 123"/>
              <a:gd name="T28" fmla="*/ 2147483647 w 167"/>
              <a:gd name="T29" fmla="*/ 2147483647 h 123"/>
              <a:gd name="T30" fmla="*/ 2147483647 w 167"/>
              <a:gd name="T31" fmla="*/ 2147483647 h 123"/>
              <a:gd name="T32" fmla="*/ 2147483647 w 167"/>
              <a:gd name="T33" fmla="*/ 2147483647 h 123"/>
              <a:gd name="T34" fmla="*/ 2147483647 w 167"/>
              <a:gd name="T35" fmla="*/ 2147483647 h 123"/>
              <a:gd name="T36" fmla="*/ 2147483647 w 167"/>
              <a:gd name="T37" fmla="*/ 2147483647 h 123"/>
              <a:gd name="T38" fmla="*/ 2147483647 w 167"/>
              <a:gd name="T39" fmla="*/ 2147483647 h 123"/>
              <a:gd name="T40" fmla="*/ 2147483647 w 167"/>
              <a:gd name="T41" fmla="*/ 2147483647 h 123"/>
              <a:gd name="T42" fmla="*/ 2147483647 w 167"/>
              <a:gd name="T43" fmla="*/ 2147483647 h 123"/>
              <a:gd name="T44" fmla="*/ 2147483647 w 167"/>
              <a:gd name="T45" fmla="*/ 2147483647 h 123"/>
              <a:gd name="T46" fmla="*/ 2147483647 w 167"/>
              <a:gd name="T47" fmla="*/ 2147483647 h 123"/>
              <a:gd name="T48" fmla="*/ 0 w 167"/>
              <a:gd name="T49" fmla="*/ 2147483647 h 123"/>
              <a:gd name="T50" fmla="*/ 2147483647 w 167"/>
              <a:gd name="T51" fmla="*/ 2147483647 h 123"/>
              <a:gd name="T52" fmla="*/ 2147483647 w 167"/>
              <a:gd name="T53" fmla="*/ 2147483647 h 123"/>
              <a:gd name="T54" fmla="*/ 2147483647 w 167"/>
              <a:gd name="T55" fmla="*/ 2147483647 h 123"/>
              <a:gd name="T56" fmla="*/ 2147483647 w 167"/>
              <a:gd name="T57" fmla="*/ 2147483647 h 123"/>
              <a:gd name="T58" fmla="*/ 2147483647 w 167"/>
              <a:gd name="T59" fmla="*/ 2147483647 h 123"/>
              <a:gd name="T60" fmla="*/ 2147483647 w 167"/>
              <a:gd name="T61" fmla="*/ 2147483647 h 123"/>
              <a:gd name="T62" fmla="*/ 2147483647 w 167"/>
              <a:gd name="T63" fmla="*/ 2147483647 h 123"/>
              <a:gd name="T64" fmla="*/ 2147483647 w 167"/>
              <a:gd name="T65" fmla="*/ 2147483647 h 123"/>
              <a:gd name="T66" fmla="*/ 2147483647 w 167"/>
              <a:gd name="T67" fmla="*/ 2147483647 h 123"/>
              <a:gd name="T68" fmla="*/ 2147483647 w 167"/>
              <a:gd name="T69" fmla="*/ 2147483647 h 123"/>
              <a:gd name="T70" fmla="*/ 2147483647 w 167"/>
              <a:gd name="T71" fmla="*/ 2147483647 h 123"/>
              <a:gd name="T72" fmla="*/ 2147483647 w 167"/>
              <a:gd name="T73" fmla="*/ 0 h 123"/>
              <a:gd name="T74" fmla="*/ 2147483647 w 167"/>
              <a:gd name="T75" fmla="*/ 2147483647 h 123"/>
              <a:gd name="T76" fmla="*/ 2147483647 w 167"/>
              <a:gd name="T77" fmla="*/ 2147483647 h 123"/>
              <a:gd name="T78" fmla="*/ 2147483647 w 167"/>
              <a:gd name="T79" fmla="*/ 2147483647 h 123"/>
              <a:gd name="T80" fmla="*/ 2147483647 w 167"/>
              <a:gd name="T81" fmla="*/ 2147483647 h 123"/>
              <a:gd name="T82" fmla="*/ 2147483647 w 167"/>
              <a:gd name="T83" fmla="*/ 2147483647 h 123"/>
              <a:gd name="T84" fmla="*/ 2147483647 w 167"/>
              <a:gd name="T85" fmla="*/ 2147483647 h 123"/>
              <a:gd name="T86" fmla="*/ 2147483647 w 167"/>
              <a:gd name="T87" fmla="*/ 2147483647 h 123"/>
              <a:gd name="T88" fmla="*/ 2147483647 w 167"/>
              <a:gd name="T89" fmla="*/ 2147483647 h 123"/>
              <a:gd name="T90" fmla="*/ 2147483647 w 167"/>
              <a:gd name="T91" fmla="*/ 2147483647 h 123"/>
              <a:gd name="T92" fmla="*/ 2147483647 w 167"/>
              <a:gd name="T93" fmla="*/ 2147483647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1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326053" y="3795340"/>
            <a:ext cx="133350" cy="166688"/>
          </a:xfrm>
          <a:custGeom>
            <a:avLst/>
            <a:gdLst>
              <a:gd name="T0" fmla="*/ 2147483647 w 306"/>
              <a:gd name="T1" fmla="*/ 2147483647 h 321"/>
              <a:gd name="T2" fmla="*/ 2147483647 w 306"/>
              <a:gd name="T3" fmla="*/ 2147483647 h 321"/>
              <a:gd name="T4" fmla="*/ 2147483647 w 306"/>
              <a:gd name="T5" fmla="*/ 2147483647 h 321"/>
              <a:gd name="T6" fmla="*/ 2147483647 w 306"/>
              <a:gd name="T7" fmla="*/ 2147483647 h 321"/>
              <a:gd name="T8" fmla="*/ 2147483647 w 306"/>
              <a:gd name="T9" fmla="*/ 2147483647 h 321"/>
              <a:gd name="T10" fmla="*/ 2147483647 w 306"/>
              <a:gd name="T11" fmla="*/ 2147483647 h 321"/>
              <a:gd name="T12" fmla="*/ 2147483647 w 306"/>
              <a:gd name="T13" fmla="*/ 2147483647 h 321"/>
              <a:gd name="T14" fmla="*/ 2147483647 w 306"/>
              <a:gd name="T15" fmla="*/ 2147483647 h 321"/>
              <a:gd name="T16" fmla="*/ 2147483647 w 306"/>
              <a:gd name="T17" fmla="*/ 2147483647 h 321"/>
              <a:gd name="T18" fmla="*/ 2147483647 w 306"/>
              <a:gd name="T19" fmla="*/ 2147483647 h 321"/>
              <a:gd name="T20" fmla="*/ 2147483647 w 306"/>
              <a:gd name="T21" fmla="*/ 2147483647 h 321"/>
              <a:gd name="T22" fmla="*/ 2147483647 w 306"/>
              <a:gd name="T23" fmla="*/ 2147483647 h 321"/>
              <a:gd name="T24" fmla="*/ 2147483647 w 306"/>
              <a:gd name="T25" fmla="*/ 2147483647 h 321"/>
              <a:gd name="T26" fmla="*/ 2147483647 w 306"/>
              <a:gd name="T27" fmla="*/ 2147483647 h 321"/>
              <a:gd name="T28" fmla="*/ 2147483647 w 306"/>
              <a:gd name="T29" fmla="*/ 2147483647 h 321"/>
              <a:gd name="T30" fmla="*/ 2147483647 w 306"/>
              <a:gd name="T31" fmla="*/ 2147483647 h 321"/>
              <a:gd name="T32" fmla="*/ 2147483647 w 306"/>
              <a:gd name="T33" fmla="*/ 2147483647 h 321"/>
              <a:gd name="T34" fmla="*/ 2147483647 w 306"/>
              <a:gd name="T35" fmla="*/ 2147483647 h 321"/>
              <a:gd name="T36" fmla="*/ 2147483647 w 306"/>
              <a:gd name="T37" fmla="*/ 2147483647 h 321"/>
              <a:gd name="T38" fmla="*/ 2147483647 w 306"/>
              <a:gd name="T39" fmla="*/ 2147483647 h 321"/>
              <a:gd name="T40" fmla="*/ 2147483647 w 306"/>
              <a:gd name="T41" fmla="*/ 2147483647 h 321"/>
              <a:gd name="T42" fmla="*/ 2147483647 w 306"/>
              <a:gd name="T43" fmla="*/ 2147483647 h 321"/>
              <a:gd name="T44" fmla="*/ 2147483647 w 306"/>
              <a:gd name="T45" fmla="*/ 0 h 321"/>
              <a:gd name="T46" fmla="*/ 2147483647 w 306"/>
              <a:gd name="T47" fmla="*/ 0 h 321"/>
              <a:gd name="T48" fmla="*/ 2147483647 w 306"/>
              <a:gd name="T49" fmla="*/ 2147483647 h 321"/>
              <a:gd name="T50" fmla="*/ 2147483647 w 306"/>
              <a:gd name="T51" fmla="*/ 2147483647 h 321"/>
              <a:gd name="T52" fmla="*/ 2147483647 w 306"/>
              <a:gd name="T53" fmla="*/ 2147483647 h 321"/>
              <a:gd name="T54" fmla="*/ 2147483647 w 306"/>
              <a:gd name="T55" fmla="*/ 2147483647 h 321"/>
              <a:gd name="T56" fmla="*/ 2147483647 w 306"/>
              <a:gd name="T57" fmla="*/ 2147483647 h 321"/>
              <a:gd name="T58" fmla="*/ 2147483647 w 306"/>
              <a:gd name="T59" fmla="*/ 2147483647 h 321"/>
              <a:gd name="T60" fmla="*/ 2147483647 w 306"/>
              <a:gd name="T61" fmla="*/ 2147483647 h 321"/>
              <a:gd name="T62" fmla="*/ 2147483647 w 306"/>
              <a:gd name="T63" fmla="*/ 2147483647 h 321"/>
              <a:gd name="T64" fmla="*/ 2147483647 w 306"/>
              <a:gd name="T65" fmla="*/ 2147483647 h 321"/>
              <a:gd name="T66" fmla="*/ 2147483647 w 306"/>
              <a:gd name="T67" fmla="*/ 2147483647 h 321"/>
              <a:gd name="T68" fmla="*/ 2147483647 w 306"/>
              <a:gd name="T69" fmla="*/ 2147483647 h 321"/>
              <a:gd name="T70" fmla="*/ 2147483647 w 306"/>
              <a:gd name="T71" fmla="*/ 2147483647 h 321"/>
              <a:gd name="T72" fmla="*/ 2147483647 w 306"/>
              <a:gd name="T73" fmla="*/ 2147483647 h 321"/>
              <a:gd name="T74" fmla="*/ 2147483647 w 306"/>
              <a:gd name="T75" fmla="*/ 2147483647 h 321"/>
              <a:gd name="T76" fmla="*/ 2147483647 w 306"/>
              <a:gd name="T77" fmla="*/ 2147483647 h 321"/>
              <a:gd name="T78" fmla="*/ 2147483647 w 306"/>
              <a:gd name="T79" fmla="*/ 2147483647 h 321"/>
              <a:gd name="T80" fmla="*/ 2147483647 w 306"/>
              <a:gd name="T81" fmla="*/ 2147483647 h 321"/>
              <a:gd name="T82" fmla="*/ 2147483647 w 306"/>
              <a:gd name="T83" fmla="*/ 2147483647 h 321"/>
              <a:gd name="T84" fmla="*/ 2147483647 w 306"/>
              <a:gd name="T85" fmla="*/ 2147483647 h 321"/>
              <a:gd name="T86" fmla="*/ 2147483647 w 306"/>
              <a:gd name="T87" fmla="*/ 2147483647 h 321"/>
              <a:gd name="T88" fmla="*/ 2147483647 w 306"/>
              <a:gd name="T89" fmla="*/ 2147483647 h 321"/>
              <a:gd name="T90" fmla="*/ 2147483647 w 306"/>
              <a:gd name="T91" fmla="*/ 2147483647 h 321"/>
              <a:gd name="T92" fmla="*/ 2147483647 w 306"/>
              <a:gd name="T93" fmla="*/ 2147483647 h 321"/>
              <a:gd name="T94" fmla="*/ 2147483647 w 306"/>
              <a:gd name="T95" fmla="*/ 2147483647 h 321"/>
              <a:gd name="T96" fmla="*/ 2147483647 w 306"/>
              <a:gd name="T97" fmla="*/ 2147483647 h 321"/>
              <a:gd name="T98" fmla="*/ 2147483647 w 306"/>
              <a:gd name="T99" fmla="*/ 2147483647 h 321"/>
              <a:gd name="T100" fmla="*/ 2147483647 w 306"/>
              <a:gd name="T101" fmla="*/ 2147483647 h 321"/>
              <a:gd name="T102" fmla="*/ 2147483647 w 306"/>
              <a:gd name="T103" fmla="*/ 2147483647 h 321"/>
              <a:gd name="T104" fmla="*/ 2147483647 w 306"/>
              <a:gd name="T105" fmla="*/ 2147483647 h 321"/>
              <a:gd name="T106" fmla="*/ 2147483647 w 306"/>
              <a:gd name="T107" fmla="*/ 2147483647 h 321"/>
              <a:gd name="T108" fmla="*/ 2147483647 w 306"/>
              <a:gd name="T109" fmla="*/ 2147483647 h 321"/>
              <a:gd name="T110" fmla="*/ 2147483647 w 306"/>
              <a:gd name="T111" fmla="*/ 2147483647 h 321"/>
              <a:gd name="T112" fmla="*/ 2147483647 w 306"/>
              <a:gd name="T113" fmla="*/ 2147483647 h 321"/>
              <a:gd name="T114" fmla="*/ 2147483647 w 306"/>
              <a:gd name="T115" fmla="*/ 2147483647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2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643553" y="3911228"/>
            <a:ext cx="201612" cy="269875"/>
          </a:xfrm>
          <a:custGeom>
            <a:avLst/>
            <a:gdLst>
              <a:gd name="T0" fmla="*/ 2147483647 w 471"/>
              <a:gd name="T1" fmla="*/ 2147483647 h 518"/>
              <a:gd name="T2" fmla="*/ 2147483647 w 471"/>
              <a:gd name="T3" fmla="*/ 2147483647 h 518"/>
              <a:gd name="T4" fmla="*/ 2147483647 w 471"/>
              <a:gd name="T5" fmla="*/ 2147483647 h 518"/>
              <a:gd name="T6" fmla="*/ 2147483647 w 471"/>
              <a:gd name="T7" fmla="*/ 2147483647 h 518"/>
              <a:gd name="T8" fmla="*/ 2147483647 w 471"/>
              <a:gd name="T9" fmla="*/ 2147483647 h 518"/>
              <a:gd name="T10" fmla="*/ 2147483647 w 471"/>
              <a:gd name="T11" fmla="*/ 2147483647 h 518"/>
              <a:gd name="T12" fmla="*/ 2147483647 w 471"/>
              <a:gd name="T13" fmla="*/ 2147483647 h 518"/>
              <a:gd name="T14" fmla="*/ 2147483647 w 471"/>
              <a:gd name="T15" fmla="*/ 2147483647 h 518"/>
              <a:gd name="T16" fmla="*/ 2147483647 w 471"/>
              <a:gd name="T17" fmla="*/ 2147483647 h 518"/>
              <a:gd name="T18" fmla="*/ 2147483647 w 471"/>
              <a:gd name="T19" fmla="*/ 2147483647 h 518"/>
              <a:gd name="T20" fmla="*/ 2147483647 w 471"/>
              <a:gd name="T21" fmla="*/ 2147483647 h 518"/>
              <a:gd name="T22" fmla="*/ 2147483647 w 471"/>
              <a:gd name="T23" fmla="*/ 2147483647 h 518"/>
              <a:gd name="T24" fmla="*/ 2147483647 w 471"/>
              <a:gd name="T25" fmla="*/ 2147483647 h 518"/>
              <a:gd name="T26" fmla="*/ 2147483647 w 471"/>
              <a:gd name="T27" fmla="*/ 2147483647 h 518"/>
              <a:gd name="T28" fmla="*/ 2147483647 w 471"/>
              <a:gd name="T29" fmla="*/ 2147483647 h 518"/>
              <a:gd name="T30" fmla="*/ 2147483647 w 471"/>
              <a:gd name="T31" fmla="*/ 2147483647 h 518"/>
              <a:gd name="T32" fmla="*/ 2147483647 w 471"/>
              <a:gd name="T33" fmla="*/ 2147483647 h 518"/>
              <a:gd name="T34" fmla="*/ 2147483647 w 471"/>
              <a:gd name="T35" fmla="*/ 2147483647 h 518"/>
              <a:gd name="T36" fmla="*/ 2147483647 w 471"/>
              <a:gd name="T37" fmla="*/ 2147483647 h 518"/>
              <a:gd name="T38" fmla="*/ 2147483647 w 471"/>
              <a:gd name="T39" fmla="*/ 2147483647 h 518"/>
              <a:gd name="T40" fmla="*/ 2147483647 w 471"/>
              <a:gd name="T41" fmla="*/ 2147483647 h 518"/>
              <a:gd name="T42" fmla="*/ 2147483647 w 471"/>
              <a:gd name="T43" fmla="*/ 2147483647 h 518"/>
              <a:gd name="T44" fmla="*/ 2147483647 w 471"/>
              <a:gd name="T45" fmla="*/ 2147483647 h 518"/>
              <a:gd name="T46" fmla="*/ 2147483647 w 471"/>
              <a:gd name="T47" fmla="*/ 2147483647 h 518"/>
              <a:gd name="T48" fmla="*/ 2147483647 w 471"/>
              <a:gd name="T49" fmla="*/ 2147483647 h 518"/>
              <a:gd name="T50" fmla="*/ 2147483647 w 471"/>
              <a:gd name="T51" fmla="*/ 2147483647 h 518"/>
              <a:gd name="T52" fmla="*/ 2147483647 w 471"/>
              <a:gd name="T53" fmla="*/ 2147483647 h 518"/>
              <a:gd name="T54" fmla="*/ 2147483647 w 471"/>
              <a:gd name="T55" fmla="*/ 2147483647 h 518"/>
              <a:gd name="T56" fmla="*/ 2147483647 w 471"/>
              <a:gd name="T57" fmla="*/ 2147483647 h 518"/>
              <a:gd name="T58" fmla="*/ 2147483647 w 471"/>
              <a:gd name="T59" fmla="*/ 2147483647 h 518"/>
              <a:gd name="T60" fmla="*/ 2147483647 w 471"/>
              <a:gd name="T61" fmla="*/ 2147483647 h 518"/>
              <a:gd name="T62" fmla="*/ 2147483647 w 471"/>
              <a:gd name="T63" fmla="*/ 2147483647 h 518"/>
              <a:gd name="T64" fmla="*/ 2147483647 w 471"/>
              <a:gd name="T65" fmla="*/ 2147483647 h 518"/>
              <a:gd name="T66" fmla="*/ 2147483647 w 471"/>
              <a:gd name="T67" fmla="*/ 2147483647 h 518"/>
              <a:gd name="T68" fmla="*/ 2147483647 w 471"/>
              <a:gd name="T69" fmla="*/ 2147483647 h 518"/>
              <a:gd name="T70" fmla="*/ 2147483647 w 471"/>
              <a:gd name="T71" fmla="*/ 2147483647 h 518"/>
              <a:gd name="T72" fmla="*/ 2147483647 w 471"/>
              <a:gd name="T73" fmla="*/ 2147483647 h 518"/>
              <a:gd name="T74" fmla="*/ 2147483647 w 471"/>
              <a:gd name="T75" fmla="*/ 2147483647 h 518"/>
              <a:gd name="T76" fmla="*/ 2147483647 w 471"/>
              <a:gd name="T77" fmla="*/ 2147483647 h 518"/>
              <a:gd name="T78" fmla="*/ 2147483647 w 471"/>
              <a:gd name="T79" fmla="*/ 2147483647 h 518"/>
              <a:gd name="T80" fmla="*/ 2147483647 w 471"/>
              <a:gd name="T81" fmla="*/ 2147483647 h 518"/>
              <a:gd name="T82" fmla="*/ 2147483647 w 471"/>
              <a:gd name="T83" fmla="*/ 2147483647 h 518"/>
              <a:gd name="T84" fmla="*/ 2147483647 w 471"/>
              <a:gd name="T85" fmla="*/ 2147483647 h 518"/>
              <a:gd name="T86" fmla="*/ 2147483647 w 471"/>
              <a:gd name="T87" fmla="*/ 2147483647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726103" y="4162053"/>
            <a:ext cx="133350" cy="130175"/>
          </a:xfrm>
          <a:custGeom>
            <a:avLst/>
            <a:gdLst>
              <a:gd name="T0" fmla="*/ 2147483647 w 293"/>
              <a:gd name="T1" fmla="*/ 2147483647 h 246"/>
              <a:gd name="T2" fmla="*/ 2147483647 w 293"/>
              <a:gd name="T3" fmla="*/ 2147483647 h 246"/>
              <a:gd name="T4" fmla="*/ 2147483647 w 293"/>
              <a:gd name="T5" fmla="*/ 2147483647 h 246"/>
              <a:gd name="T6" fmla="*/ 2147483647 w 293"/>
              <a:gd name="T7" fmla="*/ 2147483647 h 246"/>
              <a:gd name="T8" fmla="*/ 2147483647 w 293"/>
              <a:gd name="T9" fmla="*/ 2147483647 h 246"/>
              <a:gd name="T10" fmla="*/ 2147483647 w 293"/>
              <a:gd name="T11" fmla="*/ 2147483647 h 246"/>
              <a:gd name="T12" fmla="*/ 2147483647 w 293"/>
              <a:gd name="T13" fmla="*/ 2147483647 h 246"/>
              <a:gd name="T14" fmla="*/ 2147483647 w 293"/>
              <a:gd name="T15" fmla="*/ 2147483647 h 246"/>
              <a:gd name="T16" fmla="*/ 2147483647 w 293"/>
              <a:gd name="T17" fmla="*/ 2147483647 h 246"/>
              <a:gd name="T18" fmla="*/ 2147483647 w 293"/>
              <a:gd name="T19" fmla="*/ 2147483647 h 246"/>
              <a:gd name="T20" fmla="*/ 2147483647 w 293"/>
              <a:gd name="T21" fmla="*/ 2147483647 h 246"/>
              <a:gd name="T22" fmla="*/ 2147483647 w 293"/>
              <a:gd name="T23" fmla="*/ 2147483647 h 246"/>
              <a:gd name="T24" fmla="*/ 2147483647 w 293"/>
              <a:gd name="T25" fmla="*/ 2147483647 h 246"/>
              <a:gd name="T26" fmla="*/ 2147483647 w 293"/>
              <a:gd name="T27" fmla="*/ 2147483647 h 246"/>
              <a:gd name="T28" fmla="*/ 2147483647 w 293"/>
              <a:gd name="T29" fmla="*/ 2147483647 h 246"/>
              <a:gd name="T30" fmla="*/ 2147483647 w 293"/>
              <a:gd name="T31" fmla="*/ 2147483647 h 246"/>
              <a:gd name="T32" fmla="*/ 2147483647 w 293"/>
              <a:gd name="T33" fmla="*/ 2147483647 h 246"/>
              <a:gd name="T34" fmla="*/ 2147483647 w 293"/>
              <a:gd name="T35" fmla="*/ 2147483647 h 246"/>
              <a:gd name="T36" fmla="*/ 2147483647 w 293"/>
              <a:gd name="T37" fmla="*/ 2147483647 h 246"/>
              <a:gd name="T38" fmla="*/ 2147483647 w 293"/>
              <a:gd name="T39" fmla="*/ 2147483647 h 246"/>
              <a:gd name="T40" fmla="*/ 2147483647 w 293"/>
              <a:gd name="T41" fmla="*/ 2147483647 h 246"/>
              <a:gd name="T42" fmla="*/ 2147483647 w 293"/>
              <a:gd name="T43" fmla="*/ 2147483647 h 246"/>
              <a:gd name="T44" fmla="*/ 2147483647 w 293"/>
              <a:gd name="T45" fmla="*/ 2147483647 h 246"/>
              <a:gd name="T46" fmla="*/ 2147483647 w 293"/>
              <a:gd name="T47" fmla="*/ 2147483647 h 246"/>
              <a:gd name="T48" fmla="*/ 2147483647 w 293"/>
              <a:gd name="T49" fmla="*/ 2147483647 h 246"/>
              <a:gd name="T50" fmla="*/ 2147483647 w 293"/>
              <a:gd name="T51" fmla="*/ 2147483647 h 246"/>
              <a:gd name="T52" fmla="*/ 2147483647 w 293"/>
              <a:gd name="T53" fmla="*/ 2147483647 h 246"/>
              <a:gd name="T54" fmla="*/ 2147483647 w 293"/>
              <a:gd name="T55" fmla="*/ 2147483647 h 246"/>
              <a:gd name="T56" fmla="*/ 2147483647 w 293"/>
              <a:gd name="T57" fmla="*/ 2147483647 h 246"/>
              <a:gd name="T58" fmla="*/ 2147483647 w 293"/>
              <a:gd name="T59" fmla="*/ 2147483647 h 246"/>
              <a:gd name="T60" fmla="*/ 2147483647 w 293"/>
              <a:gd name="T61" fmla="*/ 2147483647 h 246"/>
              <a:gd name="T62" fmla="*/ 0 w 293"/>
              <a:gd name="T63" fmla="*/ 2147483647 h 246"/>
              <a:gd name="T64" fmla="*/ 2147483647 w 293"/>
              <a:gd name="T65" fmla="*/ 2147483647 h 246"/>
              <a:gd name="T66" fmla="*/ 2147483647 w 293"/>
              <a:gd name="T67" fmla="*/ 2147483647 h 246"/>
              <a:gd name="T68" fmla="*/ 2147483647 w 293"/>
              <a:gd name="T69" fmla="*/ 2147483647 h 246"/>
              <a:gd name="T70" fmla="*/ 2147483647 w 293"/>
              <a:gd name="T71" fmla="*/ 2147483647 h 246"/>
              <a:gd name="T72" fmla="*/ 2147483647 w 293"/>
              <a:gd name="T73" fmla="*/ 2147483647 h 246"/>
              <a:gd name="T74" fmla="*/ 2147483647 w 293"/>
              <a:gd name="T75" fmla="*/ 2147483647 h 246"/>
              <a:gd name="T76" fmla="*/ 2147483647 w 293"/>
              <a:gd name="T77" fmla="*/ 2147483647 h 246"/>
              <a:gd name="T78" fmla="*/ 2147483647 w 293"/>
              <a:gd name="T79" fmla="*/ 2147483647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4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7127740" y="3398465"/>
            <a:ext cx="85725" cy="130175"/>
          </a:xfrm>
          <a:custGeom>
            <a:avLst/>
            <a:gdLst>
              <a:gd name="T0" fmla="*/ 2147483647 w 200"/>
              <a:gd name="T1" fmla="*/ 2147483647 h 246"/>
              <a:gd name="T2" fmla="*/ 2147483647 w 200"/>
              <a:gd name="T3" fmla="*/ 2147483647 h 246"/>
              <a:gd name="T4" fmla="*/ 2147483647 w 200"/>
              <a:gd name="T5" fmla="*/ 2147483647 h 246"/>
              <a:gd name="T6" fmla="*/ 2147483647 w 200"/>
              <a:gd name="T7" fmla="*/ 2147483647 h 246"/>
              <a:gd name="T8" fmla="*/ 2147483647 w 200"/>
              <a:gd name="T9" fmla="*/ 2147483647 h 246"/>
              <a:gd name="T10" fmla="*/ 2147483647 w 200"/>
              <a:gd name="T11" fmla="*/ 2147483647 h 246"/>
              <a:gd name="T12" fmla="*/ 2147483647 w 200"/>
              <a:gd name="T13" fmla="*/ 2147483647 h 246"/>
              <a:gd name="T14" fmla="*/ 2147483647 w 200"/>
              <a:gd name="T15" fmla="*/ 2147483647 h 246"/>
              <a:gd name="T16" fmla="*/ 2147483647 w 200"/>
              <a:gd name="T17" fmla="*/ 2147483647 h 246"/>
              <a:gd name="T18" fmla="*/ 2147483647 w 200"/>
              <a:gd name="T19" fmla="*/ 2147483647 h 246"/>
              <a:gd name="T20" fmla="*/ 2147483647 w 200"/>
              <a:gd name="T21" fmla="*/ 2147483647 h 246"/>
              <a:gd name="T22" fmla="*/ 2147483647 w 200"/>
              <a:gd name="T23" fmla="*/ 2147483647 h 246"/>
              <a:gd name="T24" fmla="*/ 2147483647 w 200"/>
              <a:gd name="T25" fmla="*/ 2147483647 h 246"/>
              <a:gd name="T26" fmla="*/ 2147483647 w 200"/>
              <a:gd name="T27" fmla="*/ 2147483647 h 246"/>
              <a:gd name="T28" fmla="*/ 2147483647 w 200"/>
              <a:gd name="T29" fmla="*/ 2147483647 h 246"/>
              <a:gd name="T30" fmla="*/ 2147483647 w 200"/>
              <a:gd name="T31" fmla="*/ 2147483647 h 246"/>
              <a:gd name="T32" fmla="*/ 2147483647 w 200"/>
              <a:gd name="T33" fmla="*/ 2147483647 h 246"/>
              <a:gd name="T34" fmla="*/ 2147483647 w 200"/>
              <a:gd name="T35" fmla="*/ 2147483647 h 246"/>
              <a:gd name="T36" fmla="*/ 2147483647 w 200"/>
              <a:gd name="T37" fmla="*/ 2147483647 h 246"/>
              <a:gd name="T38" fmla="*/ 2147483647 w 200"/>
              <a:gd name="T39" fmla="*/ 2147483647 h 246"/>
              <a:gd name="T40" fmla="*/ 2147483647 w 200"/>
              <a:gd name="T41" fmla="*/ 2147483647 h 246"/>
              <a:gd name="T42" fmla="*/ 2147483647 w 200"/>
              <a:gd name="T43" fmla="*/ 2147483647 h 246"/>
              <a:gd name="T44" fmla="*/ 2147483647 w 200"/>
              <a:gd name="T45" fmla="*/ 2147483647 h 246"/>
              <a:gd name="T46" fmla="*/ 2147483647 w 200"/>
              <a:gd name="T47" fmla="*/ 2147483647 h 246"/>
              <a:gd name="T48" fmla="*/ 2147483647 w 200"/>
              <a:gd name="T49" fmla="*/ 2147483647 h 246"/>
              <a:gd name="T50" fmla="*/ 2147483647 w 200"/>
              <a:gd name="T51" fmla="*/ 2147483647 h 246"/>
              <a:gd name="T52" fmla="*/ 2147483647 w 200"/>
              <a:gd name="T53" fmla="*/ 2147483647 h 246"/>
              <a:gd name="T54" fmla="*/ 2147483647 w 200"/>
              <a:gd name="T55" fmla="*/ 2147483647 h 246"/>
              <a:gd name="T56" fmla="*/ 2147483647 w 200"/>
              <a:gd name="T57" fmla="*/ 2147483647 h 246"/>
              <a:gd name="T58" fmla="*/ 2147483647 w 200"/>
              <a:gd name="T59" fmla="*/ 2147483647 h 246"/>
              <a:gd name="T60" fmla="*/ 2147483647 w 200"/>
              <a:gd name="T61" fmla="*/ 2147483647 h 246"/>
              <a:gd name="T62" fmla="*/ 2147483647 w 200"/>
              <a:gd name="T63" fmla="*/ 2147483647 h 246"/>
              <a:gd name="T64" fmla="*/ 2147483647 w 200"/>
              <a:gd name="T65" fmla="*/ 2147483647 h 246"/>
              <a:gd name="T66" fmla="*/ 2147483647 w 200"/>
              <a:gd name="T67" fmla="*/ 2147483647 h 246"/>
              <a:gd name="T68" fmla="*/ 2147483647 w 200"/>
              <a:gd name="T69" fmla="*/ 2147483647 h 246"/>
              <a:gd name="T70" fmla="*/ 2147483647 w 200"/>
              <a:gd name="T71" fmla="*/ 2147483647 h 246"/>
              <a:gd name="T72" fmla="*/ 2147483647 w 200"/>
              <a:gd name="T73" fmla="*/ 2147483647 h 246"/>
              <a:gd name="T74" fmla="*/ 2147483647 w 200"/>
              <a:gd name="T75" fmla="*/ 2147483647 h 246"/>
              <a:gd name="T76" fmla="*/ 2147483647 w 200"/>
              <a:gd name="T77" fmla="*/ 2147483647 h 246"/>
              <a:gd name="T78" fmla="*/ 2147483647 w 200"/>
              <a:gd name="T79" fmla="*/ 2147483647 h 246"/>
              <a:gd name="T80" fmla="*/ 2147483647 w 200"/>
              <a:gd name="T81" fmla="*/ 2147483647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696065" y="4695453"/>
            <a:ext cx="231775" cy="254000"/>
          </a:xfrm>
          <a:custGeom>
            <a:avLst/>
            <a:gdLst>
              <a:gd name="T0" fmla="*/ 2147483647 w 538"/>
              <a:gd name="T1" fmla="*/ 2147483647 h 487"/>
              <a:gd name="T2" fmla="*/ 2147483647 w 538"/>
              <a:gd name="T3" fmla="*/ 2147483647 h 487"/>
              <a:gd name="T4" fmla="*/ 2147483647 w 538"/>
              <a:gd name="T5" fmla="*/ 2147483647 h 487"/>
              <a:gd name="T6" fmla="*/ 2147483647 w 538"/>
              <a:gd name="T7" fmla="*/ 2147483647 h 487"/>
              <a:gd name="T8" fmla="*/ 2147483647 w 538"/>
              <a:gd name="T9" fmla="*/ 2147483647 h 487"/>
              <a:gd name="T10" fmla="*/ 2147483647 w 538"/>
              <a:gd name="T11" fmla="*/ 2147483647 h 487"/>
              <a:gd name="T12" fmla="*/ 2147483647 w 538"/>
              <a:gd name="T13" fmla="*/ 2147483647 h 487"/>
              <a:gd name="T14" fmla="*/ 2147483647 w 538"/>
              <a:gd name="T15" fmla="*/ 2147483647 h 487"/>
              <a:gd name="T16" fmla="*/ 2147483647 w 538"/>
              <a:gd name="T17" fmla="*/ 2147483647 h 487"/>
              <a:gd name="T18" fmla="*/ 2147483647 w 538"/>
              <a:gd name="T19" fmla="*/ 2147483647 h 487"/>
              <a:gd name="T20" fmla="*/ 2147483647 w 538"/>
              <a:gd name="T21" fmla="*/ 2147483647 h 487"/>
              <a:gd name="T22" fmla="*/ 2147483647 w 538"/>
              <a:gd name="T23" fmla="*/ 2147483647 h 487"/>
              <a:gd name="T24" fmla="*/ 2147483647 w 538"/>
              <a:gd name="T25" fmla="*/ 2147483647 h 487"/>
              <a:gd name="T26" fmla="*/ 2147483647 w 538"/>
              <a:gd name="T27" fmla="*/ 2147483647 h 487"/>
              <a:gd name="T28" fmla="*/ 2147483647 w 538"/>
              <a:gd name="T29" fmla="*/ 2147483647 h 487"/>
              <a:gd name="T30" fmla="*/ 2147483647 w 538"/>
              <a:gd name="T31" fmla="*/ 2147483647 h 487"/>
              <a:gd name="T32" fmla="*/ 2147483647 w 538"/>
              <a:gd name="T33" fmla="*/ 2147483647 h 487"/>
              <a:gd name="T34" fmla="*/ 2147483647 w 538"/>
              <a:gd name="T35" fmla="*/ 2147483647 h 487"/>
              <a:gd name="T36" fmla="*/ 2147483647 w 538"/>
              <a:gd name="T37" fmla="*/ 2147483647 h 487"/>
              <a:gd name="T38" fmla="*/ 2147483647 w 538"/>
              <a:gd name="T39" fmla="*/ 2147483647 h 487"/>
              <a:gd name="T40" fmla="*/ 2147483647 w 538"/>
              <a:gd name="T41" fmla="*/ 2147483647 h 487"/>
              <a:gd name="T42" fmla="*/ 2147483647 w 538"/>
              <a:gd name="T43" fmla="*/ 2147483647 h 487"/>
              <a:gd name="T44" fmla="*/ 2147483647 w 538"/>
              <a:gd name="T45" fmla="*/ 2147483647 h 487"/>
              <a:gd name="T46" fmla="*/ 2147483647 w 538"/>
              <a:gd name="T47" fmla="*/ 2147483647 h 487"/>
              <a:gd name="T48" fmla="*/ 2147483647 w 538"/>
              <a:gd name="T49" fmla="*/ 2147483647 h 487"/>
              <a:gd name="T50" fmla="*/ 2147483647 w 538"/>
              <a:gd name="T51" fmla="*/ 2147483647 h 487"/>
              <a:gd name="T52" fmla="*/ 2147483647 w 538"/>
              <a:gd name="T53" fmla="*/ 2147483647 h 487"/>
              <a:gd name="T54" fmla="*/ 2147483647 w 538"/>
              <a:gd name="T55" fmla="*/ 2147483647 h 487"/>
              <a:gd name="T56" fmla="*/ 2147483647 w 538"/>
              <a:gd name="T57" fmla="*/ 2147483647 h 487"/>
              <a:gd name="T58" fmla="*/ 2147483647 w 538"/>
              <a:gd name="T59" fmla="*/ 2147483647 h 487"/>
              <a:gd name="T60" fmla="*/ 2147483647 w 538"/>
              <a:gd name="T61" fmla="*/ 2147483647 h 487"/>
              <a:gd name="T62" fmla="*/ 2147483647 w 538"/>
              <a:gd name="T63" fmla="*/ 2147483647 h 487"/>
              <a:gd name="T64" fmla="*/ 2147483647 w 538"/>
              <a:gd name="T65" fmla="*/ 2147483647 h 487"/>
              <a:gd name="T66" fmla="*/ 2147483647 w 538"/>
              <a:gd name="T67" fmla="*/ 2147483647 h 487"/>
              <a:gd name="T68" fmla="*/ 2147483647 w 538"/>
              <a:gd name="T69" fmla="*/ 2147483647 h 487"/>
              <a:gd name="T70" fmla="*/ 2147483647 w 538"/>
              <a:gd name="T71" fmla="*/ 2147483647 h 487"/>
              <a:gd name="T72" fmla="*/ 2147483647 w 538"/>
              <a:gd name="T73" fmla="*/ 2147483647 h 487"/>
              <a:gd name="T74" fmla="*/ 2147483647 w 538"/>
              <a:gd name="T75" fmla="*/ 2147483647 h 487"/>
              <a:gd name="T76" fmla="*/ 2147483647 w 538"/>
              <a:gd name="T77" fmla="*/ 2147483647 h 487"/>
              <a:gd name="T78" fmla="*/ 2147483647 w 538"/>
              <a:gd name="T79" fmla="*/ 2147483647 h 487"/>
              <a:gd name="T80" fmla="*/ 2147483647 w 538"/>
              <a:gd name="T81" fmla="*/ 2147483647 h 487"/>
              <a:gd name="T82" fmla="*/ 2147483647 w 538"/>
              <a:gd name="T83" fmla="*/ 2147483647 h 487"/>
              <a:gd name="T84" fmla="*/ 2147483647 w 538"/>
              <a:gd name="T85" fmla="*/ 2147483647 h 487"/>
              <a:gd name="T86" fmla="*/ 2147483647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888153" y="4679578"/>
            <a:ext cx="106362" cy="128587"/>
          </a:xfrm>
          <a:custGeom>
            <a:avLst/>
            <a:gdLst>
              <a:gd name="T0" fmla="*/ 2147483647 w 253"/>
              <a:gd name="T1" fmla="*/ 2147483647 h 246"/>
              <a:gd name="T2" fmla="*/ 2147483647 w 253"/>
              <a:gd name="T3" fmla="*/ 2147483647 h 246"/>
              <a:gd name="T4" fmla="*/ 2147483647 w 253"/>
              <a:gd name="T5" fmla="*/ 2147483647 h 246"/>
              <a:gd name="T6" fmla="*/ 2147483647 w 253"/>
              <a:gd name="T7" fmla="*/ 2147483647 h 246"/>
              <a:gd name="T8" fmla="*/ 2147483647 w 253"/>
              <a:gd name="T9" fmla="*/ 2147483647 h 246"/>
              <a:gd name="T10" fmla="*/ 2147483647 w 253"/>
              <a:gd name="T11" fmla="*/ 2147483647 h 246"/>
              <a:gd name="T12" fmla="*/ 2147483647 w 253"/>
              <a:gd name="T13" fmla="*/ 2147483647 h 246"/>
              <a:gd name="T14" fmla="*/ 2147483647 w 253"/>
              <a:gd name="T15" fmla="*/ 2147483647 h 246"/>
              <a:gd name="T16" fmla="*/ 2147483647 w 253"/>
              <a:gd name="T17" fmla="*/ 2147483647 h 246"/>
              <a:gd name="T18" fmla="*/ 2147483647 w 253"/>
              <a:gd name="T19" fmla="*/ 2147483647 h 246"/>
              <a:gd name="T20" fmla="*/ 2147483647 w 253"/>
              <a:gd name="T21" fmla="*/ 2147483647 h 246"/>
              <a:gd name="T22" fmla="*/ 2147483647 w 253"/>
              <a:gd name="T23" fmla="*/ 2147483647 h 246"/>
              <a:gd name="T24" fmla="*/ 2147483647 w 253"/>
              <a:gd name="T25" fmla="*/ 2147483647 h 246"/>
              <a:gd name="T26" fmla="*/ 2147483647 w 253"/>
              <a:gd name="T27" fmla="*/ 2147483647 h 246"/>
              <a:gd name="T28" fmla="*/ 2147483647 w 253"/>
              <a:gd name="T29" fmla="*/ 2147483647 h 246"/>
              <a:gd name="T30" fmla="*/ 2147483647 w 253"/>
              <a:gd name="T31" fmla="*/ 2147483647 h 246"/>
              <a:gd name="T32" fmla="*/ 2147483647 w 253"/>
              <a:gd name="T33" fmla="*/ 2147483647 h 246"/>
              <a:gd name="T34" fmla="*/ 2147483647 w 253"/>
              <a:gd name="T35" fmla="*/ 2147483647 h 246"/>
              <a:gd name="T36" fmla="*/ 2147483647 w 253"/>
              <a:gd name="T37" fmla="*/ 2147483647 h 246"/>
              <a:gd name="T38" fmla="*/ 2147483647 w 253"/>
              <a:gd name="T39" fmla="*/ 2147483647 h 246"/>
              <a:gd name="T40" fmla="*/ 2147483647 w 253"/>
              <a:gd name="T41" fmla="*/ 2147483647 h 246"/>
              <a:gd name="T42" fmla="*/ 2147483647 w 253"/>
              <a:gd name="T43" fmla="*/ 2147483647 h 246"/>
              <a:gd name="T44" fmla="*/ 2147483647 w 253"/>
              <a:gd name="T45" fmla="*/ 2147483647 h 246"/>
              <a:gd name="T46" fmla="*/ 2147483647 w 253"/>
              <a:gd name="T47" fmla="*/ 2147483647 h 246"/>
              <a:gd name="T48" fmla="*/ 2147483647 w 253"/>
              <a:gd name="T49" fmla="*/ 2147483647 h 246"/>
              <a:gd name="T50" fmla="*/ 2147483647 w 253"/>
              <a:gd name="T51" fmla="*/ 2147483647 h 246"/>
              <a:gd name="T52" fmla="*/ 2147483647 w 253"/>
              <a:gd name="T53" fmla="*/ 2147483647 h 246"/>
              <a:gd name="T54" fmla="*/ 2147483647 w 253"/>
              <a:gd name="T55" fmla="*/ 2147483647 h 246"/>
              <a:gd name="T56" fmla="*/ 2147483647 w 253"/>
              <a:gd name="T57" fmla="*/ 2147483647 h 246"/>
              <a:gd name="T58" fmla="*/ 2147483647 w 253"/>
              <a:gd name="T59" fmla="*/ 2147483647 h 246"/>
              <a:gd name="T60" fmla="*/ 2147483647 w 253"/>
              <a:gd name="T61" fmla="*/ 2147483647 h 246"/>
              <a:gd name="T62" fmla="*/ 2147483647 w 253"/>
              <a:gd name="T63" fmla="*/ 2147483647 h 246"/>
              <a:gd name="T64" fmla="*/ 2147483647 w 253"/>
              <a:gd name="T65" fmla="*/ 2147483647 h 246"/>
              <a:gd name="T66" fmla="*/ 2147483647 w 253"/>
              <a:gd name="T67" fmla="*/ 2147483647 h 246"/>
              <a:gd name="T68" fmla="*/ 2147483647 w 253"/>
              <a:gd name="T69" fmla="*/ 2147483647 h 246"/>
              <a:gd name="T70" fmla="*/ 2147483647 w 253"/>
              <a:gd name="T71" fmla="*/ 2147483647 h 246"/>
              <a:gd name="T72" fmla="*/ 2147483647 w 253"/>
              <a:gd name="T73" fmla="*/ 2147483647 h 246"/>
              <a:gd name="T74" fmla="*/ 2147483647 w 253"/>
              <a:gd name="T75" fmla="*/ 2147483647 h 246"/>
              <a:gd name="T76" fmla="*/ 2147483647 w 253"/>
              <a:gd name="T77" fmla="*/ 2147483647 h 246"/>
              <a:gd name="T78" fmla="*/ 2147483647 w 253"/>
              <a:gd name="T79" fmla="*/ 2147483647 h 246"/>
              <a:gd name="T80" fmla="*/ 2147483647 w 253"/>
              <a:gd name="T81" fmla="*/ 2147483647 h 246"/>
              <a:gd name="T82" fmla="*/ 2147483647 w 253"/>
              <a:gd name="T83" fmla="*/ 2147483647 h 246"/>
              <a:gd name="T84" fmla="*/ 2147483647 w 253"/>
              <a:gd name="T85" fmla="*/ 2147483647 h 246"/>
              <a:gd name="T86" fmla="*/ 2147483647 w 253"/>
              <a:gd name="T87" fmla="*/ 2147483647 h 246"/>
              <a:gd name="T88" fmla="*/ 2147483647 w 253"/>
              <a:gd name="T89" fmla="*/ 2147483647 h 246"/>
              <a:gd name="T90" fmla="*/ 2147483647 w 253"/>
              <a:gd name="T91" fmla="*/ 2147483647 h 246"/>
              <a:gd name="T92" fmla="*/ 2147483647 w 253"/>
              <a:gd name="T93" fmla="*/ 2147483647 h 246"/>
              <a:gd name="T94" fmla="*/ 2147483647 w 253"/>
              <a:gd name="T95" fmla="*/ 2147483647 h 246"/>
              <a:gd name="T96" fmla="*/ 2147483647 w 253"/>
              <a:gd name="T97" fmla="*/ 2147483647 h 246"/>
              <a:gd name="T98" fmla="*/ 2147483647 w 253"/>
              <a:gd name="T99" fmla="*/ 2147483647 h 246"/>
              <a:gd name="T100" fmla="*/ 2147483647 w 253"/>
              <a:gd name="T101" fmla="*/ 2147483647 h 246"/>
              <a:gd name="T102" fmla="*/ 2147483647 w 253"/>
              <a:gd name="T103" fmla="*/ 2147483647 h 246"/>
              <a:gd name="T104" fmla="*/ 2147483647 w 253"/>
              <a:gd name="T105" fmla="*/ 2147483647 h 246"/>
              <a:gd name="T106" fmla="*/ 2147483647 w 253"/>
              <a:gd name="T107" fmla="*/ 2147483647 h 246"/>
              <a:gd name="T108" fmla="*/ 2147483647 w 253"/>
              <a:gd name="T109" fmla="*/ 2147483647 h 246"/>
              <a:gd name="T110" fmla="*/ 2147483647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164128" y="4312865"/>
            <a:ext cx="63500" cy="119063"/>
          </a:xfrm>
          <a:custGeom>
            <a:avLst/>
            <a:gdLst>
              <a:gd name="T0" fmla="*/ 2147483647 w 141"/>
              <a:gd name="T1" fmla="*/ 2147483647 h 228"/>
              <a:gd name="T2" fmla="*/ 2147483647 w 141"/>
              <a:gd name="T3" fmla="*/ 2147483647 h 228"/>
              <a:gd name="T4" fmla="*/ 2147483647 w 141"/>
              <a:gd name="T5" fmla="*/ 2147483647 h 228"/>
              <a:gd name="T6" fmla="*/ 2147483647 w 141"/>
              <a:gd name="T7" fmla="*/ 2147483647 h 228"/>
              <a:gd name="T8" fmla="*/ 2147483647 w 141"/>
              <a:gd name="T9" fmla="*/ 2147483647 h 228"/>
              <a:gd name="T10" fmla="*/ 2147483647 w 141"/>
              <a:gd name="T11" fmla="*/ 2147483647 h 228"/>
              <a:gd name="T12" fmla="*/ 2147483647 w 141"/>
              <a:gd name="T13" fmla="*/ 2147483647 h 228"/>
              <a:gd name="T14" fmla="*/ 2147483647 w 141"/>
              <a:gd name="T15" fmla="*/ 2147483647 h 228"/>
              <a:gd name="T16" fmla="*/ 0 w 141"/>
              <a:gd name="T17" fmla="*/ 2147483647 h 228"/>
              <a:gd name="T18" fmla="*/ 2147483647 w 141"/>
              <a:gd name="T19" fmla="*/ 2147483647 h 228"/>
              <a:gd name="T20" fmla="*/ 2147483647 w 141"/>
              <a:gd name="T21" fmla="*/ 2147483647 h 228"/>
              <a:gd name="T22" fmla="*/ 2147483647 w 141"/>
              <a:gd name="T23" fmla="*/ 2147483647 h 228"/>
              <a:gd name="T24" fmla="*/ 2147483647 w 141"/>
              <a:gd name="T25" fmla="*/ 2147483647 h 228"/>
              <a:gd name="T26" fmla="*/ 2147483647 w 141"/>
              <a:gd name="T27" fmla="*/ 2147483647 h 228"/>
              <a:gd name="T28" fmla="*/ 2147483647 w 141"/>
              <a:gd name="T29" fmla="*/ 0 h 228"/>
              <a:gd name="T30" fmla="*/ 2147483647 w 141"/>
              <a:gd name="T31" fmla="*/ 2147483647 h 228"/>
              <a:gd name="T32" fmla="*/ 2147483647 w 141"/>
              <a:gd name="T33" fmla="*/ 2147483647 h 228"/>
              <a:gd name="T34" fmla="*/ 2147483647 w 141"/>
              <a:gd name="T35" fmla="*/ 2147483647 h 228"/>
              <a:gd name="T36" fmla="*/ 2147483647 w 141"/>
              <a:gd name="T37" fmla="*/ 2147483647 h 228"/>
              <a:gd name="T38" fmla="*/ 2147483647 w 141"/>
              <a:gd name="T39" fmla="*/ 2147483647 h 228"/>
              <a:gd name="T40" fmla="*/ 2147483647 w 141"/>
              <a:gd name="T41" fmla="*/ 2147483647 h 228"/>
              <a:gd name="T42" fmla="*/ 2147483647 w 141"/>
              <a:gd name="T43" fmla="*/ 2147483647 h 228"/>
              <a:gd name="T44" fmla="*/ 2147483647 w 141"/>
              <a:gd name="T45" fmla="*/ 2147483647 h 228"/>
              <a:gd name="T46" fmla="*/ 2147483647 w 141"/>
              <a:gd name="T47" fmla="*/ 2147483647 h 228"/>
              <a:gd name="T48" fmla="*/ 2147483647 w 141"/>
              <a:gd name="T49" fmla="*/ 2147483647 h 228"/>
              <a:gd name="T50" fmla="*/ 2147483647 w 141"/>
              <a:gd name="T51" fmla="*/ 2147483647 h 228"/>
              <a:gd name="T52" fmla="*/ 2147483647 w 141"/>
              <a:gd name="T53" fmla="*/ 2147483647 h 228"/>
              <a:gd name="T54" fmla="*/ 2147483647 w 141"/>
              <a:gd name="T55" fmla="*/ 2147483647 h 228"/>
              <a:gd name="T56" fmla="*/ 2147483647 w 141"/>
              <a:gd name="T57" fmla="*/ 2147483647 h 228"/>
              <a:gd name="T58" fmla="*/ 2147483647 w 141"/>
              <a:gd name="T59" fmla="*/ 2147483647 h 228"/>
              <a:gd name="T60" fmla="*/ 2147483647 w 141"/>
              <a:gd name="T61" fmla="*/ 2147483647 h 228"/>
              <a:gd name="T62" fmla="*/ 2147483647 w 141"/>
              <a:gd name="T63" fmla="*/ 2147483647 h 228"/>
              <a:gd name="T64" fmla="*/ 2147483647 w 141"/>
              <a:gd name="T65" fmla="*/ 2147483647 h 228"/>
              <a:gd name="T66" fmla="*/ 2147483647 w 141"/>
              <a:gd name="T67" fmla="*/ 2147483647 h 228"/>
              <a:gd name="T68" fmla="*/ 2147483647 w 141"/>
              <a:gd name="T69" fmla="*/ 2147483647 h 228"/>
              <a:gd name="T70" fmla="*/ 2147483647 w 141"/>
              <a:gd name="T71" fmla="*/ 2147483647 h 228"/>
              <a:gd name="T72" fmla="*/ 2147483647 w 141"/>
              <a:gd name="T73" fmla="*/ 2147483647 h 228"/>
              <a:gd name="T74" fmla="*/ 2147483647 w 141"/>
              <a:gd name="T75" fmla="*/ 2147483647 h 228"/>
              <a:gd name="T76" fmla="*/ 2147483647 w 141"/>
              <a:gd name="T77" fmla="*/ 2147483647 h 228"/>
              <a:gd name="T78" fmla="*/ 2147483647 w 141"/>
              <a:gd name="T79" fmla="*/ 2147483647 h 228"/>
              <a:gd name="T80" fmla="*/ 2147483647 w 141"/>
              <a:gd name="T81" fmla="*/ 2147483647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258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7103928" y="4023940"/>
            <a:ext cx="233362" cy="439738"/>
            <a:chOff x="5062" y="2295"/>
            <a:chExt cx="177" cy="279"/>
          </a:xfrm>
          <a:solidFill>
            <a:schemeClr val="bg1">
              <a:lumMod val="75000"/>
            </a:schemeClr>
          </a:solidFill>
        </p:grpSpPr>
        <p:sp>
          <p:nvSpPr>
            <p:cNvPr id="2504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5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6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7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8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9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0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1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2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3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4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5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6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7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8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9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0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1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2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3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4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5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6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7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</p:grpSp>
      <p:sp>
        <p:nvSpPr>
          <p:cNvPr id="2259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448415" y="4843090"/>
            <a:ext cx="14288" cy="55563"/>
          </a:xfrm>
          <a:custGeom>
            <a:avLst/>
            <a:gdLst>
              <a:gd name="T0" fmla="*/ 0 w 33"/>
              <a:gd name="T1" fmla="*/ 2147483647 h 43"/>
              <a:gd name="T2" fmla="*/ 2147483647 w 33"/>
              <a:gd name="T3" fmla="*/ 2147483647 h 43"/>
              <a:gd name="T4" fmla="*/ 2147483647 w 33"/>
              <a:gd name="T5" fmla="*/ 2147483647 h 43"/>
              <a:gd name="T6" fmla="*/ 2147483647 w 33"/>
              <a:gd name="T7" fmla="*/ 2147483647 h 43"/>
              <a:gd name="T8" fmla="*/ 2147483647 w 33"/>
              <a:gd name="T9" fmla="*/ 2147483647 h 43"/>
              <a:gd name="T10" fmla="*/ 2147483647 w 33"/>
              <a:gd name="T11" fmla="*/ 2147483647 h 43"/>
              <a:gd name="T12" fmla="*/ 2147483647 w 33"/>
              <a:gd name="T13" fmla="*/ 2147483647 h 43"/>
              <a:gd name="T14" fmla="*/ 2147483647 w 33"/>
              <a:gd name="T15" fmla="*/ 2147483647 h 43"/>
              <a:gd name="T16" fmla="*/ 2147483647 w 33"/>
              <a:gd name="T17" fmla="*/ 0 h 43"/>
              <a:gd name="T18" fmla="*/ 2147483647 w 33"/>
              <a:gd name="T19" fmla="*/ 2147483647 h 43"/>
              <a:gd name="T20" fmla="*/ 2147483647 w 33"/>
              <a:gd name="T21" fmla="*/ 2147483647 h 43"/>
              <a:gd name="T22" fmla="*/ 2147483647 w 33"/>
              <a:gd name="T23" fmla="*/ 2147483647 h 43"/>
              <a:gd name="T24" fmla="*/ 2147483647 w 33"/>
              <a:gd name="T25" fmla="*/ 2147483647 h 43"/>
              <a:gd name="T26" fmla="*/ 2147483647 w 33"/>
              <a:gd name="T27" fmla="*/ 2147483647 h 43"/>
              <a:gd name="T28" fmla="*/ 2147483647 w 33"/>
              <a:gd name="T29" fmla="*/ 2147483647 h 43"/>
              <a:gd name="T30" fmla="*/ 2147483647 w 33"/>
              <a:gd name="T31" fmla="*/ 2147483647 h 43"/>
              <a:gd name="T32" fmla="*/ 2147483647 w 33"/>
              <a:gd name="T33" fmla="*/ 2147483647 h 43"/>
              <a:gd name="T34" fmla="*/ 0 w 33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0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524615" y="4782765"/>
            <a:ext cx="22225" cy="58738"/>
          </a:xfrm>
          <a:custGeom>
            <a:avLst/>
            <a:gdLst>
              <a:gd name="T0" fmla="*/ 0 w 54"/>
              <a:gd name="T1" fmla="*/ 2147483647 h 92"/>
              <a:gd name="T2" fmla="*/ 2147483647 w 54"/>
              <a:gd name="T3" fmla="*/ 2147483647 h 92"/>
              <a:gd name="T4" fmla="*/ 2147483647 w 54"/>
              <a:gd name="T5" fmla="*/ 2147483647 h 92"/>
              <a:gd name="T6" fmla="*/ 2147483647 w 54"/>
              <a:gd name="T7" fmla="*/ 2147483647 h 92"/>
              <a:gd name="T8" fmla="*/ 2147483647 w 54"/>
              <a:gd name="T9" fmla="*/ 2147483647 h 92"/>
              <a:gd name="T10" fmla="*/ 2147483647 w 54"/>
              <a:gd name="T11" fmla="*/ 2147483647 h 92"/>
              <a:gd name="T12" fmla="*/ 2147483647 w 54"/>
              <a:gd name="T13" fmla="*/ 2147483647 h 92"/>
              <a:gd name="T14" fmla="*/ 2147483647 w 54"/>
              <a:gd name="T15" fmla="*/ 2147483647 h 92"/>
              <a:gd name="T16" fmla="*/ 2147483647 w 54"/>
              <a:gd name="T17" fmla="*/ 0 h 92"/>
              <a:gd name="T18" fmla="*/ 2147483647 w 54"/>
              <a:gd name="T19" fmla="*/ 2147483647 h 92"/>
              <a:gd name="T20" fmla="*/ 2147483647 w 54"/>
              <a:gd name="T21" fmla="*/ 2147483647 h 92"/>
              <a:gd name="T22" fmla="*/ 2147483647 w 54"/>
              <a:gd name="T23" fmla="*/ 2147483647 h 92"/>
              <a:gd name="T24" fmla="*/ 2147483647 w 54"/>
              <a:gd name="T25" fmla="*/ 2147483647 h 92"/>
              <a:gd name="T26" fmla="*/ 2147483647 w 54"/>
              <a:gd name="T27" fmla="*/ 2147483647 h 92"/>
              <a:gd name="T28" fmla="*/ 2147483647 w 54"/>
              <a:gd name="T29" fmla="*/ 2147483647 h 92"/>
              <a:gd name="T30" fmla="*/ 2147483647 w 54"/>
              <a:gd name="T31" fmla="*/ 2147483647 h 92"/>
              <a:gd name="T32" fmla="*/ 2147483647 w 54"/>
              <a:gd name="T33" fmla="*/ 2147483647 h 92"/>
              <a:gd name="T34" fmla="*/ 2147483647 w 54"/>
              <a:gd name="T35" fmla="*/ 2147483647 h 92"/>
              <a:gd name="T36" fmla="*/ 2147483647 w 54"/>
              <a:gd name="T37" fmla="*/ 2147483647 h 92"/>
              <a:gd name="T38" fmla="*/ 2147483647 w 54"/>
              <a:gd name="T39" fmla="*/ 2147483647 h 92"/>
              <a:gd name="T40" fmla="*/ 2147483647 w 54"/>
              <a:gd name="T41" fmla="*/ 2147483647 h 92"/>
              <a:gd name="T42" fmla="*/ 2147483647 w 54"/>
              <a:gd name="T43" fmla="*/ 2147483647 h 92"/>
              <a:gd name="T44" fmla="*/ 2147483647 w 54"/>
              <a:gd name="T45" fmla="*/ 2147483647 h 92"/>
              <a:gd name="T46" fmla="*/ 2147483647 w 54"/>
              <a:gd name="T47" fmla="*/ 2147483647 h 92"/>
              <a:gd name="T48" fmla="*/ 2147483647 w 54"/>
              <a:gd name="T49" fmla="*/ 2147483647 h 92"/>
              <a:gd name="T50" fmla="*/ 0 w 54"/>
              <a:gd name="T51" fmla="*/ 2147483647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1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572240" y="4662115"/>
            <a:ext cx="23813" cy="57150"/>
          </a:xfrm>
          <a:custGeom>
            <a:avLst/>
            <a:gdLst>
              <a:gd name="T0" fmla="*/ 0 w 60"/>
              <a:gd name="T1" fmla="*/ 0 h 18"/>
              <a:gd name="T2" fmla="*/ 2147483647 w 60"/>
              <a:gd name="T3" fmla="*/ 2147483647 h 18"/>
              <a:gd name="T4" fmla="*/ 2147483647 w 60"/>
              <a:gd name="T5" fmla="*/ 2147483647 h 18"/>
              <a:gd name="T6" fmla="*/ 2147483647 w 60"/>
              <a:gd name="T7" fmla="*/ 2147483647 h 18"/>
              <a:gd name="T8" fmla="*/ 2147483647 w 60"/>
              <a:gd name="T9" fmla="*/ 2147483647 h 18"/>
              <a:gd name="T10" fmla="*/ 2147483647 w 60"/>
              <a:gd name="T11" fmla="*/ 2147483647 h 18"/>
              <a:gd name="T12" fmla="*/ 2147483647 w 60"/>
              <a:gd name="T13" fmla="*/ 2147483647 h 18"/>
              <a:gd name="T14" fmla="*/ 2147483647 w 60"/>
              <a:gd name="T15" fmla="*/ 2147483647 h 18"/>
              <a:gd name="T16" fmla="*/ 2147483647 w 60"/>
              <a:gd name="T17" fmla="*/ 2147483647 h 18"/>
              <a:gd name="T18" fmla="*/ 2147483647 w 60"/>
              <a:gd name="T19" fmla="*/ 2147483647 h 18"/>
              <a:gd name="T20" fmla="*/ 0 w 60"/>
              <a:gd name="T21" fmla="*/ 2147483647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2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556365" y="4631953"/>
            <a:ext cx="25400" cy="57150"/>
          </a:xfrm>
          <a:custGeom>
            <a:avLst/>
            <a:gdLst>
              <a:gd name="T0" fmla="*/ 0 w 66"/>
              <a:gd name="T1" fmla="*/ 2147483647 h 18"/>
              <a:gd name="T2" fmla="*/ 2147483647 w 66"/>
              <a:gd name="T3" fmla="*/ 2147483647 h 18"/>
              <a:gd name="T4" fmla="*/ 2147483647 w 66"/>
              <a:gd name="T5" fmla="*/ 2147483647 h 18"/>
              <a:gd name="T6" fmla="*/ 2147483647 w 66"/>
              <a:gd name="T7" fmla="*/ 2147483647 h 18"/>
              <a:gd name="T8" fmla="*/ 2147483647 w 66"/>
              <a:gd name="T9" fmla="*/ 2147483647 h 18"/>
              <a:gd name="T10" fmla="*/ 2147483647 w 66"/>
              <a:gd name="T11" fmla="*/ 2147483647 h 18"/>
              <a:gd name="T12" fmla="*/ 2147483647 w 66"/>
              <a:gd name="T13" fmla="*/ 2147483647 h 18"/>
              <a:gd name="T14" fmla="*/ 2147483647 w 66"/>
              <a:gd name="T15" fmla="*/ 0 h 18"/>
              <a:gd name="T16" fmla="*/ 0 w 66"/>
              <a:gd name="T17" fmla="*/ 2147483647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3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381740" y="4528765"/>
            <a:ext cx="7938" cy="57150"/>
          </a:xfrm>
          <a:custGeom>
            <a:avLst/>
            <a:gdLst>
              <a:gd name="T0" fmla="*/ 0 w 17"/>
              <a:gd name="T1" fmla="*/ 2147483647 h 42"/>
              <a:gd name="T2" fmla="*/ 2147483647 w 17"/>
              <a:gd name="T3" fmla="*/ 2147483647 h 42"/>
              <a:gd name="T4" fmla="*/ 2147483647 w 17"/>
              <a:gd name="T5" fmla="*/ 2147483647 h 42"/>
              <a:gd name="T6" fmla="*/ 2147483647 w 17"/>
              <a:gd name="T7" fmla="*/ 2147483647 h 42"/>
              <a:gd name="T8" fmla="*/ 2147483647 w 17"/>
              <a:gd name="T9" fmla="*/ 2147483647 h 42"/>
              <a:gd name="T10" fmla="*/ 2147483647 w 17"/>
              <a:gd name="T11" fmla="*/ 2147483647 h 42"/>
              <a:gd name="T12" fmla="*/ 2147483647 w 17"/>
              <a:gd name="T13" fmla="*/ 2147483647 h 42"/>
              <a:gd name="T14" fmla="*/ 2147483647 w 17"/>
              <a:gd name="T15" fmla="*/ 0 h 42"/>
              <a:gd name="T16" fmla="*/ 0 w 17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4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308715" y="4663703"/>
            <a:ext cx="30163" cy="58737"/>
          </a:xfrm>
          <a:custGeom>
            <a:avLst/>
            <a:gdLst>
              <a:gd name="T0" fmla="*/ 2147483647 w 72"/>
              <a:gd name="T1" fmla="*/ 2147483647 h 29"/>
              <a:gd name="T2" fmla="*/ 2147483647 w 72"/>
              <a:gd name="T3" fmla="*/ 2147483647 h 29"/>
              <a:gd name="T4" fmla="*/ 2147483647 w 72"/>
              <a:gd name="T5" fmla="*/ 2147483647 h 29"/>
              <a:gd name="T6" fmla="*/ 2147483647 w 72"/>
              <a:gd name="T7" fmla="*/ 2147483647 h 29"/>
              <a:gd name="T8" fmla="*/ 2147483647 w 72"/>
              <a:gd name="T9" fmla="*/ 2147483647 h 29"/>
              <a:gd name="T10" fmla="*/ 2147483647 w 72"/>
              <a:gd name="T11" fmla="*/ 2147483647 h 29"/>
              <a:gd name="T12" fmla="*/ 2147483647 w 72"/>
              <a:gd name="T13" fmla="*/ 2147483647 h 29"/>
              <a:gd name="T14" fmla="*/ 2147483647 w 72"/>
              <a:gd name="T15" fmla="*/ 2147483647 h 29"/>
              <a:gd name="T16" fmla="*/ 2147483647 w 72"/>
              <a:gd name="T17" fmla="*/ 2147483647 h 29"/>
              <a:gd name="T18" fmla="*/ 2147483647 w 72"/>
              <a:gd name="T19" fmla="*/ 0 h 29"/>
              <a:gd name="T20" fmla="*/ 2147483647 w 72"/>
              <a:gd name="T21" fmla="*/ 0 h 29"/>
              <a:gd name="T22" fmla="*/ 2147483647 w 72"/>
              <a:gd name="T23" fmla="*/ 2147483647 h 29"/>
              <a:gd name="T24" fmla="*/ 2147483647 w 72"/>
              <a:gd name="T25" fmla="*/ 2147483647 h 29"/>
              <a:gd name="T26" fmla="*/ 2147483647 w 72"/>
              <a:gd name="T27" fmla="*/ 2147483647 h 29"/>
              <a:gd name="T28" fmla="*/ 2147483647 w 72"/>
              <a:gd name="T29" fmla="*/ 2147483647 h 29"/>
              <a:gd name="T30" fmla="*/ 0 w 72"/>
              <a:gd name="T31" fmla="*/ 2147483647 h 29"/>
              <a:gd name="T32" fmla="*/ 2147483647 w 72"/>
              <a:gd name="T33" fmla="*/ 2147483647 h 29"/>
              <a:gd name="T34" fmla="*/ 2147483647 w 72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5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316653" y="4849440"/>
            <a:ext cx="19050" cy="55563"/>
          </a:xfrm>
          <a:custGeom>
            <a:avLst/>
            <a:gdLst>
              <a:gd name="T0" fmla="*/ 0 w 46"/>
              <a:gd name="T1" fmla="*/ 0 h 37"/>
              <a:gd name="T2" fmla="*/ 2147483647 w 46"/>
              <a:gd name="T3" fmla="*/ 2147483647 h 37"/>
              <a:gd name="T4" fmla="*/ 2147483647 w 46"/>
              <a:gd name="T5" fmla="*/ 2147483647 h 37"/>
              <a:gd name="T6" fmla="*/ 2147483647 w 46"/>
              <a:gd name="T7" fmla="*/ 2147483647 h 37"/>
              <a:gd name="T8" fmla="*/ 2147483647 w 46"/>
              <a:gd name="T9" fmla="*/ 2147483647 h 37"/>
              <a:gd name="T10" fmla="*/ 2147483647 w 46"/>
              <a:gd name="T11" fmla="*/ 2147483647 h 37"/>
              <a:gd name="T12" fmla="*/ 2147483647 w 46"/>
              <a:gd name="T13" fmla="*/ 2147483647 h 37"/>
              <a:gd name="T14" fmla="*/ 2147483647 w 46"/>
              <a:gd name="T15" fmla="*/ 2147483647 h 37"/>
              <a:gd name="T16" fmla="*/ 2147483647 w 46"/>
              <a:gd name="T17" fmla="*/ 2147483647 h 37"/>
              <a:gd name="T18" fmla="*/ 2147483647 w 46"/>
              <a:gd name="T19" fmla="*/ 2147483647 h 37"/>
              <a:gd name="T20" fmla="*/ 2147483647 w 46"/>
              <a:gd name="T21" fmla="*/ 2147483647 h 37"/>
              <a:gd name="T22" fmla="*/ 2147483647 w 46"/>
              <a:gd name="T23" fmla="*/ 2147483647 h 37"/>
              <a:gd name="T24" fmla="*/ 2147483647 w 46"/>
              <a:gd name="T25" fmla="*/ 2147483647 h 37"/>
              <a:gd name="T26" fmla="*/ 2147483647 w 46"/>
              <a:gd name="T27" fmla="*/ 2147483647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6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429365" y="4668465"/>
            <a:ext cx="11113" cy="57150"/>
          </a:xfrm>
          <a:custGeom>
            <a:avLst/>
            <a:gdLst>
              <a:gd name="T0" fmla="*/ 0 w 26"/>
              <a:gd name="T1" fmla="*/ 0 h 19"/>
              <a:gd name="T2" fmla="*/ 2147483647 w 26"/>
              <a:gd name="T3" fmla="*/ 2147483647 h 19"/>
              <a:gd name="T4" fmla="*/ 2147483647 w 26"/>
              <a:gd name="T5" fmla="*/ 2147483647 h 19"/>
              <a:gd name="T6" fmla="*/ 2147483647 w 26"/>
              <a:gd name="T7" fmla="*/ 0 h 19"/>
              <a:gd name="T8" fmla="*/ 2147483647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7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289665" y="4663703"/>
            <a:ext cx="19050" cy="58737"/>
          </a:xfrm>
          <a:custGeom>
            <a:avLst/>
            <a:gdLst>
              <a:gd name="T0" fmla="*/ 2147483647 w 43"/>
              <a:gd name="T1" fmla="*/ 0 h 31"/>
              <a:gd name="T2" fmla="*/ 2147483647 w 43"/>
              <a:gd name="T3" fmla="*/ 2147483647 h 31"/>
              <a:gd name="T4" fmla="*/ 0 w 43"/>
              <a:gd name="T5" fmla="*/ 2147483647 h 31"/>
              <a:gd name="T6" fmla="*/ 0 w 43"/>
              <a:gd name="T7" fmla="*/ 2147483647 h 31"/>
              <a:gd name="T8" fmla="*/ 0 w 43"/>
              <a:gd name="T9" fmla="*/ 2147483647 h 31"/>
              <a:gd name="T10" fmla="*/ 0 w 43"/>
              <a:gd name="T11" fmla="*/ 2147483647 h 31"/>
              <a:gd name="T12" fmla="*/ 2147483647 w 43"/>
              <a:gd name="T13" fmla="*/ 2147483647 h 31"/>
              <a:gd name="T14" fmla="*/ 2147483647 w 43"/>
              <a:gd name="T15" fmla="*/ 2147483647 h 31"/>
              <a:gd name="T16" fmla="*/ 2147483647 w 43"/>
              <a:gd name="T17" fmla="*/ 2147483647 h 31"/>
              <a:gd name="T18" fmla="*/ 2147483647 w 43"/>
              <a:gd name="T19" fmla="*/ 2147483647 h 31"/>
              <a:gd name="T20" fmla="*/ 2147483647 w 43"/>
              <a:gd name="T21" fmla="*/ 0 h 31"/>
              <a:gd name="T22" fmla="*/ 2147483647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8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334115" y="4711328"/>
            <a:ext cx="30163" cy="57150"/>
          </a:xfrm>
          <a:custGeom>
            <a:avLst/>
            <a:gdLst>
              <a:gd name="T0" fmla="*/ 2147483647 w 71"/>
              <a:gd name="T1" fmla="*/ 2147483647 h 49"/>
              <a:gd name="T2" fmla="*/ 2147483647 w 71"/>
              <a:gd name="T3" fmla="*/ 2147483647 h 49"/>
              <a:gd name="T4" fmla="*/ 2147483647 w 71"/>
              <a:gd name="T5" fmla="*/ 2147483647 h 49"/>
              <a:gd name="T6" fmla="*/ 2147483647 w 71"/>
              <a:gd name="T7" fmla="*/ 2147483647 h 49"/>
              <a:gd name="T8" fmla="*/ 2147483647 w 71"/>
              <a:gd name="T9" fmla="*/ 2147483647 h 49"/>
              <a:gd name="T10" fmla="*/ 2147483647 w 71"/>
              <a:gd name="T11" fmla="*/ 2147483647 h 49"/>
              <a:gd name="T12" fmla="*/ 2147483647 w 71"/>
              <a:gd name="T13" fmla="*/ 2147483647 h 49"/>
              <a:gd name="T14" fmla="*/ 2147483647 w 71"/>
              <a:gd name="T15" fmla="*/ 2147483647 h 49"/>
              <a:gd name="T16" fmla="*/ 2147483647 w 71"/>
              <a:gd name="T17" fmla="*/ 2147483647 h 49"/>
              <a:gd name="T18" fmla="*/ 2147483647 w 71"/>
              <a:gd name="T19" fmla="*/ 2147483647 h 49"/>
              <a:gd name="T20" fmla="*/ 2147483647 w 71"/>
              <a:gd name="T21" fmla="*/ 2147483647 h 49"/>
              <a:gd name="T22" fmla="*/ 2147483647 w 71"/>
              <a:gd name="T23" fmla="*/ 2147483647 h 49"/>
              <a:gd name="T24" fmla="*/ 2147483647 w 71"/>
              <a:gd name="T25" fmla="*/ 2147483647 h 49"/>
              <a:gd name="T26" fmla="*/ 2147483647 w 71"/>
              <a:gd name="T27" fmla="*/ 2147483647 h 49"/>
              <a:gd name="T28" fmla="*/ 2147483647 w 71"/>
              <a:gd name="T29" fmla="*/ 2147483647 h 49"/>
              <a:gd name="T30" fmla="*/ 2147483647 w 71"/>
              <a:gd name="T31" fmla="*/ 2147483647 h 49"/>
              <a:gd name="T32" fmla="*/ 2147483647 w 71"/>
              <a:gd name="T33" fmla="*/ 2147483647 h 49"/>
              <a:gd name="T34" fmla="*/ 2147483647 w 71"/>
              <a:gd name="T35" fmla="*/ 2147483647 h 49"/>
              <a:gd name="T36" fmla="*/ 2147483647 w 71"/>
              <a:gd name="T37" fmla="*/ 2147483647 h 49"/>
              <a:gd name="T38" fmla="*/ 2147483647 w 71"/>
              <a:gd name="T39" fmla="*/ 2147483647 h 49"/>
              <a:gd name="T40" fmla="*/ 2147483647 w 71"/>
              <a:gd name="T41" fmla="*/ 2147483647 h 49"/>
              <a:gd name="T42" fmla="*/ 2147483647 w 71"/>
              <a:gd name="T43" fmla="*/ 2147483647 h 49"/>
              <a:gd name="T44" fmla="*/ 2147483647 w 71"/>
              <a:gd name="T45" fmla="*/ 0 h 49"/>
              <a:gd name="T46" fmla="*/ 2147483647 w 71"/>
              <a:gd name="T47" fmla="*/ 2147483647 h 49"/>
              <a:gd name="T48" fmla="*/ 2147483647 w 71"/>
              <a:gd name="T49" fmla="*/ 2147483647 h 49"/>
              <a:gd name="T50" fmla="*/ 0 w 71"/>
              <a:gd name="T51" fmla="*/ 2147483647 h 49"/>
              <a:gd name="T52" fmla="*/ 0 w 71"/>
              <a:gd name="T53" fmla="*/ 2147483647 h 49"/>
              <a:gd name="T54" fmla="*/ 2147483647 w 71"/>
              <a:gd name="T55" fmla="*/ 2147483647 h 49"/>
              <a:gd name="T56" fmla="*/ 2147483647 w 71"/>
              <a:gd name="T57" fmla="*/ 2147483647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9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135678" y="4914528"/>
            <a:ext cx="46037" cy="58737"/>
          </a:xfrm>
          <a:custGeom>
            <a:avLst/>
            <a:gdLst>
              <a:gd name="T0" fmla="*/ 2147483647 w 112"/>
              <a:gd name="T1" fmla="*/ 2147483647 h 26"/>
              <a:gd name="T2" fmla="*/ 2147483647 w 112"/>
              <a:gd name="T3" fmla="*/ 2147483647 h 26"/>
              <a:gd name="T4" fmla="*/ 2147483647 w 112"/>
              <a:gd name="T5" fmla="*/ 2147483647 h 26"/>
              <a:gd name="T6" fmla="*/ 2147483647 w 112"/>
              <a:gd name="T7" fmla="*/ 2147483647 h 26"/>
              <a:gd name="T8" fmla="*/ 2147483647 w 112"/>
              <a:gd name="T9" fmla="*/ 2147483647 h 26"/>
              <a:gd name="T10" fmla="*/ 2147483647 w 112"/>
              <a:gd name="T11" fmla="*/ 2147483647 h 26"/>
              <a:gd name="T12" fmla="*/ 2147483647 w 112"/>
              <a:gd name="T13" fmla="*/ 2147483647 h 26"/>
              <a:gd name="T14" fmla="*/ 2147483647 w 112"/>
              <a:gd name="T15" fmla="*/ 2147483647 h 26"/>
              <a:gd name="T16" fmla="*/ 2147483647 w 112"/>
              <a:gd name="T17" fmla="*/ 2147483647 h 26"/>
              <a:gd name="T18" fmla="*/ 2147483647 w 112"/>
              <a:gd name="T19" fmla="*/ 2147483647 h 26"/>
              <a:gd name="T20" fmla="*/ 2147483647 w 112"/>
              <a:gd name="T21" fmla="*/ 2147483647 h 26"/>
              <a:gd name="T22" fmla="*/ 2147483647 w 112"/>
              <a:gd name="T23" fmla="*/ 2147483647 h 26"/>
              <a:gd name="T24" fmla="*/ 2147483647 w 112"/>
              <a:gd name="T25" fmla="*/ 2147483647 h 26"/>
              <a:gd name="T26" fmla="*/ 2147483647 w 112"/>
              <a:gd name="T27" fmla="*/ 2147483647 h 26"/>
              <a:gd name="T28" fmla="*/ 2147483647 w 112"/>
              <a:gd name="T29" fmla="*/ 2147483647 h 26"/>
              <a:gd name="T30" fmla="*/ 2147483647 w 112"/>
              <a:gd name="T31" fmla="*/ 2147483647 h 26"/>
              <a:gd name="T32" fmla="*/ 2147483647 w 112"/>
              <a:gd name="T33" fmla="*/ 2147483647 h 26"/>
              <a:gd name="T34" fmla="*/ 2147483647 w 112"/>
              <a:gd name="T35" fmla="*/ 2147483647 h 26"/>
              <a:gd name="T36" fmla="*/ 0 w 112"/>
              <a:gd name="T37" fmla="*/ 2147483647 h 26"/>
              <a:gd name="T38" fmla="*/ 2147483647 w 112"/>
              <a:gd name="T39" fmla="*/ 2147483647 h 26"/>
              <a:gd name="T40" fmla="*/ 2147483647 w 112"/>
              <a:gd name="T41" fmla="*/ 2147483647 h 26"/>
              <a:gd name="T42" fmla="*/ 2147483647 w 112"/>
              <a:gd name="T43" fmla="*/ 2147483647 h 26"/>
              <a:gd name="T44" fmla="*/ 2147483647 w 112"/>
              <a:gd name="T45" fmla="*/ 0 h 26"/>
              <a:gd name="T46" fmla="*/ 2147483647 w 112"/>
              <a:gd name="T47" fmla="*/ 2147483647 h 26"/>
              <a:gd name="T48" fmla="*/ 2147483647 w 112"/>
              <a:gd name="T49" fmla="*/ 2147483647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0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234103" y="4952628"/>
            <a:ext cx="14287" cy="58737"/>
          </a:xfrm>
          <a:custGeom>
            <a:avLst/>
            <a:gdLst>
              <a:gd name="T0" fmla="*/ 0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2147483647 w 41"/>
              <a:gd name="T9" fmla="*/ 2147483647 h 25"/>
              <a:gd name="T10" fmla="*/ 0 w 41"/>
              <a:gd name="T11" fmla="*/ 214748364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1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7067415" y="4884365"/>
            <a:ext cx="36513" cy="55563"/>
          </a:xfrm>
          <a:custGeom>
            <a:avLst/>
            <a:gdLst>
              <a:gd name="T0" fmla="*/ 0 w 81"/>
              <a:gd name="T1" fmla="*/ 2147483647 h 31"/>
              <a:gd name="T2" fmla="*/ 0 w 81"/>
              <a:gd name="T3" fmla="*/ 2147483647 h 31"/>
              <a:gd name="T4" fmla="*/ 0 w 81"/>
              <a:gd name="T5" fmla="*/ 2147483647 h 31"/>
              <a:gd name="T6" fmla="*/ 0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2147483647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2147483647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0 w 81"/>
              <a:gd name="T47" fmla="*/ 2147483647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2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7111865" y="4870078"/>
            <a:ext cx="39688" cy="55562"/>
          </a:xfrm>
          <a:custGeom>
            <a:avLst/>
            <a:gdLst>
              <a:gd name="T0" fmla="*/ 2147483647 w 89"/>
              <a:gd name="T1" fmla="*/ 2147483647 h 49"/>
              <a:gd name="T2" fmla="*/ 2147483647 w 89"/>
              <a:gd name="T3" fmla="*/ 2147483647 h 49"/>
              <a:gd name="T4" fmla="*/ 2147483647 w 89"/>
              <a:gd name="T5" fmla="*/ 2147483647 h 49"/>
              <a:gd name="T6" fmla="*/ 2147483647 w 89"/>
              <a:gd name="T7" fmla="*/ 2147483647 h 49"/>
              <a:gd name="T8" fmla="*/ 2147483647 w 89"/>
              <a:gd name="T9" fmla="*/ 2147483647 h 49"/>
              <a:gd name="T10" fmla="*/ 2147483647 w 89"/>
              <a:gd name="T11" fmla="*/ 2147483647 h 49"/>
              <a:gd name="T12" fmla="*/ 2147483647 w 89"/>
              <a:gd name="T13" fmla="*/ 2147483647 h 49"/>
              <a:gd name="T14" fmla="*/ 2147483647 w 89"/>
              <a:gd name="T15" fmla="*/ 2147483647 h 49"/>
              <a:gd name="T16" fmla="*/ 2147483647 w 89"/>
              <a:gd name="T17" fmla="*/ 2147483647 h 49"/>
              <a:gd name="T18" fmla="*/ 2147483647 w 89"/>
              <a:gd name="T19" fmla="*/ 0 h 49"/>
              <a:gd name="T20" fmla="*/ 2147483647 w 89"/>
              <a:gd name="T21" fmla="*/ 2147483647 h 49"/>
              <a:gd name="T22" fmla="*/ 2147483647 w 89"/>
              <a:gd name="T23" fmla="*/ 2147483647 h 49"/>
              <a:gd name="T24" fmla="*/ 0 w 89"/>
              <a:gd name="T25" fmla="*/ 2147483647 h 49"/>
              <a:gd name="T26" fmla="*/ 0 w 89"/>
              <a:gd name="T27" fmla="*/ 2147483647 h 49"/>
              <a:gd name="T28" fmla="*/ 0 w 89"/>
              <a:gd name="T29" fmla="*/ 2147483647 h 49"/>
              <a:gd name="T30" fmla="*/ 2147483647 w 89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3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164253" y="4879603"/>
            <a:ext cx="36512" cy="58737"/>
          </a:xfrm>
          <a:custGeom>
            <a:avLst/>
            <a:gdLst>
              <a:gd name="T0" fmla="*/ 0 w 86"/>
              <a:gd name="T1" fmla="*/ 2147483647 h 46"/>
              <a:gd name="T2" fmla="*/ 2147483647 w 86"/>
              <a:gd name="T3" fmla="*/ 2147483647 h 46"/>
              <a:gd name="T4" fmla="*/ 2147483647 w 86"/>
              <a:gd name="T5" fmla="*/ 2147483647 h 46"/>
              <a:gd name="T6" fmla="*/ 2147483647 w 86"/>
              <a:gd name="T7" fmla="*/ 2147483647 h 46"/>
              <a:gd name="T8" fmla="*/ 2147483647 w 86"/>
              <a:gd name="T9" fmla="*/ 2147483647 h 46"/>
              <a:gd name="T10" fmla="*/ 2147483647 w 86"/>
              <a:gd name="T11" fmla="*/ 2147483647 h 46"/>
              <a:gd name="T12" fmla="*/ 2147483647 w 86"/>
              <a:gd name="T13" fmla="*/ 2147483647 h 46"/>
              <a:gd name="T14" fmla="*/ 2147483647 w 86"/>
              <a:gd name="T15" fmla="*/ 2147483647 h 46"/>
              <a:gd name="T16" fmla="*/ 2147483647 w 86"/>
              <a:gd name="T17" fmla="*/ 2147483647 h 46"/>
              <a:gd name="T18" fmla="*/ 2147483647 w 86"/>
              <a:gd name="T19" fmla="*/ 2147483647 h 46"/>
              <a:gd name="T20" fmla="*/ 2147483647 w 86"/>
              <a:gd name="T21" fmla="*/ 2147483647 h 46"/>
              <a:gd name="T22" fmla="*/ 2147483647 w 86"/>
              <a:gd name="T23" fmla="*/ 2147483647 h 46"/>
              <a:gd name="T24" fmla="*/ 2147483647 w 86"/>
              <a:gd name="T25" fmla="*/ 2147483647 h 46"/>
              <a:gd name="T26" fmla="*/ 2147483647 w 86"/>
              <a:gd name="T27" fmla="*/ 2147483647 h 46"/>
              <a:gd name="T28" fmla="*/ 2147483647 w 86"/>
              <a:gd name="T29" fmla="*/ 2147483647 h 46"/>
              <a:gd name="T30" fmla="*/ 2147483647 w 86"/>
              <a:gd name="T31" fmla="*/ 2147483647 h 46"/>
              <a:gd name="T32" fmla="*/ 2147483647 w 86"/>
              <a:gd name="T33" fmla="*/ 2147483647 h 46"/>
              <a:gd name="T34" fmla="*/ 2147483647 w 86"/>
              <a:gd name="T35" fmla="*/ 2147483647 h 46"/>
              <a:gd name="T36" fmla="*/ 2147483647 w 86"/>
              <a:gd name="T37" fmla="*/ 2147483647 h 46"/>
              <a:gd name="T38" fmla="*/ 2147483647 w 86"/>
              <a:gd name="T39" fmla="*/ 2147483647 h 46"/>
              <a:gd name="T40" fmla="*/ 2147483647 w 86"/>
              <a:gd name="T41" fmla="*/ 2147483647 h 46"/>
              <a:gd name="T42" fmla="*/ 2147483647 w 86"/>
              <a:gd name="T43" fmla="*/ 0 h 46"/>
              <a:gd name="T44" fmla="*/ 2147483647 w 86"/>
              <a:gd name="T45" fmla="*/ 0 h 46"/>
              <a:gd name="T46" fmla="*/ 2147483647 w 86"/>
              <a:gd name="T47" fmla="*/ 2147483647 h 46"/>
              <a:gd name="T48" fmla="*/ 2147483647 w 86"/>
              <a:gd name="T49" fmla="*/ 2147483647 h 46"/>
              <a:gd name="T50" fmla="*/ 2147483647 w 86"/>
              <a:gd name="T51" fmla="*/ 2147483647 h 46"/>
              <a:gd name="T52" fmla="*/ 2147483647 w 86"/>
              <a:gd name="T53" fmla="*/ 2147483647 h 46"/>
              <a:gd name="T54" fmla="*/ 2147483647 w 86"/>
              <a:gd name="T55" fmla="*/ 2147483647 h 46"/>
              <a:gd name="T56" fmla="*/ 0 w 86"/>
              <a:gd name="T57" fmla="*/ 2147483647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4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216640" y="488436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2147483647 h 18"/>
              <a:gd name="T4" fmla="*/ 2147483647 w 59"/>
              <a:gd name="T5" fmla="*/ 2147483647 h 18"/>
              <a:gd name="T6" fmla="*/ 2147483647 w 59"/>
              <a:gd name="T7" fmla="*/ 2147483647 h 18"/>
              <a:gd name="T8" fmla="*/ 2147483647 w 59"/>
              <a:gd name="T9" fmla="*/ 2147483647 h 18"/>
              <a:gd name="T10" fmla="*/ 2147483647 w 59"/>
              <a:gd name="T11" fmla="*/ 2147483647 h 18"/>
              <a:gd name="T12" fmla="*/ 2147483647 w 59"/>
              <a:gd name="T13" fmla="*/ 2147483647 h 18"/>
              <a:gd name="T14" fmla="*/ 2147483647 w 59"/>
              <a:gd name="T15" fmla="*/ 2147483647 h 18"/>
              <a:gd name="T16" fmla="*/ 2147483647 w 59"/>
              <a:gd name="T17" fmla="*/ 2147483647 h 18"/>
              <a:gd name="T18" fmla="*/ 2147483647 w 59"/>
              <a:gd name="T19" fmla="*/ 2147483647 h 18"/>
              <a:gd name="T20" fmla="*/ 2147483647 w 59"/>
              <a:gd name="T21" fmla="*/ 21474836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5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289665" y="4876428"/>
            <a:ext cx="1588" cy="55562"/>
          </a:xfrm>
          <a:custGeom>
            <a:avLst/>
            <a:gdLst>
              <a:gd name="T0" fmla="*/ 2147483647 w 4"/>
              <a:gd name="T1" fmla="*/ 2147483647 h 19"/>
              <a:gd name="T2" fmla="*/ 2147483647 w 4"/>
              <a:gd name="T3" fmla="*/ 0 h 19"/>
              <a:gd name="T4" fmla="*/ 2147483647 w 4"/>
              <a:gd name="T5" fmla="*/ 2147483647 h 19"/>
              <a:gd name="T6" fmla="*/ 2147483647 w 4"/>
              <a:gd name="T7" fmla="*/ 2147483647 h 19"/>
              <a:gd name="T8" fmla="*/ 0 w 4"/>
              <a:gd name="T9" fmla="*/ 2147483647 h 19"/>
              <a:gd name="T10" fmla="*/ 0 w 4"/>
              <a:gd name="T11" fmla="*/ 2147483647 h 19"/>
              <a:gd name="T12" fmla="*/ 0 w 4"/>
              <a:gd name="T13" fmla="*/ 2147483647 h 19"/>
              <a:gd name="T14" fmla="*/ 2147483647 w 4"/>
              <a:gd name="T15" fmla="*/ 2147483647 h 19"/>
              <a:gd name="T16" fmla="*/ 2147483647 w 4"/>
              <a:gd name="T17" fmla="*/ 2147483647 h 19"/>
              <a:gd name="T18" fmla="*/ 2147483647 w 4"/>
              <a:gd name="T19" fmla="*/ 2147483647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6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864215" y="4690690"/>
            <a:ext cx="20638" cy="58738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0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2147483647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0 w 46"/>
              <a:gd name="T23" fmla="*/ 2147483647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7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810240" y="4663703"/>
            <a:ext cx="30163" cy="58737"/>
          </a:xfrm>
          <a:custGeom>
            <a:avLst/>
            <a:gdLst>
              <a:gd name="T0" fmla="*/ 0 w 66"/>
              <a:gd name="T1" fmla="*/ 0 h 80"/>
              <a:gd name="T2" fmla="*/ 2147483647 w 66"/>
              <a:gd name="T3" fmla="*/ 0 h 80"/>
              <a:gd name="T4" fmla="*/ 2147483647 w 66"/>
              <a:gd name="T5" fmla="*/ 0 h 80"/>
              <a:gd name="T6" fmla="*/ 2147483647 w 66"/>
              <a:gd name="T7" fmla="*/ 0 h 80"/>
              <a:gd name="T8" fmla="*/ 2147483647 w 66"/>
              <a:gd name="T9" fmla="*/ 0 h 80"/>
              <a:gd name="T10" fmla="*/ 2147483647 w 66"/>
              <a:gd name="T11" fmla="*/ 2147483647 h 80"/>
              <a:gd name="T12" fmla="*/ 2147483647 w 66"/>
              <a:gd name="T13" fmla="*/ 2147483647 h 80"/>
              <a:gd name="T14" fmla="*/ 2147483647 w 66"/>
              <a:gd name="T15" fmla="*/ 2147483647 h 80"/>
              <a:gd name="T16" fmla="*/ 2147483647 w 66"/>
              <a:gd name="T17" fmla="*/ 2147483647 h 80"/>
              <a:gd name="T18" fmla="*/ 2147483647 w 66"/>
              <a:gd name="T19" fmla="*/ 2147483647 h 80"/>
              <a:gd name="T20" fmla="*/ 2147483647 w 66"/>
              <a:gd name="T21" fmla="*/ 2147483647 h 80"/>
              <a:gd name="T22" fmla="*/ 2147483647 w 66"/>
              <a:gd name="T23" fmla="*/ 2147483647 h 80"/>
              <a:gd name="T24" fmla="*/ 2147483647 w 66"/>
              <a:gd name="T25" fmla="*/ 2147483647 h 80"/>
              <a:gd name="T26" fmla="*/ 2147483647 w 66"/>
              <a:gd name="T27" fmla="*/ 2147483647 h 80"/>
              <a:gd name="T28" fmla="*/ 2147483647 w 66"/>
              <a:gd name="T29" fmla="*/ 2147483647 h 80"/>
              <a:gd name="T30" fmla="*/ 2147483647 w 66"/>
              <a:gd name="T31" fmla="*/ 2147483647 h 80"/>
              <a:gd name="T32" fmla="*/ 2147483647 w 66"/>
              <a:gd name="T33" fmla="*/ 2147483647 h 80"/>
              <a:gd name="T34" fmla="*/ 0 w 66"/>
              <a:gd name="T35" fmla="*/ 2147483647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8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645140" y="4647828"/>
            <a:ext cx="7938" cy="57150"/>
          </a:xfrm>
          <a:custGeom>
            <a:avLst/>
            <a:gdLst>
              <a:gd name="T0" fmla="*/ 2147483647 w 20"/>
              <a:gd name="T1" fmla="*/ 2147483647 h 48"/>
              <a:gd name="T2" fmla="*/ 2147483647 w 20"/>
              <a:gd name="T3" fmla="*/ 2147483647 h 48"/>
              <a:gd name="T4" fmla="*/ 2147483647 w 20"/>
              <a:gd name="T5" fmla="*/ 2147483647 h 48"/>
              <a:gd name="T6" fmla="*/ 2147483647 w 20"/>
              <a:gd name="T7" fmla="*/ 2147483647 h 48"/>
              <a:gd name="T8" fmla="*/ 2147483647 w 20"/>
              <a:gd name="T9" fmla="*/ 2147483647 h 48"/>
              <a:gd name="T10" fmla="*/ 2147483647 w 20"/>
              <a:gd name="T11" fmla="*/ 2147483647 h 48"/>
              <a:gd name="T12" fmla="*/ 2147483647 w 20"/>
              <a:gd name="T13" fmla="*/ 2147483647 h 48"/>
              <a:gd name="T14" fmla="*/ 2147483647 w 20"/>
              <a:gd name="T15" fmla="*/ 2147483647 h 48"/>
              <a:gd name="T16" fmla="*/ 0 w 20"/>
              <a:gd name="T17" fmla="*/ 0 h 48"/>
              <a:gd name="T18" fmla="*/ 0 w 20"/>
              <a:gd name="T19" fmla="*/ 2147483647 h 48"/>
              <a:gd name="T20" fmla="*/ 2147483647 w 20"/>
              <a:gd name="T21" fmla="*/ 2147483647 h 48"/>
              <a:gd name="T22" fmla="*/ 2147483647 w 20"/>
              <a:gd name="T23" fmla="*/ 2147483647 h 48"/>
              <a:gd name="T24" fmla="*/ 2147483647 w 20"/>
              <a:gd name="T25" fmla="*/ 2147483647 h 48"/>
              <a:gd name="T26" fmla="*/ 2147483647 w 20"/>
              <a:gd name="T27" fmla="*/ 2147483647 h 48"/>
              <a:gd name="T28" fmla="*/ 2147483647 w 20"/>
              <a:gd name="T29" fmla="*/ 2147483647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9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670540" y="468434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  <p:sp>
        <p:nvSpPr>
          <p:cNvPr id="2280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667365" y="4684340"/>
            <a:ext cx="7938" cy="5715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2147483647 h 12"/>
              <a:gd name="T10" fmla="*/ 2147483647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1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568940" y="4528765"/>
            <a:ext cx="22225" cy="57150"/>
          </a:xfrm>
          <a:custGeom>
            <a:avLst/>
            <a:gdLst>
              <a:gd name="T0" fmla="*/ 2147483647 w 53"/>
              <a:gd name="T1" fmla="*/ 0 h 30"/>
              <a:gd name="T2" fmla="*/ 2147483647 w 53"/>
              <a:gd name="T3" fmla="*/ 2147483647 h 30"/>
              <a:gd name="T4" fmla="*/ 2147483647 w 53"/>
              <a:gd name="T5" fmla="*/ 2147483647 h 30"/>
              <a:gd name="T6" fmla="*/ 2147483647 w 53"/>
              <a:gd name="T7" fmla="*/ 2147483647 h 30"/>
              <a:gd name="T8" fmla="*/ 2147483647 w 53"/>
              <a:gd name="T9" fmla="*/ 2147483647 h 30"/>
              <a:gd name="T10" fmla="*/ 2147483647 w 53"/>
              <a:gd name="T11" fmla="*/ 2147483647 h 30"/>
              <a:gd name="T12" fmla="*/ 2147483647 w 53"/>
              <a:gd name="T13" fmla="*/ 2147483647 h 30"/>
              <a:gd name="T14" fmla="*/ 2147483647 w 53"/>
              <a:gd name="T15" fmla="*/ 2147483647 h 30"/>
              <a:gd name="T16" fmla="*/ 2147483647 w 53"/>
              <a:gd name="T17" fmla="*/ 2147483647 h 30"/>
              <a:gd name="T18" fmla="*/ 2147483647 w 53"/>
              <a:gd name="T19" fmla="*/ 2147483647 h 30"/>
              <a:gd name="T20" fmla="*/ 2147483647 w 53"/>
              <a:gd name="T21" fmla="*/ 2147483647 h 30"/>
              <a:gd name="T22" fmla="*/ 2147483647 w 53"/>
              <a:gd name="T23" fmla="*/ 2147483647 h 30"/>
              <a:gd name="T24" fmla="*/ 0 w 53"/>
              <a:gd name="T25" fmla="*/ 2147483647 h 30"/>
              <a:gd name="T26" fmla="*/ 2147483647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82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7097578" y="4892303"/>
            <a:ext cx="11112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0 h 31"/>
              <a:gd name="T12" fmla="*/ 2147483647 w 33"/>
              <a:gd name="T13" fmla="*/ 0 h 31"/>
              <a:gd name="T14" fmla="*/ 2147483647 w 33"/>
              <a:gd name="T15" fmla="*/ 0 h 31"/>
              <a:gd name="T16" fmla="*/ 2147483647 w 33"/>
              <a:gd name="T17" fmla="*/ 0 h 31"/>
              <a:gd name="T18" fmla="*/ 0 w 33"/>
              <a:gd name="T19" fmla="*/ 0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3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613515" y="4849440"/>
            <a:ext cx="28575" cy="55563"/>
          </a:xfrm>
          <a:custGeom>
            <a:avLst/>
            <a:gdLst>
              <a:gd name="T0" fmla="*/ 2147483647 w 65"/>
              <a:gd name="T1" fmla="*/ 2147483647 h 68"/>
              <a:gd name="T2" fmla="*/ 2147483647 w 65"/>
              <a:gd name="T3" fmla="*/ 2147483647 h 68"/>
              <a:gd name="T4" fmla="*/ 2147483647 w 65"/>
              <a:gd name="T5" fmla="*/ 2147483647 h 68"/>
              <a:gd name="T6" fmla="*/ 2147483647 w 65"/>
              <a:gd name="T7" fmla="*/ 2147483647 h 68"/>
              <a:gd name="T8" fmla="*/ 2147483647 w 65"/>
              <a:gd name="T9" fmla="*/ 2147483647 h 68"/>
              <a:gd name="T10" fmla="*/ 2147483647 w 65"/>
              <a:gd name="T11" fmla="*/ 2147483647 h 68"/>
              <a:gd name="T12" fmla="*/ 2147483647 w 65"/>
              <a:gd name="T13" fmla="*/ 2147483647 h 68"/>
              <a:gd name="T14" fmla="*/ 0 w 65"/>
              <a:gd name="T15" fmla="*/ 2147483647 h 68"/>
              <a:gd name="T16" fmla="*/ 0 w 65"/>
              <a:gd name="T17" fmla="*/ 2147483647 h 68"/>
              <a:gd name="T18" fmla="*/ 0 w 65"/>
              <a:gd name="T19" fmla="*/ 2147483647 h 68"/>
              <a:gd name="T20" fmla="*/ 2147483647 w 65"/>
              <a:gd name="T21" fmla="*/ 2147483647 h 68"/>
              <a:gd name="T22" fmla="*/ 2147483647 w 65"/>
              <a:gd name="T23" fmla="*/ 2147483647 h 68"/>
              <a:gd name="T24" fmla="*/ 2147483647 w 65"/>
              <a:gd name="T25" fmla="*/ 2147483647 h 68"/>
              <a:gd name="T26" fmla="*/ 2147483647 w 65"/>
              <a:gd name="T27" fmla="*/ 2147483647 h 68"/>
              <a:gd name="T28" fmla="*/ 2147483647 w 65"/>
              <a:gd name="T29" fmla="*/ 2147483647 h 68"/>
              <a:gd name="T30" fmla="*/ 2147483647 w 65"/>
              <a:gd name="T31" fmla="*/ 2147483647 h 68"/>
              <a:gd name="T32" fmla="*/ 2147483647 w 65"/>
              <a:gd name="T33" fmla="*/ 0 h 68"/>
              <a:gd name="T34" fmla="*/ 2147483647 w 65"/>
              <a:gd name="T35" fmla="*/ 0 h 68"/>
              <a:gd name="T36" fmla="*/ 2147483647 w 65"/>
              <a:gd name="T37" fmla="*/ 0 h 68"/>
              <a:gd name="T38" fmla="*/ 2147483647 w 65"/>
              <a:gd name="T39" fmla="*/ 2147483647 h 68"/>
              <a:gd name="T40" fmla="*/ 2147483647 w 65"/>
              <a:gd name="T41" fmla="*/ 2147483647 h 68"/>
              <a:gd name="T42" fmla="*/ 2147483647 w 65"/>
              <a:gd name="T43" fmla="*/ 2147483647 h 68"/>
              <a:gd name="T44" fmla="*/ 2147483647 w 65"/>
              <a:gd name="T45" fmla="*/ 2147483647 h 68"/>
              <a:gd name="T46" fmla="*/ 2147483647 w 65"/>
              <a:gd name="T47" fmla="*/ 2147483647 h 68"/>
              <a:gd name="T48" fmla="*/ 2147483647 w 65"/>
              <a:gd name="T49" fmla="*/ 2147483647 h 68"/>
              <a:gd name="T50" fmla="*/ 2147483647 w 65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4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551478" y="4431928"/>
            <a:ext cx="274637" cy="368300"/>
          </a:xfrm>
          <a:custGeom>
            <a:avLst/>
            <a:gdLst>
              <a:gd name="T0" fmla="*/ 2147483647 w 625"/>
              <a:gd name="T1" fmla="*/ 2147483647 h 694"/>
              <a:gd name="T2" fmla="*/ 2147483647 w 625"/>
              <a:gd name="T3" fmla="*/ 2147483647 h 694"/>
              <a:gd name="T4" fmla="*/ 2147483647 w 625"/>
              <a:gd name="T5" fmla="*/ 2147483647 h 694"/>
              <a:gd name="T6" fmla="*/ 2147483647 w 625"/>
              <a:gd name="T7" fmla="*/ 2147483647 h 694"/>
              <a:gd name="T8" fmla="*/ 2147483647 w 625"/>
              <a:gd name="T9" fmla="*/ 2147483647 h 694"/>
              <a:gd name="T10" fmla="*/ 2147483647 w 625"/>
              <a:gd name="T11" fmla="*/ 2147483647 h 694"/>
              <a:gd name="T12" fmla="*/ 2147483647 w 625"/>
              <a:gd name="T13" fmla="*/ 2147483647 h 694"/>
              <a:gd name="T14" fmla="*/ 2147483647 w 625"/>
              <a:gd name="T15" fmla="*/ 2147483647 h 694"/>
              <a:gd name="T16" fmla="*/ 2147483647 w 625"/>
              <a:gd name="T17" fmla="*/ 2147483647 h 694"/>
              <a:gd name="T18" fmla="*/ 2147483647 w 625"/>
              <a:gd name="T19" fmla="*/ 2147483647 h 694"/>
              <a:gd name="T20" fmla="*/ 2147483647 w 625"/>
              <a:gd name="T21" fmla="*/ 2147483647 h 694"/>
              <a:gd name="T22" fmla="*/ 2147483647 w 625"/>
              <a:gd name="T23" fmla="*/ 2147483647 h 694"/>
              <a:gd name="T24" fmla="*/ 2147483647 w 625"/>
              <a:gd name="T25" fmla="*/ 2147483647 h 694"/>
              <a:gd name="T26" fmla="*/ 2147483647 w 625"/>
              <a:gd name="T27" fmla="*/ 2147483647 h 694"/>
              <a:gd name="T28" fmla="*/ 2147483647 w 625"/>
              <a:gd name="T29" fmla="*/ 2147483647 h 694"/>
              <a:gd name="T30" fmla="*/ 2147483647 w 625"/>
              <a:gd name="T31" fmla="*/ 2147483647 h 694"/>
              <a:gd name="T32" fmla="*/ 2147483647 w 625"/>
              <a:gd name="T33" fmla="*/ 2147483647 h 694"/>
              <a:gd name="T34" fmla="*/ 2147483647 w 625"/>
              <a:gd name="T35" fmla="*/ 2147483647 h 694"/>
              <a:gd name="T36" fmla="*/ 2147483647 w 625"/>
              <a:gd name="T37" fmla="*/ 2147483647 h 694"/>
              <a:gd name="T38" fmla="*/ 2147483647 w 625"/>
              <a:gd name="T39" fmla="*/ 2147483647 h 694"/>
              <a:gd name="T40" fmla="*/ 2147483647 w 625"/>
              <a:gd name="T41" fmla="*/ 2147483647 h 694"/>
              <a:gd name="T42" fmla="*/ 2147483647 w 625"/>
              <a:gd name="T43" fmla="*/ 2147483647 h 694"/>
              <a:gd name="T44" fmla="*/ 2147483647 w 625"/>
              <a:gd name="T45" fmla="*/ 2147483647 h 694"/>
              <a:gd name="T46" fmla="*/ 2147483647 w 625"/>
              <a:gd name="T47" fmla="*/ 2147483647 h 694"/>
              <a:gd name="T48" fmla="*/ 2147483647 w 625"/>
              <a:gd name="T49" fmla="*/ 2147483647 h 694"/>
              <a:gd name="T50" fmla="*/ 2147483647 w 625"/>
              <a:gd name="T51" fmla="*/ 2147483647 h 694"/>
              <a:gd name="T52" fmla="*/ 2147483647 w 625"/>
              <a:gd name="T53" fmla="*/ 2147483647 h 694"/>
              <a:gd name="T54" fmla="*/ 2147483647 w 625"/>
              <a:gd name="T55" fmla="*/ 2147483647 h 694"/>
              <a:gd name="T56" fmla="*/ 2147483647 w 625"/>
              <a:gd name="T57" fmla="*/ 2147483647 h 694"/>
              <a:gd name="T58" fmla="*/ 2147483647 w 625"/>
              <a:gd name="T59" fmla="*/ 2147483647 h 694"/>
              <a:gd name="T60" fmla="*/ 2147483647 w 625"/>
              <a:gd name="T61" fmla="*/ 2147483647 h 694"/>
              <a:gd name="T62" fmla="*/ 2147483647 w 625"/>
              <a:gd name="T63" fmla="*/ 2147483647 h 694"/>
              <a:gd name="T64" fmla="*/ 2147483647 w 625"/>
              <a:gd name="T65" fmla="*/ 2147483647 h 694"/>
              <a:gd name="T66" fmla="*/ 2147483647 w 625"/>
              <a:gd name="T67" fmla="*/ 2147483647 h 694"/>
              <a:gd name="T68" fmla="*/ 2147483647 w 625"/>
              <a:gd name="T69" fmla="*/ 2147483647 h 694"/>
              <a:gd name="T70" fmla="*/ 2147483647 w 625"/>
              <a:gd name="T71" fmla="*/ 2147483647 h 694"/>
              <a:gd name="T72" fmla="*/ 2147483647 w 625"/>
              <a:gd name="T73" fmla="*/ 2147483647 h 694"/>
              <a:gd name="T74" fmla="*/ 2147483647 w 625"/>
              <a:gd name="T75" fmla="*/ 2147483647 h 694"/>
              <a:gd name="T76" fmla="*/ 2147483647 w 625"/>
              <a:gd name="T77" fmla="*/ 2147483647 h 694"/>
              <a:gd name="T78" fmla="*/ 2147483647 w 625"/>
              <a:gd name="T79" fmla="*/ 2147483647 h 694"/>
              <a:gd name="T80" fmla="*/ 2147483647 w 625"/>
              <a:gd name="T81" fmla="*/ 2147483647 h 694"/>
              <a:gd name="T82" fmla="*/ 2147483647 w 625"/>
              <a:gd name="T83" fmla="*/ 2147483647 h 694"/>
              <a:gd name="T84" fmla="*/ 2147483647 w 625"/>
              <a:gd name="T85" fmla="*/ 2147483647 h 694"/>
              <a:gd name="T86" fmla="*/ 2147483647 w 625"/>
              <a:gd name="T87" fmla="*/ 2147483647 h 694"/>
              <a:gd name="T88" fmla="*/ 2147483647 w 625"/>
              <a:gd name="T89" fmla="*/ 2147483647 h 694"/>
              <a:gd name="T90" fmla="*/ 2147483647 w 625"/>
              <a:gd name="T91" fmla="*/ 2147483647 h 694"/>
              <a:gd name="T92" fmla="*/ 2147483647 w 625"/>
              <a:gd name="T93" fmla="*/ 2147483647 h 694"/>
              <a:gd name="T94" fmla="*/ 2147483647 w 625"/>
              <a:gd name="T95" fmla="*/ 2147483647 h 694"/>
              <a:gd name="T96" fmla="*/ 2147483647 w 625"/>
              <a:gd name="T97" fmla="*/ 2147483647 h 694"/>
              <a:gd name="T98" fmla="*/ 2147483647 w 625"/>
              <a:gd name="T99" fmla="*/ 2147483647 h 694"/>
              <a:gd name="T100" fmla="*/ 2147483647 w 625"/>
              <a:gd name="T101" fmla="*/ 2147483647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5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892790" y="4481140"/>
            <a:ext cx="254000" cy="257175"/>
          </a:xfrm>
          <a:custGeom>
            <a:avLst/>
            <a:gdLst>
              <a:gd name="T0" fmla="*/ 2147483647 w 585"/>
              <a:gd name="T1" fmla="*/ 2147483647 h 493"/>
              <a:gd name="T2" fmla="*/ 2147483647 w 585"/>
              <a:gd name="T3" fmla="*/ 2147483647 h 493"/>
              <a:gd name="T4" fmla="*/ 2147483647 w 585"/>
              <a:gd name="T5" fmla="*/ 2147483647 h 493"/>
              <a:gd name="T6" fmla="*/ 2147483647 w 585"/>
              <a:gd name="T7" fmla="*/ 2147483647 h 493"/>
              <a:gd name="T8" fmla="*/ 2147483647 w 585"/>
              <a:gd name="T9" fmla="*/ 2147483647 h 493"/>
              <a:gd name="T10" fmla="*/ 2147483647 w 585"/>
              <a:gd name="T11" fmla="*/ 2147483647 h 493"/>
              <a:gd name="T12" fmla="*/ 2147483647 w 585"/>
              <a:gd name="T13" fmla="*/ 2147483647 h 493"/>
              <a:gd name="T14" fmla="*/ 2147483647 w 585"/>
              <a:gd name="T15" fmla="*/ 2147483647 h 493"/>
              <a:gd name="T16" fmla="*/ 2147483647 w 585"/>
              <a:gd name="T17" fmla="*/ 2147483647 h 493"/>
              <a:gd name="T18" fmla="*/ 2147483647 w 585"/>
              <a:gd name="T19" fmla="*/ 2147483647 h 493"/>
              <a:gd name="T20" fmla="*/ 2147483647 w 585"/>
              <a:gd name="T21" fmla="*/ 2147483647 h 493"/>
              <a:gd name="T22" fmla="*/ 2147483647 w 585"/>
              <a:gd name="T23" fmla="*/ 2147483647 h 493"/>
              <a:gd name="T24" fmla="*/ 2147483647 w 585"/>
              <a:gd name="T25" fmla="*/ 2147483647 h 493"/>
              <a:gd name="T26" fmla="*/ 2147483647 w 585"/>
              <a:gd name="T27" fmla="*/ 2147483647 h 493"/>
              <a:gd name="T28" fmla="*/ 2147483647 w 585"/>
              <a:gd name="T29" fmla="*/ 2147483647 h 493"/>
              <a:gd name="T30" fmla="*/ 2147483647 w 585"/>
              <a:gd name="T31" fmla="*/ 2147483647 h 493"/>
              <a:gd name="T32" fmla="*/ 2147483647 w 585"/>
              <a:gd name="T33" fmla="*/ 2147483647 h 493"/>
              <a:gd name="T34" fmla="*/ 2147483647 w 585"/>
              <a:gd name="T35" fmla="*/ 2147483647 h 493"/>
              <a:gd name="T36" fmla="*/ 2147483647 w 585"/>
              <a:gd name="T37" fmla="*/ 2147483647 h 493"/>
              <a:gd name="T38" fmla="*/ 2147483647 w 585"/>
              <a:gd name="T39" fmla="*/ 2147483647 h 493"/>
              <a:gd name="T40" fmla="*/ 2147483647 w 585"/>
              <a:gd name="T41" fmla="*/ 2147483647 h 493"/>
              <a:gd name="T42" fmla="*/ 2147483647 w 585"/>
              <a:gd name="T43" fmla="*/ 2147483647 h 493"/>
              <a:gd name="T44" fmla="*/ 2147483647 w 585"/>
              <a:gd name="T45" fmla="*/ 2147483647 h 493"/>
              <a:gd name="T46" fmla="*/ 2147483647 w 585"/>
              <a:gd name="T47" fmla="*/ 2147483647 h 493"/>
              <a:gd name="T48" fmla="*/ 2147483647 w 585"/>
              <a:gd name="T49" fmla="*/ 2147483647 h 493"/>
              <a:gd name="T50" fmla="*/ 2147483647 w 585"/>
              <a:gd name="T51" fmla="*/ 2147483647 h 493"/>
              <a:gd name="T52" fmla="*/ 2147483647 w 585"/>
              <a:gd name="T53" fmla="*/ 2147483647 h 493"/>
              <a:gd name="T54" fmla="*/ 2147483647 w 585"/>
              <a:gd name="T55" fmla="*/ 2147483647 h 493"/>
              <a:gd name="T56" fmla="*/ 2147483647 w 585"/>
              <a:gd name="T57" fmla="*/ 2147483647 h 493"/>
              <a:gd name="T58" fmla="*/ 2147483647 w 585"/>
              <a:gd name="T59" fmla="*/ 2147483647 h 493"/>
              <a:gd name="T60" fmla="*/ 2147483647 w 585"/>
              <a:gd name="T61" fmla="*/ 2147483647 h 493"/>
              <a:gd name="T62" fmla="*/ 2147483647 w 585"/>
              <a:gd name="T63" fmla="*/ 2147483647 h 493"/>
              <a:gd name="T64" fmla="*/ 2147483647 w 585"/>
              <a:gd name="T65" fmla="*/ 2147483647 h 493"/>
              <a:gd name="T66" fmla="*/ 2147483647 w 585"/>
              <a:gd name="T67" fmla="*/ 2147483647 h 493"/>
              <a:gd name="T68" fmla="*/ 2147483647 w 585"/>
              <a:gd name="T69" fmla="*/ 2147483647 h 493"/>
              <a:gd name="T70" fmla="*/ 2147483647 w 585"/>
              <a:gd name="T71" fmla="*/ 2147483647 h 493"/>
              <a:gd name="T72" fmla="*/ 2147483647 w 585"/>
              <a:gd name="T73" fmla="*/ 2147483647 h 493"/>
              <a:gd name="T74" fmla="*/ 2147483647 w 585"/>
              <a:gd name="T75" fmla="*/ 2147483647 h 493"/>
              <a:gd name="T76" fmla="*/ 2147483647 w 585"/>
              <a:gd name="T77" fmla="*/ 2147483647 h 493"/>
              <a:gd name="T78" fmla="*/ 2147483647 w 585"/>
              <a:gd name="T79" fmla="*/ 2147483647 h 493"/>
              <a:gd name="T80" fmla="*/ 2147483647 w 585"/>
              <a:gd name="T81" fmla="*/ 2147483647 h 493"/>
              <a:gd name="T82" fmla="*/ 2147483647 w 585"/>
              <a:gd name="T83" fmla="*/ 2147483647 h 493"/>
              <a:gd name="T84" fmla="*/ 2147483647 w 585"/>
              <a:gd name="T85" fmla="*/ 2147483647 h 493"/>
              <a:gd name="T86" fmla="*/ 2147483647 w 585"/>
              <a:gd name="T87" fmla="*/ 2147483647 h 493"/>
              <a:gd name="T88" fmla="*/ 2147483647 w 585"/>
              <a:gd name="T89" fmla="*/ 2147483647 h 493"/>
              <a:gd name="T90" fmla="*/ 2147483647 w 585"/>
              <a:gd name="T91" fmla="*/ 2147483647 h 493"/>
              <a:gd name="T92" fmla="*/ 2147483647 w 585"/>
              <a:gd name="T93" fmla="*/ 2147483647 h 493"/>
              <a:gd name="T94" fmla="*/ 2147483647 w 585"/>
              <a:gd name="T95" fmla="*/ 2147483647 h 493"/>
              <a:gd name="T96" fmla="*/ 2147483647 w 585"/>
              <a:gd name="T97" fmla="*/ 2147483647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6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248390" y="4887540"/>
            <a:ext cx="92075" cy="57150"/>
          </a:xfrm>
          <a:custGeom>
            <a:avLst/>
            <a:gdLst>
              <a:gd name="T0" fmla="*/ 0 w 212"/>
              <a:gd name="T1" fmla="*/ 2147483647 h 105"/>
              <a:gd name="T2" fmla="*/ 2147483647 w 212"/>
              <a:gd name="T3" fmla="*/ 2147483647 h 105"/>
              <a:gd name="T4" fmla="*/ 2147483647 w 212"/>
              <a:gd name="T5" fmla="*/ 2147483647 h 105"/>
              <a:gd name="T6" fmla="*/ 2147483647 w 212"/>
              <a:gd name="T7" fmla="*/ 2147483647 h 105"/>
              <a:gd name="T8" fmla="*/ 2147483647 w 212"/>
              <a:gd name="T9" fmla="*/ 2147483647 h 105"/>
              <a:gd name="T10" fmla="*/ 2147483647 w 212"/>
              <a:gd name="T11" fmla="*/ 2147483647 h 105"/>
              <a:gd name="T12" fmla="*/ 2147483647 w 212"/>
              <a:gd name="T13" fmla="*/ 2147483647 h 105"/>
              <a:gd name="T14" fmla="*/ 2147483647 w 212"/>
              <a:gd name="T15" fmla="*/ 2147483647 h 105"/>
              <a:gd name="T16" fmla="*/ 2147483647 w 212"/>
              <a:gd name="T17" fmla="*/ 2147483647 h 105"/>
              <a:gd name="T18" fmla="*/ 2147483647 w 212"/>
              <a:gd name="T19" fmla="*/ 2147483647 h 105"/>
              <a:gd name="T20" fmla="*/ 2147483647 w 212"/>
              <a:gd name="T21" fmla="*/ 2147483647 h 105"/>
              <a:gd name="T22" fmla="*/ 2147483647 w 212"/>
              <a:gd name="T23" fmla="*/ 2147483647 h 105"/>
              <a:gd name="T24" fmla="*/ 2147483647 w 212"/>
              <a:gd name="T25" fmla="*/ 0 h 105"/>
              <a:gd name="T26" fmla="*/ 2147483647 w 212"/>
              <a:gd name="T27" fmla="*/ 0 h 105"/>
              <a:gd name="T28" fmla="*/ 2147483647 w 212"/>
              <a:gd name="T29" fmla="*/ 2147483647 h 105"/>
              <a:gd name="T30" fmla="*/ 2147483647 w 212"/>
              <a:gd name="T31" fmla="*/ 2147483647 h 105"/>
              <a:gd name="T32" fmla="*/ 2147483647 w 212"/>
              <a:gd name="T33" fmla="*/ 2147483647 h 105"/>
              <a:gd name="T34" fmla="*/ 2147483647 w 212"/>
              <a:gd name="T35" fmla="*/ 2147483647 h 105"/>
              <a:gd name="T36" fmla="*/ 2147483647 w 212"/>
              <a:gd name="T37" fmla="*/ 2147483647 h 105"/>
              <a:gd name="T38" fmla="*/ 2147483647 w 212"/>
              <a:gd name="T39" fmla="*/ 2147483647 h 105"/>
              <a:gd name="T40" fmla="*/ 2147483647 w 212"/>
              <a:gd name="T41" fmla="*/ 2147483647 h 105"/>
              <a:gd name="T42" fmla="*/ 2147483647 w 212"/>
              <a:gd name="T43" fmla="*/ 2147483647 h 105"/>
              <a:gd name="T44" fmla="*/ 2147483647 w 212"/>
              <a:gd name="T45" fmla="*/ 2147483647 h 105"/>
              <a:gd name="T46" fmla="*/ 0 w 212"/>
              <a:gd name="T47" fmla="*/ 2147483647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7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364278" y="4554165"/>
            <a:ext cx="42862" cy="88900"/>
          </a:xfrm>
          <a:custGeom>
            <a:avLst/>
            <a:gdLst>
              <a:gd name="T0" fmla="*/ 0 w 92"/>
              <a:gd name="T1" fmla="*/ 2147483647 h 166"/>
              <a:gd name="T2" fmla="*/ 0 w 92"/>
              <a:gd name="T3" fmla="*/ 2147483647 h 166"/>
              <a:gd name="T4" fmla="*/ 2147483647 w 92"/>
              <a:gd name="T5" fmla="*/ 2147483647 h 166"/>
              <a:gd name="T6" fmla="*/ 2147483647 w 92"/>
              <a:gd name="T7" fmla="*/ 2147483647 h 166"/>
              <a:gd name="T8" fmla="*/ 2147483647 w 92"/>
              <a:gd name="T9" fmla="*/ 2147483647 h 166"/>
              <a:gd name="T10" fmla="*/ 2147483647 w 92"/>
              <a:gd name="T11" fmla="*/ 2147483647 h 166"/>
              <a:gd name="T12" fmla="*/ 2147483647 w 92"/>
              <a:gd name="T13" fmla="*/ 2147483647 h 166"/>
              <a:gd name="T14" fmla="*/ 2147483647 w 92"/>
              <a:gd name="T15" fmla="*/ 2147483647 h 166"/>
              <a:gd name="T16" fmla="*/ 2147483647 w 92"/>
              <a:gd name="T17" fmla="*/ 2147483647 h 166"/>
              <a:gd name="T18" fmla="*/ 2147483647 w 92"/>
              <a:gd name="T19" fmla="*/ 2147483647 h 166"/>
              <a:gd name="T20" fmla="*/ 2147483647 w 92"/>
              <a:gd name="T21" fmla="*/ 2147483647 h 166"/>
              <a:gd name="T22" fmla="*/ 2147483647 w 92"/>
              <a:gd name="T23" fmla="*/ 2147483647 h 166"/>
              <a:gd name="T24" fmla="*/ 2147483647 w 92"/>
              <a:gd name="T25" fmla="*/ 2147483647 h 166"/>
              <a:gd name="T26" fmla="*/ 2147483647 w 92"/>
              <a:gd name="T27" fmla="*/ 2147483647 h 166"/>
              <a:gd name="T28" fmla="*/ 2147483647 w 92"/>
              <a:gd name="T29" fmla="*/ 2147483647 h 166"/>
              <a:gd name="T30" fmla="*/ 2147483647 w 92"/>
              <a:gd name="T31" fmla="*/ 2147483647 h 166"/>
              <a:gd name="T32" fmla="*/ 2147483647 w 92"/>
              <a:gd name="T33" fmla="*/ 2147483647 h 166"/>
              <a:gd name="T34" fmla="*/ 2147483647 w 92"/>
              <a:gd name="T35" fmla="*/ 2147483647 h 166"/>
              <a:gd name="T36" fmla="*/ 2147483647 w 92"/>
              <a:gd name="T37" fmla="*/ 2147483647 h 166"/>
              <a:gd name="T38" fmla="*/ 2147483647 w 92"/>
              <a:gd name="T39" fmla="*/ 2147483647 h 166"/>
              <a:gd name="T40" fmla="*/ 2147483647 w 92"/>
              <a:gd name="T41" fmla="*/ 2147483647 h 166"/>
              <a:gd name="T42" fmla="*/ 2147483647 w 92"/>
              <a:gd name="T43" fmla="*/ 2147483647 h 166"/>
              <a:gd name="T44" fmla="*/ 2147483647 w 92"/>
              <a:gd name="T45" fmla="*/ 2147483647 h 166"/>
              <a:gd name="T46" fmla="*/ 2147483647 w 92"/>
              <a:gd name="T47" fmla="*/ 2147483647 h 166"/>
              <a:gd name="T48" fmla="*/ 2147483647 w 92"/>
              <a:gd name="T49" fmla="*/ 2147483647 h 166"/>
              <a:gd name="T50" fmla="*/ 2147483647 w 92"/>
              <a:gd name="T51" fmla="*/ 2147483647 h 166"/>
              <a:gd name="T52" fmla="*/ 2147483647 w 92"/>
              <a:gd name="T53" fmla="*/ 2147483647 h 166"/>
              <a:gd name="T54" fmla="*/ 2147483647 w 92"/>
              <a:gd name="T55" fmla="*/ 2147483647 h 166"/>
              <a:gd name="T56" fmla="*/ 2147483647 w 92"/>
              <a:gd name="T57" fmla="*/ 2147483647 h 166"/>
              <a:gd name="T58" fmla="*/ 2147483647 w 92"/>
              <a:gd name="T59" fmla="*/ 2147483647 h 166"/>
              <a:gd name="T60" fmla="*/ 2147483647 w 92"/>
              <a:gd name="T61" fmla="*/ 2147483647 h 166"/>
              <a:gd name="T62" fmla="*/ 2147483647 w 92"/>
              <a:gd name="T63" fmla="*/ 2147483647 h 166"/>
              <a:gd name="T64" fmla="*/ 2147483647 w 92"/>
              <a:gd name="T65" fmla="*/ 2147483647 h 166"/>
              <a:gd name="T66" fmla="*/ 2147483647 w 92"/>
              <a:gd name="T67" fmla="*/ 2147483647 h 166"/>
              <a:gd name="T68" fmla="*/ 2147483647 w 92"/>
              <a:gd name="T69" fmla="*/ 2147483647 h 166"/>
              <a:gd name="T70" fmla="*/ 2147483647 w 92"/>
              <a:gd name="T71" fmla="*/ 2147483647 h 166"/>
              <a:gd name="T72" fmla="*/ 2147483647 w 92"/>
              <a:gd name="T73" fmla="*/ 2147483647 h 166"/>
              <a:gd name="T74" fmla="*/ 2147483647 w 92"/>
              <a:gd name="T75" fmla="*/ 2147483647 h 166"/>
              <a:gd name="T76" fmla="*/ 2147483647 w 92"/>
              <a:gd name="T77" fmla="*/ 2147483647 h 166"/>
              <a:gd name="T78" fmla="*/ 2147483647 w 92"/>
              <a:gd name="T79" fmla="*/ 2147483647 h 166"/>
              <a:gd name="T80" fmla="*/ 2147483647 w 92"/>
              <a:gd name="T81" fmla="*/ 2147483647 h 166"/>
              <a:gd name="T82" fmla="*/ 2147483647 w 92"/>
              <a:gd name="T83" fmla="*/ 2147483647 h 166"/>
              <a:gd name="T84" fmla="*/ 2147483647 w 92"/>
              <a:gd name="T85" fmla="*/ 2147483647 h 166"/>
              <a:gd name="T86" fmla="*/ 2147483647 w 92"/>
              <a:gd name="T87" fmla="*/ 2147483647 h 166"/>
              <a:gd name="T88" fmla="*/ 2147483647 w 92"/>
              <a:gd name="T89" fmla="*/ 2147483647 h 166"/>
              <a:gd name="T90" fmla="*/ 0 w 92"/>
              <a:gd name="T91" fmla="*/ 0 h 166"/>
              <a:gd name="T92" fmla="*/ 0 w 92"/>
              <a:gd name="T93" fmla="*/ 2147483647 h 166"/>
              <a:gd name="T94" fmla="*/ 0 w 92"/>
              <a:gd name="T95" fmla="*/ 2147483647 h 166"/>
              <a:gd name="T96" fmla="*/ 0 w 92"/>
              <a:gd name="T97" fmla="*/ 2147483647 h 166"/>
              <a:gd name="T98" fmla="*/ 0 w 92"/>
              <a:gd name="T99" fmla="*/ 2147483647 h 166"/>
              <a:gd name="T100" fmla="*/ 0 w 92"/>
              <a:gd name="T101" fmla="*/ 2147483647 h 166"/>
              <a:gd name="T102" fmla="*/ 0 w 92"/>
              <a:gd name="T103" fmla="*/ 2147483647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8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376978" y="4698628"/>
            <a:ext cx="71437" cy="55562"/>
          </a:xfrm>
          <a:custGeom>
            <a:avLst/>
            <a:gdLst>
              <a:gd name="T0" fmla="*/ 2147483647 w 166"/>
              <a:gd name="T1" fmla="*/ 0 h 62"/>
              <a:gd name="T2" fmla="*/ 2147483647 w 166"/>
              <a:gd name="T3" fmla="*/ 2147483647 h 62"/>
              <a:gd name="T4" fmla="*/ 2147483647 w 166"/>
              <a:gd name="T5" fmla="*/ 2147483647 h 62"/>
              <a:gd name="T6" fmla="*/ 2147483647 w 166"/>
              <a:gd name="T7" fmla="*/ 2147483647 h 62"/>
              <a:gd name="T8" fmla="*/ 2147483647 w 166"/>
              <a:gd name="T9" fmla="*/ 2147483647 h 62"/>
              <a:gd name="T10" fmla="*/ 2147483647 w 166"/>
              <a:gd name="T11" fmla="*/ 2147483647 h 62"/>
              <a:gd name="T12" fmla="*/ 2147483647 w 166"/>
              <a:gd name="T13" fmla="*/ 2147483647 h 62"/>
              <a:gd name="T14" fmla="*/ 2147483647 w 166"/>
              <a:gd name="T15" fmla="*/ 2147483647 h 62"/>
              <a:gd name="T16" fmla="*/ 2147483647 w 166"/>
              <a:gd name="T17" fmla="*/ 2147483647 h 62"/>
              <a:gd name="T18" fmla="*/ 2147483647 w 166"/>
              <a:gd name="T19" fmla="*/ 2147483647 h 62"/>
              <a:gd name="T20" fmla="*/ 2147483647 w 166"/>
              <a:gd name="T21" fmla="*/ 0 h 62"/>
              <a:gd name="T22" fmla="*/ 2147483647 w 166"/>
              <a:gd name="T23" fmla="*/ 2147483647 h 62"/>
              <a:gd name="T24" fmla="*/ 2147483647 w 166"/>
              <a:gd name="T25" fmla="*/ 2147483647 h 62"/>
              <a:gd name="T26" fmla="*/ 2147483647 w 166"/>
              <a:gd name="T27" fmla="*/ 2147483647 h 62"/>
              <a:gd name="T28" fmla="*/ 2147483647 w 166"/>
              <a:gd name="T29" fmla="*/ 2147483647 h 62"/>
              <a:gd name="T30" fmla="*/ 2147483647 w 166"/>
              <a:gd name="T31" fmla="*/ 2147483647 h 62"/>
              <a:gd name="T32" fmla="*/ 2147483647 w 166"/>
              <a:gd name="T33" fmla="*/ 2147483647 h 62"/>
              <a:gd name="T34" fmla="*/ 2147483647 w 166"/>
              <a:gd name="T35" fmla="*/ 2147483647 h 62"/>
              <a:gd name="T36" fmla="*/ 2147483647 w 166"/>
              <a:gd name="T37" fmla="*/ 2147483647 h 62"/>
              <a:gd name="T38" fmla="*/ 2147483647 w 166"/>
              <a:gd name="T39" fmla="*/ 2147483647 h 62"/>
              <a:gd name="T40" fmla="*/ 2147483647 w 166"/>
              <a:gd name="T41" fmla="*/ 2147483647 h 62"/>
              <a:gd name="T42" fmla="*/ 2147483647 w 166"/>
              <a:gd name="T43" fmla="*/ 2147483647 h 62"/>
              <a:gd name="T44" fmla="*/ 2147483647 w 166"/>
              <a:gd name="T45" fmla="*/ 2147483647 h 62"/>
              <a:gd name="T46" fmla="*/ 2147483647 w 166"/>
              <a:gd name="T47" fmla="*/ 2147483647 h 62"/>
              <a:gd name="T48" fmla="*/ 2147483647 w 166"/>
              <a:gd name="T49" fmla="*/ 2147483647 h 62"/>
              <a:gd name="T50" fmla="*/ 2147483647 w 166"/>
              <a:gd name="T51" fmla="*/ 2147483647 h 62"/>
              <a:gd name="T52" fmla="*/ 2147483647 w 166"/>
              <a:gd name="T53" fmla="*/ 2147483647 h 62"/>
              <a:gd name="T54" fmla="*/ 2147483647 w 166"/>
              <a:gd name="T55" fmla="*/ 2147483647 h 62"/>
              <a:gd name="T56" fmla="*/ 2147483647 w 166"/>
              <a:gd name="T57" fmla="*/ 2147483647 h 62"/>
              <a:gd name="T58" fmla="*/ 2147483647 w 166"/>
              <a:gd name="T59" fmla="*/ 2147483647 h 62"/>
              <a:gd name="T60" fmla="*/ 2147483647 w 166"/>
              <a:gd name="T61" fmla="*/ 2147483647 h 62"/>
              <a:gd name="T62" fmla="*/ 2147483647 w 166"/>
              <a:gd name="T63" fmla="*/ 2147483647 h 62"/>
              <a:gd name="T64" fmla="*/ 2147483647 w 166"/>
              <a:gd name="T65" fmla="*/ 2147483647 h 62"/>
              <a:gd name="T66" fmla="*/ 2147483647 w 166"/>
              <a:gd name="T67" fmla="*/ 2147483647 h 62"/>
              <a:gd name="T68" fmla="*/ 2147483647 w 166"/>
              <a:gd name="T69" fmla="*/ 2147483647 h 62"/>
              <a:gd name="T70" fmla="*/ 2147483647 w 166"/>
              <a:gd name="T71" fmla="*/ 2147483647 h 62"/>
              <a:gd name="T72" fmla="*/ 2147483647 w 166"/>
              <a:gd name="T73" fmla="*/ 2147483647 h 62"/>
              <a:gd name="T74" fmla="*/ 2147483647 w 166"/>
              <a:gd name="T75" fmla="*/ 2147483647 h 62"/>
              <a:gd name="T76" fmla="*/ 2147483647 w 166"/>
              <a:gd name="T77" fmla="*/ 2147483647 h 62"/>
              <a:gd name="T78" fmla="*/ 2147483647 w 166"/>
              <a:gd name="T79" fmla="*/ 2147483647 h 62"/>
              <a:gd name="T80" fmla="*/ 2147483647 w 166"/>
              <a:gd name="T81" fmla="*/ 2147483647 h 62"/>
              <a:gd name="T82" fmla="*/ 2147483647 w 166"/>
              <a:gd name="T83" fmla="*/ 2147483647 h 62"/>
              <a:gd name="T84" fmla="*/ 2147483647 w 166"/>
              <a:gd name="T85" fmla="*/ 2147483647 h 62"/>
              <a:gd name="T86" fmla="*/ 0 w 166"/>
              <a:gd name="T87" fmla="*/ 2147483647 h 62"/>
              <a:gd name="T88" fmla="*/ 2147483647 w 166"/>
              <a:gd name="T89" fmla="*/ 2147483647 h 62"/>
              <a:gd name="T90" fmla="*/ 2147483647 w 166"/>
              <a:gd name="T91" fmla="*/ 2147483647 h 62"/>
              <a:gd name="T92" fmla="*/ 2147483647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9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453178" y="4622428"/>
            <a:ext cx="85725" cy="63500"/>
          </a:xfrm>
          <a:custGeom>
            <a:avLst/>
            <a:gdLst>
              <a:gd name="T0" fmla="*/ 2147483647 w 193"/>
              <a:gd name="T1" fmla="*/ 2147483647 h 121"/>
              <a:gd name="T2" fmla="*/ 2147483647 w 193"/>
              <a:gd name="T3" fmla="*/ 2147483647 h 121"/>
              <a:gd name="T4" fmla="*/ 2147483647 w 193"/>
              <a:gd name="T5" fmla="*/ 2147483647 h 121"/>
              <a:gd name="T6" fmla="*/ 2147483647 w 193"/>
              <a:gd name="T7" fmla="*/ 2147483647 h 121"/>
              <a:gd name="T8" fmla="*/ 2147483647 w 193"/>
              <a:gd name="T9" fmla="*/ 2147483647 h 121"/>
              <a:gd name="T10" fmla="*/ 2147483647 w 193"/>
              <a:gd name="T11" fmla="*/ 2147483647 h 121"/>
              <a:gd name="T12" fmla="*/ 2147483647 w 193"/>
              <a:gd name="T13" fmla="*/ 2147483647 h 121"/>
              <a:gd name="T14" fmla="*/ 2147483647 w 193"/>
              <a:gd name="T15" fmla="*/ 2147483647 h 121"/>
              <a:gd name="T16" fmla="*/ 2147483647 w 193"/>
              <a:gd name="T17" fmla="*/ 2147483647 h 121"/>
              <a:gd name="T18" fmla="*/ 2147483647 w 193"/>
              <a:gd name="T19" fmla="*/ 2147483647 h 121"/>
              <a:gd name="T20" fmla="*/ 2147483647 w 193"/>
              <a:gd name="T21" fmla="*/ 2147483647 h 121"/>
              <a:gd name="T22" fmla="*/ 2147483647 w 193"/>
              <a:gd name="T23" fmla="*/ 2147483647 h 121"/>
              <a:gd name="T24" fmla="*/ 2147483647 w 193"/>
              <a:gd name="T25" fmla="*/ 2147483647 h 121"/>
              <a:gd name="T26" fmla="*/ 2147483647 w 193"/>
              <a:gd name="T27" fmla="*/ 2147483647 h 121"/>
              <a:gd name="T28" fmla="*/ 2147483647 w 193"/>
              <a:gd name="T29" fmla="*/ 2147483647 h 121"/>
              <a:gd name="T30" fmla="*/ 2147483647 w 193"/>
              <a:gd name="T31" fmla="*/ 2147483647 h 121"/>
              <a:gd name="T32" fmla="*/ 2147483647 w 193"/>
              <a:gd name="T33" fmla="*/ 2147483647 h 121"/>
              <a:gd name="T34" fmla="*/ 2147483647 w 193"/>
              <a:gd name="T35" fmla="*/ 2147483647 h 121"/>
              <a:gd name="T36" fmla="*/ 2147483647 w 193"/>
              <a:gd name="T37" fmla="*/ 2147483647 h 121"/>
              <a:gd name="T38" fmla="*/ 2147483647 w 193"/>
              <a:gd name="T39" fmla="*/ 2147483647 h 121"/>
              <a:gd name="T40" fmla="*/ 2147483647 w 193"/>
              <a:gd name="T41" fmla="*/ 2147483647 h 121"/>
              <a:gd name="T42" fmla="*/ 2147483647 w 193"/>
              <a:gd name="T43" fmla="*/ 2147483647 h 121"/>
              <a:gd name="T44" fmla="*/ 2147483647 w 193"/>
              <a:gd name="T45" fmla="*/ 2147483647 h 121"/>
              <a:gd name="T46" fmla="*/ 2147483647 w 193"/>
              <a:gd name="T47" fmla="*/ 2147483647 h 121"/>
              <a:gd name="T48" fmla="*/ 2147483647 w 193"/>
              <a:gd name="T49" fmla="*/ 2147483647 h 121"/>
              <a:gd name="T50" fmla="*/ 2147483647 w 193"/>
              <a:gd name="T51" fmla="*/ 2147483647 h 121"/>
              <a:gd name="T52" fmla="*/ 2147483647 w 193"/>
              <a:gd name="T53" fmla="*/ 2147483647 h 121"/>
              <a:gd name="T54" fmla="*/ 2147483647 w 193"/>
              <a:gd name="T55" fmla="*/ 2147483647 h 121"/>
              <a:gd name="T56" fmla="*/ 2147483647 w 193"/>
              <a:gd name="T57" fmla="*/ 2147483647 h 121"/>
              <a:gd name="T58" fmla="*/ 0 w 193"/>
              <a:gd name="T59" fmla="*/ 2147483647 h 121"/>
              <a:gd name="T60" fmla="*/ 2147483647 w 193"/>
              <a:gd name="T61" fmla="*/ 2147483647 h 121"/>
              <a:gd name="T62" fmla="*/ 2147483647 w 193"/>
              <a:gd name="T63" fmla="*/ 2147483647 h 121"/>
              <a:gd name="T64" fmla="*/ 2147483647 w 193"/>
              <a:gd name="T65" fmla="*/ 2147483647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0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142028" y="4560515"/>
            <a:ext cx="166687" cy="230188"/>
          </a:xfrm>
          <a:custGeom>
            <a:avLst/>
            <a:gdLst>
              <a:gd name="T0" fmla="*/ 2147483647 w 379"/>
              <a:gd name="T1" fmla="*/ 2147483647 h 437"/>
              <a:gd name="T2" fmla="*/ 2147483647 w 379"/>
              <a:gd name="T3" fmla="*/ 2147483647 h 437"/>
              <a:gd name="T4" fmla="*/ 2147483647 w 379"/>
              <a:gd name="T5" fmla="*/ 2147483647 h 437"/>
              <a:gd name="T6" fmla="*/ 2147483647 w 379"/>
              <a:gd name="T7" fmla="*/ 2147483647 h 437"/>
              <a:gd name="T8" fmla="*/ 2147483647 w 379"/>
              <a:gd name="T9" fmla="*/ 2147483647 h 437"/>
              <a:gd name="T10" fmla="*/ 2147483647 w 379"/>
              <a:gd name="T11" fmla="*/ 2147483647 h 437"/>
              <a:gd name="T12" fmla="*/ 2147483647 w 379"/>
              <a:gd name="T13" fmla="*/ 2147483647 h 437"/>
              <a:gd name="T14" fmla="*/ 2147483647 w 379"/>
              <a:gd name="T15" fmla="*/ 2147483647 h 437"/>
              <a:gd name="T16" fmla="*/ 2147483647 w 379"/>
              <a:gd name="T17" fmla="*/ 2147483647 h 437"/>
              <a:gd name="T18" fmla="*/ 2147483647 w 379"/>
              <a:gd name="T19" fmla="*/ 2147483647 h 437"/>
              <a:gd name="T20" fmla="*/ 2147483647 w 379"/>
              <a:gd name="T21" fmla="*/ 2147483647 h 437"/>
              <a:gd name="T22" fmla="*/ 2147483647 w 379"/>
              <a:gd name="T23" fmla="*/ 2147483647 h 437"/>
              <a:gd name="T24" fmla="*/ 2147483647 w 379"/>
              <a:gd name="T25" fmla="*/ 2147483647 h 437"/>
              <a:gd name="T26" fmla="*/ 2147483647 w 379"/>
              <a:gd name="T27" fmla="*/ 2147483647 h 437"/>
              <a:gd name="T28" fmla="*/ 2147483647 w 379"/>
              <a:gd name="T29" fmla="*/ 2147483647 h 437"/>
              <a:gd name="T30" fmla="*/ 2147483647 w 379"/>
              <a:gd name="T31" fmla="*/ 2147483647 h 437"/>
              <a:gd name="T32" fmla="*/ 2147483647 w 379"/>
              <a:gd name="T33" fmla="*/ 2147483647 h 437"/>
              <a:gd name="T34" fmla="*/ 2147483647 w 379"/>
              <a:gd name="T35" fmla="*/ 2147483647 h 437"/>
              <a:gd name="T36" fmla="*/ 2147483647 w 379"/>
              <a:gd name="T37" fmla="*/ 2147483647 h 437"/>
              <a:gd name="T38" fmla="*/ 2147483647 w 379"/>
              <a:gd name="T39" fmla="*/ 2147483647 h 437"/>
              <a:gd name="T40" fmla="*/ 2147483647 w 379"/>
              <a:gd name="T41" fmla="*/ 2147483647 h 437"/>
              <a:gd name="T42" fmla="*/ 2147483647 w 379"/>
              <a:gd name="T43" fmla="*/ 2147483647 h 437"/>
              <a:gd name="T44" fmla="*/ 2147483647 w 379"/>
              <a:gd name="T45" fmla="*/ 2147483647 h 437"/>
              <a:gd name="T46" fmla="*/ 2147483647 w 379"/>
              <a:gd name="T47" fmla="*/ 2147483647 h 437"/>
              <a:gd name="T48" fmla="*/ 2147483647 w 379"/>
              <a:gd name="T49" fmla="*/ 2147483647 h 437"/>
              <a:gd name="T50" fmla="*/ 2147483647 w 379"/>
              <a:gd name="T51" fmla="*/ 2147483647 h 437"/>
              <a:gd name="T52" fmla="*/ 2147483647 w 379"/>
              <a:gd name="T53" fmla="*/ 2147483647 h 437"/>
              <a:gd name="T54" fmla="*/ 2147483647 w 379"/>
              <a:gd name="T55" fmla="*/ 2147483647 h 437"/>
              <a:gd name="T56" fmla="*/ 2147483647 w 379"/>
              <a:gd name="T57" fmla="*/ 2147483647 h 437"/>
              <a:gd name="T58" fmla="*/ 2147483647 w 379"/>
              <a:gd name="T59" fmla="*/ 2147483647 h 437"/>
              <a:gd name="T60" fmla="*/ 2147483647 w 379"/>
              <a:gd name="T61" fmla="*/ 2147483647 h 437"/>
              <a:gd name="T62" fmla="*/ 2147483647 w 379"/>
              <a:gd name="T63" fmla="*/ 2147483647 h 437"/>
              <a:gd name="T64" fmla="*/ 2147483647 w 379"/>
              <a:gd name="T65" fmla="*/ 2147483647 h 437"/>
              <a:gd name="T66" fmla="*/ 2147483647 w 379"/>
              <a:gd name="T67" fmla="*/ 2147483647 h 437"/>
              <a:gd name="T68" fmla="*/ 2147483647 w 379"/>
              <a:gd name="T69" fmla="*/ 2147483647 h 437"/>
              <a:gd name="T70" fmla="*/ 2147483647 w 379"/>
              <a:gd name="T71" fmla="*/ 2147483647 h 437"/>
              <a:gd name="T72" fmla="*/ 2147483647 w 379"/>
              <a:gd name="T73" fmla="*/ 2147483647 h 437"/>
              <a:gd name="T74" fmla="*/ 2147483647 w 379"/>
              <a:gd name="T75" fmla="*/ 2147483647 h 437"/>
              <a:gd name="T76" fmla="*/ 2147483647 w 379"/>
              <a:gd name="T77" fmla="*/ 2147483647 h 437"/>
              <a:gd name="T78" fmla="*/ 2147483647 w 379"/>
              <a:gd name="T79" fmla="*/ 2147483647 h 437"/>
              <a:gd name="T80" fmla="*/ 2147483647 w 379"/>
              <a:gd name="T81" fmla="*/ 2147483647 h 437"/>
              <a:gd name="T82" fmla="*/ 2147483647 w 379"/>
              <a:gd name="T83" fmla="*/ 2147483647 h 437"/>
              <a:gd name="T84" fmla="*/ 2147483647 w 379"/>
              <a:gd name="T85" fmla="*/ 2147483647 h 437"/>
              <a:gd name="T86" fmla="*/ 2147483647 w 379"/>
              <a:gd name="T87" fmla="*/ 2147483647 h 437"/>
              <a:gd name="T88" fmla="*/ 2147483647 w 379"/>
              <a:gd name="T89" fmla="*/ 2147483647 h 437"/>
              <a:gd name="T90" fmla="*/ 2147483647 w 379"/>
              <a:gd name="T91" fmla="*/ 2147483647 h 437"/>
              <a:gd name="T92" fmla="*/ 2147483647 w 379"/>
              <a:gd name="T93" fmla="*/ 2147483647 h 437"/>
              <a:gd name="T94" fmla="*/ 2147483647 w 379"/>
              <a:gd name="T95" fmla="*/ 2147483647 h 437"/>
              <a:gd name="T96" fmla="*/ 2147483647 w 379"/>
              <a:gd name="T97" fmla="*/ 2147483647 h 437"/>
              <a:gd name="T98" fmla="*/ 2147483647 w 379"/>
              <a:gd name="T99" fmla="*/ 2147483647 h 437"/>
              <a:gd name="T100" fmla="*/ 2147483647 w 379"/>
              <a:gd name="T101" fmla="*/ 2147483647 h 437"/>
              <a:gd name="T102" fmla="*/ 2147483647 w 379"/>
              <a:gd name="T103" fmla="*/ 2147483647 h 437"/>
              <a:gd name="T104" fmla="*/ 2147483647 w 379"/>
              <a:gd name="T105" fmla="*/ 2147483647 h 437"/>
              <a:gd name="T106" fmla="*/ 2147483647 w 379"/>
              <a:gd name="T107" fmla="*/ 2147483647 h 437"/>
              <a:gd name="T108" fmla="*/ 2147483647 w 379"/>
              <a:gd name="T109" fmla="*/ 2147483647 h 437"/>
              <a:gd name="T110" fmla="*/ 2147483647 w 379"/>
              <a:gd name="T111" fmla="*/ 2147483647 h 437"/>
              <a:gd name="T112" fmla="*/ 2147483647 w 379"/>
              <a:gd name="T113" fmla="*/ 2147483647 h 437"/>
              <a:gd name="T114" fmla="*/ 2147483647 w 379"/>
              <a:gd name="T115" fmla="*/ 2147483647 h 437"/>
              <a:gd name="T116" fmla="*/ 2147483647 w 379"/>
              <a:gd name="T117" fmla="*/ 2147483647 h 437"/>
              <a:gd name="T118" fmla="*/ 2147483647 w 379"/>
              <a:gd name="T119" fmla="*/ 2147483647 h 437"/>
              <a:gd name="T120" fmla="*/ 2147483647 w 379"/>
              <a:gd name="T121" fmla="*/ 214748364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1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807065" y="4801815"/>
            <a:ext cx="250825" cy="95250"/>
          </a:xfrm>
          <a:custGeom>
            <a:avLst/>
            <a:gdLst>
              <a:gd name="T0" fmla="*/ 2147483647 w 578"/>
              <a:gd name="T1" fmla="*/ 2147483647 h 184"/>
              <a:gd name="T2" fmla="*/ 2147483647 w 578"/>
              <a:gd name="T3" fmla="*/ 2147483647 h 184"/>
              <a:gd name="T4" fmla="*/ 2147483647 w 578"/>
              <a:gd name="T5" fmla="*/ 2147483647 h 184"/>
              <a:gd name="T6" fmla="*/ 2147483647 w 578"/>
              <a:gd name="T7" fmla="*/ 0 h 184"/>
              <a:gd name="T8" fmla="*/ 2147483647 w 578"/>
              <a:gd name="T9" fmla="*/ 2147483647 h 184"/>
              <a:gd name="T10" fmla="*/ 2147483647 w 578"/>
              <a:gd name="T11" fmla="*/ 2147483647 h 184"/>
              <a:gd name="T12" fmla="*/ 2147483647 w 578"/>
              <a:gd name="T13" fmla="*/ 2147483647 h 184"/>
              <a:gd name="T14" fmla="*/ 2147483647 w 578"/>
              <a:gd name="T15" fmla="*/ 2147483647 h 184"/>
              <a:gd name="T16" fmla="*/ 2147483647 w 578"/>
              <a:gd name="T17" fmla="*/ 2147483647 h 184"/>
              <a:gd name="T18" fmla="*/ 2147483647 w 578"/>
              <a:gd name="T19" fmla="*/ 2147483647 h 184"/>
              <a:gd name="T20" fmla="*/ 2147483647 w 578"/>
              <a:gd name="T21" fmla="*/ 2147483647 h 184"/>
              <a:gd name="T22" fmla="*/ 2147483647 w 578"/>
              <a:gd name="T23" fmla="*/ 2147483647 h 184"/>
              <a:gd name="T24" fmla="*/ 2147483647 w 578"/>
              <a:gd name="T25" fmla="*/ 2147483647 h 184"/>
              <a:gd name="T26" fmla="*/ 2147483647 w 578"/>
              <a:gd name="T27" fmla="*/ 2147483647 h 184"/>
              <a:gd name="T28" fmla="*/ 2147483647 w 578"/>
              <a:gd name="T29" fmla="*/ 2147483647 h 184"/>
              <a:gd name="T30" fmla="*/ 2147483647 w 578"/>
              <a:gd name="T31" fmla="*/ 2147483647 h 184"/>
              <a:gd name="T32" fmla="*/ 2147483647 w 578"/>
              <a:gd name="T33" fmla="*/ 2147483647 h 184"/>
              <a:gd name="T34" fmla="*/ 2147483647 w 578"/>
              <a:gd name="T35" fmla="*/ 2147483647 h 184"/>
              <a:gd name="T36" fmla="*/ 2147483647 w 578"/>
              <a:gd name="T37" fmla="*/ 2147483647 h 184"/>
              <a:gd name="T38" fmla="*/ 2147483647 w 578"/>
              <a:gd name="T39" fmla="*/ 2147483647 h 184"/>
              <a:gd name="T40" fmla="*/ 2147483647 w 578"/>
              <a:gd name="T41" fmla="*/ 2147483647 h 184"/>
              <a:gd name="T42" fmla="*/ 2147483647 w 578"/>
              <a:gd name="T43" fmla="*/ 2147483647 h 184"/>
              <a:gd name="T44" fmla="*/ 2147483647 w 578"/>
              <a:gd name="T45" fmla="*/ 2147483647 h 184"/>
              <a:gd name="T46" fmla="*/ 2147483647 w 578"/>
              <a:gd name="T47" fmla="*/ 2147483647 h 184"/>
              <a:gd name="T48" fmla="*/ 2147483647 w 578"/>
              <a:gd name="T49" fmla="*/ 2147483647 h 184"/>
              <a:gd name="T50" fmla="*/ 2147483647 w 578"/>
              <a:gd name="T51" fmla="*/ 2147483647 h 184"/>
              <a:gd name="T52" fmla="*/ 2147483647 w 578"/>
              <a:gd name="T53" fmla="*/ 2147483647 h 184"/>
              <a:gd name="T54" fmla="*/ 2147483647 w 578"/>
              <a:gd name="T55" fmla="*/ 2147483647 h 184"/>
              <a:gd name="T56" fmla="*/ 2147483647 w 578"/>
              <a:gd name="T57" fmla="*/ 2147483647 h 184"/>
              <a:gd name="T58" fmla="*/ 2147483647 w 578"/>
              <a:gd name="T59" fmla="*/ 2147483647 h 184"/>
              <a:gd name="T60" fmla="*/ 2147483647 w 578"/>
              <a:gd name="T61" fmla="*/ 2147483647 h 184"/>
              <a:gd name="T62" fmla="*/ 2147483647 w 578"/>
              <a:gd name="T63" fmla="*/ 2147483647 h 184"/>
              <a:gd name="T64" fmla="*/ 2147483647 w 578"/>
              <a:gd name="T65" fmla="*/ 2147483647 h 184"/>
              <a:gd name="T66" fmla="*/ 2147483647 w 578"/>
              <a:gd name="T67" fmla="*/ 2147483647 h 184"/>
              <a:gd name="T68" fmla="*/ 2147483647 w 578"/>
              <a:gd name="T69" fmla="*/ 2147483647 h 184"/>
              <a:gd name="T70" fmla="*/ 2147483647 w 578"/>
              <a:gd name="T71" fmla="*/ 2147483647 h 184"/>
              <a:gd name="T72" fmla="*/ 2147483647 w 578"/>
              <a:gd name="T73" fmla="*/ 2147483647 h 184"/>
              <a:gd name="T74" fmla="*/ 2147483647 w 578"/>
              <a:gd name="T75" fmla="*/ 2147483647 h 184"/>
              <a:gd name="T76" fmla="*/ 2147483647 w 578"/>
              <a:gd name="T77" fmla="*/ 2147483647 h 184"/>
              <a:gd name="T78" fmla="*/ 2147483647 w 578"/>
              <a:gd name="T79" fmla="*/ 2147483647 h 184"/>
              <a:gd name="T80" fmla="*/ 2147483647 w 578"/>
              <a:gd name="T81" fmla="*/ 2147483647 h 184"/>
              <a:gd name="T82" fmla="*/ 2147483647 w 578"/>
              <a:gd name="T83" fmla="*/ 2147483647 h 184"/>
              <a:gd name="T84" fmla="*/ 2147483647 w 578"/>
              <a:gd name="T85" fmla="*/ 2147483647 h 184"/>
              <a:gd name="T86" fmla="*/ 2147483647 w 578"/>
              <a:gd name="T87" fmla="*/ 2147483647 h 184"/>
              <a:gd name="T88" fmla="*/ 2147483647 w 578"/>
              <a:gd name="T89" fmla="*/ 2147483647 h 184"/>
              <a:gd name="T90" fmla="*/ 2147483647 w 578"/>
              <a:gd name="T91" fmla="*/ 2147483647 h 184"/>
              <a:gd name="T92" fmla="*/ 2147483647 w 578"/>
              <a:gd name="T93" fmla="*/ 2147483647 h 184"/>
              <a:gd name="T94" fmla="*/ 2147483647 w 578"/>
              <a:gd name="T95" fmla="*/ 2147483647 h 184"/>
              <a:gd name="T96" fmla="*/ 2147483647 w 578"/>
              <a:gd name="T97" fmla="*/ 2147483647 h 184"/>
              <a:gd name="T98" fmla="*/ 2147483647 w 578"/>
              <a:gd name="T99" fmla="*/ 2147483647 h 184"/>
              <a:gd name="T100" fmla="*/ 2147483647 w 578"/>
              <a:gd name="T101" fmla="*/ 2147483647 h 184"/>
              <a:gd name="T102" fmla="*/ 2147483647 w 578"/>
              <a:gd name="T103" fmla="*/ 2147483647 h 184"/>
              <a:gd name="T104" fmla="*/ 2147483647 w 578"/>
              <a:gd name="T105" fmla="*/ 2147483647 h 184"/>
              <a:gd name="T106" fmla="*/ 0 w 578"/>
              <a:gd name="T107" fmla="*/ 2147483647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2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488103" y="4658940"/>
            <a:ext cx="214312" cy="252413"/>
          </a:xfrm>
          <a:custGeom>
            <a:avLst/>
            <a:gdLst>
              <a:gd name="T0" fmla="*/ 2147483647 w 491"/>
              <a:gd name="T1" fmla="*/ 2147483647 h 481"/>
              <a:gd name="T2" fmla="*/ 2147483647 w 491"/>
              <a:gd name="T3" fmla="*/ 2147483647 h 481"/>
              <a:gd name="T4" fmla="*/ 2147483647 w 491"/>
              <a:gd name="T5" fmla="*/ 2147483647 h 481"/>
              <a:gd name="T6" fmla="*/ 2147483647 w 491"/>
              <a:gd name="T7" fmla="*/ 2147483647 h 481"/>
              <a:gd name="T8" fmla="*/ 2147483647 w 491"/>
              <a:gd name="T9" fmla="*/ 2147483647 h 481"/>
              <a:gd name="T10" fmla="*/ 2147483647 w 491"/>
              <a:gd name="T11" fmla="*/ 2147483647 h 481"/>
              <a:gd name="T12" fmla="*/ 2147483647 w 491"/>
              <a:gd name="T13" fmla="*/ 2147483647 h 481"/>
              <a:gd name="T14" fmla="*/ 2147483647 w 491"/>
              <a:gd name="T15" fmla="*/ 2147483647 h 481"/>
              <a:gd name="T16" fmla="*/ 2147483647 w 491"/>
              <a:gd name="T17" fmla="*/ 2147483647 h 481"/>
              <a:gd name="T18" fmla="*/ 2147483647 w 491"/>
              <a:gd name="T19" fmla="*/ 2147483647 h 481"/>
              <a:gd name="T20" fmla="*/ 2147483647 w 491"/>
              <a:gd name="T21" fmla="*/ 2147483647 h 481"/>
              <a:gd name="T22" fmla="*/ 2147483647 w 491"/>
              <a:gd name="T23" fmla="*/ 2147483647 h 481"/>
              <a:gd name="T24" fmla="*/ 2147483647 w 491"/>
              <a:gd name="T25" fmla="*/ 2147483647 h 481"/>
              <a:gd name="T26" fmla="*/ 2147483647 w 491"/>
              <a:gd name="T27" fmla="*/ 2147483647 h 481"/>
              <a:gd name="T28" fmla="*/ 2147483647 w 491"/>
              <a:gd name="T29" fmla="*/ 2147483647 h 481"/>
              <a:gd name="T30" fmla="*/ 2147483647 w 491"/>
              <a:gd name="T31" fmla="*/ 2147483647 h 481"/>
              <a:gd name="T32" fmla="*/ 2147483647 w 491"/>
              <a:gd name="T33" fmla="*/ 2147483647 h 481"/>
              <a:gd name="T34" fmla="*/ 2147483647 w 491"/>
              <a:gd name="T35" fmla="*/ 2147483647 h 481"/>
              <a:gd name="T36" fmla="*/ 2147483647 w 491"/>
              <a:gd name="T37" fmla="*/ 2147483647 h 481"/>
              <a:gd name="T38" fmla="*/ 2147483647 w 491"/>
              <a:gd name="T39" fmla="*/ 2147483647 h 481"/>
              <a:gd name="T40" fmla="*/ 2147483647 w 491"/>
              <a:gd name="T41" fmla="*/ 2147483647 h 481"/>
              <a:gd name="T42" fmla="*/ 2147483647 w 491"/>
              <a:gd name="T43" fmla="*/ 2147483647 h 481"/>
              <a:gd name="T44" fmla="*/ 2147483647 w 491"/>
              <a:gd name="T45" fmla="*/ 2147483647 h 481"/>
              <a:gd name="T46" fmla="*/ 2147483647 w 491"/>
              <a:gd name="T47" fmla="*/ 2147483647 h 481"/>
              <a:gd name="T48" fmla="*/ 2147483647 w 491"/>
              <a:gd name="T49" fmla="*/ 2147483647 h 481"/>
              <a:gd name="T50" fmla="*/ 2147483647 w 491"/>
              <a:gd name="T51" fmla="*/ 2147483647 h 481"/>
              <a:gd name="T52" fmla="*/ 2147483647 w 491"/>
              <a:gd name="T53" fmla="*/ 2147483647 h 481"/>
              <a:gd name="T54" fmla="*/ 2147483647 w 491"/>
              <a:gd name="T55" fmla="*/ 2147483647 h 481"/>
              <a:gd name="T56" fmla="*/ 2147483647 w 491"/>
              <a:gd name="T57" fmla="*/ 2147483647 h 481"/>
              <a:gd name="T58" fmla="*/ 2147483647 w 491"/>
              <a:gd name="T59" fmla="*/ 2147483647 h 481"/>
              <a:gd name="T60" fmla="*/ 2147483647 w 491"/>
              <a:gd name="T61" fmla="*/ 2147483647 h 481"/>
              <a:gd name="T62" fmla="*/ 0 w 491"/>
              <a:gd name="T63" fmla="*/ 2147483647 h 481"/>
              <a:gd name="T64" fmla="*/ 2147483647 w 491"/>
              <a:gd name="T65" fmla="*/ 2147483647 h 481"/>
              <a:gd name="T66" fmla="*/ 2147483647 w 491"/>
              <a:gd name="T67" fmla="*/ 2147483647 h 481"/>
              <a:gd name="T68" fmla="*/ 2147483647 w 491"/>
              <a:gd name="T69" fmla="*/ 2147483647 h 481"/>
              <a:gd name="T70" fmla="*/ 2147483647 w 491"/>
              <a:gd name="T71" fmla="*/ 2147483647 h 481"/>
              <a:gd name="T72" fmla="*/ 2147483647 w 491"/>
              <a:gd name="T73" fmla="*/ 2147483647 h 481"/>
              <a:gd name="T74" fmla="*/ 2147483647 w 491"/>
              <a:gd name="T75" fmla="*/ 2147483647 h 481"/>
              <a:gd name="T76" fmla="*/ 2147483647 w 491"/>
              <a:gd name="T77" fmla="*/ 2147483647 h 481"/>
              <a:gd name="T78" fmla="*/ 2147483647 w 491"/>
              <a:gd name="T79" fmla="*/ 2147483647 h 481"/>
              <a:gd name="T80" fmla="*/ 2147483647 w 491"/>
              <a:gd name="T81" fmla="*/ 2147483647 h 481"/>
              <a:gd name="T82" fmla="*/ 2147483647 w 491"/>
              <a:gd name="T83" fmla="*/ 2147483647 h 481"/>
              <a:gd name="T84" fmla="*/ 2147483647 w 491"/>
              <a:gd name="T85" fmla="*/ 2147483647 h 481"/>
              <a:gd name="T86" fmla="*/ 2147483647 w 491"/>
              <a:gd name="T87" fmla="*/ 2147483647 h 481"/>
              <a:gd name="T88" fmla="*/ 2147483647 w 491"/>
              <a:gd name="T89" fmla="*/ 2147483647 h 481"/>
              <a:gd name="T90" fmla="*/ 2147483647 w 491"/>
              <a:gd name="T91" fmla="*/ 2147483647 h 481"/>
              <a:gd name="T92" fmla="*/ 2147483647 w 491"/>
              <a:gd name="T93" fmla="*/ 2147483647 h 481"/>
              <a:gd name="T94" fmla="*/ 2147483647 w 491"/>
              <a:gd name="T95" fmla="*/ 0 h 481"/>
              <a:gd name="T96" fmla="*/ 2147483647 w 491"/>
              <a:gd name="T97" fmla="*/ 2147483647 h 481"/>
              <a:gd name="T98" fmla="*/ 2147483647 w 491"/>
              <a:gd name="T99" fmla="*/ 2147483647 h 481"/>
              <a:gd name="T100" fmla="*/ 2147483647 w 491"/>
              <a:gd name="T101" fmla="*/ 2147483647 h 481"/>
              <a:gd name="T102" fmla="*/ 2147483647 w 491"/>
              <a:gd name="T103" fmla="*/ 2147483647 h 481"/>
              <a:gd name="T104" fmla="*/ 2147483647 w 491"/>
              <a:gd name="T105" fmla="*/ 2147483647 h 481"/>
              <a:gd name="T106" fmla="*/ 2147483647 w 491"/>
              <a:gd name="T107" fmla="*/ 2147483647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3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6019665" y="3490540"/>
            <a:ext cx="53975" cy="60325"/>
          </a:xfrm>
          <a:custGeom>
            <a:avLst/>
            <a:gdLst>
              <a:gd name="T0" fmla="*/ 0 w 133"/>
              <a:gd name="T1" fmla="*/ 2147483647 h 117"/>
              <a:gd name="T2" fmla="*/ 2147483647 w 133"/>
              <a:gd name="T3" fmla="*/ 0 h 117"/>
              <a:gd name="T4" fmla="*/ 2147483647 w 133"/>
              <a:gd name="T5" fmla="*/ 2147483647 h 117"/>
              <a:gd name="T6" fmla="*/ 2147483647 w 133"/>
              <a:gd name="T7" fmla="*/ 2147483647 h 117"/>
              <a:gd name="T8" fmla="*/ 2147483647 w 133"/>
              <a:gd name="T9" fmla="*/ 2147483647 h 117"/>
              <a:gd name="T10" fmla="*/ 2147483647 w 133"/>
              <a:gd name="T11" fmla="*/ 2147483647 h 117"/>
              <a:gd name="T12" fmla="*/ 2147483647 w 133"/>
              <a:gd name="T13" fmla="*/ 2147483647 h 117"/>
              <a:gd name="T14" fmla="*/ 2147483647 w 133"/>
              <a:gd name="T15" fmla="*/ 2147483647 h 117"/>
              <a:gd name="T16" fmla="*/ 2147483647 w 133"/>
              <a:gd name="T17" fmla="*/ 2147483647 h 117"/>
              <a:gd name="T18" fmla="*/ 2147483647 w 133"/>
              <a:gd name="T19" fmla="*/ 2147483647 h 117"/>
              <a:gd name="T20" fmla="*/ 2147483647 w 133"/>
              <a:gd name="T21" fmla="*/ 2147483647 h 117"/>
              <a:gd name="T22" fmla="*/ 2147483647 w 133"/>
              <a:gd name="T23" fmla="*/ 2147483647 h 117"/>
              <a:gd name="T24" fmla="*/ 2147483647 w 133"/>
              <a:gd name="T25" fmla="*/ 2147483647 h 117"/>
              <a:gd name="T26" fmla="*/ 2147483647 w 133"/>
              <a:gd name="T27" fmla="*/ 2147483647 h 117"/>
              <a:gd name="T28" fmla="*/ 2147483647 w 133"/>
              <a:gd name="T29" fmla="*/ 2147483647 h 117"/>
              <a:gd name="T30" fmla="*/ 2147483647 w 133"/>
              <a:gd name="T31" fmla="*/ 2147483647 h 117"/>
              <a:gd name="T32" fmla="*/ 2147483647 w 133"/>
              <a:gd name="T33" fmla="*/ 2147483647 h 117"/>
              <a:gd name="T34" fmla="*/ 2147483647 w 133"/>
              <a:gd name="T35" fmla="*/ 2147483647 h 117"/>
              <a:gd name="T36" fmla="*/ 2147483647 w 133"/>
              <a:gd name="T37" fmla="*/ 2147483647 h 117"/>
              <a:gd name="T38" fmla="*/ 2147483647 w 133"/>
              <a:gd name="T39" fmla="*/ 2147483647 h 117"/>
              <a:gd name="T40" fmla="*/ 2147483647 w 133"/>
              <a:gd name="T41" fmla="*/ 2147483647 h 117"/>
              <a:gd name="T42" fmla="*/ 2147483647 w 133"/>
              <a:gd name="T43" fmla="*/ 2147483647 h 117"/>
              <a:gd name="T44" fmla="*/ 2147483647 w 133"/>
              <a:gd name="T45" fmla="*/ 2147483647 h 117"/>
              <a:gd name="T46" fmla="*/ 2147483647 w 133"/>
              <a:gd name="T47" fmla="*/ 2147483647 h 117"/>
              <a:gd name="T48" fmla="*/ 2147483647 w 133"/>
              <a:gd name="T49" fmla="*/ 2147483647 h 117"/>
              <a:gd name="T50" fmla="*/ 0 w 133"/>
              <a:gd name="T51" fmla="*/ 2147483647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94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476615" y="2895228"/>
            <a:ext cx="220663" cy="177800"/>
          </a:xfrm>
          <a:custGeom>
            <a:avLst/>
            <a:gdLst>
              <a:gd name="T0" fmla="*/ 2147483647 w 505"/>
              <a:gd name="T1" fmla="*/ 2147483647 h 339"/>
              <a:gd name="T2" fmla="*/ 2147483647 w 505"/>
              <a:gd name="T3" fmla="*/ 2147483647 h 339"/>
              <a:gd name="T4" fmla="*/ 2147483647 w 505"/>
              <a:gd name="T5" fmla="*/ 2147483647 h 339"/>
              <a:gd name="T6" fmla="*/ 2147483647 w 505"/>
              <a:gd name="T7" fmla="*/ 2147483647 h 339"/>
              <a:gd name="T8" fmla="*/ 2147483647 w 505"/>
              <a:gd name="T9" fmla="*/ 2147483647 h 339"/>
              <a:gd name="T10" fmla="*/ 2147483647 w 505"/>
              <a:gd name="T11" fmla="*/ 2147483647 h 339"/>
              <a:gd name="T12" fmla="*/ 2147483647 w 505"/>
              <a:gd name="T13" fmla="*/ 2147483647 h 339"/>
              <a:gd name="T14" fmla="*/ 2147483647 w 505"/>
              <a:gd name="T15" fmla="*/ 2147483647 h 339"/>
              <a:gd name="T16" fmla="*/ 2147483647 w 505"/>
              <a:gd name="T17" fmla="*/ 2147483647 h 339"/>
              <a:gd name="T18" fmla="*/ 2147483647 w 505"/>
              <a:gd name="T19" fmla="*/ 2147483647 h 339"/>
              <a:gd name="T20" fmla="*/ 2147483647 w 505"/>
              <a:gd name="T21" fmla="*/ 2147483647 h 339"/>
              <a:gd name="T22" fmla="*/ 2147483647 w 505"/>
              <a:gd name="T23" fmla="*/ 2147483647 h 339"/>
              <a:gd name="T24" fmla="*/ 2147483647 w 505"/>
              <a:gd name="T25" fmla="*/ 2147483647 h 339"/>
              <a:gd name="T26" fmla="*/ 2147483647 w 505"/>
              <a:gd name="T27" fmla="*/ 2147483647 h 339"/>
              <a:gd name="T28" fmla="*/ 2147483647 w 505"/>
              <a:gd name="T29" fmla="*/ 2147483647 h 339"/>
              <a:gd name="T30" fmla="*/ 2147483647 w 505"/>
              <a:gd name="T31" fmla="*/ 2147483647 h 339"/>
              <a:gd name="T32" fmla="*/ 2147483647 w 505"/>
              <a:gd name="T33" fmla="*/ 2147483647 h 339"/>
              <a:gd name="T34" fmla="*/ 2147483647 w 505"/>
              <a:gd name="T35" fmla="*/ 2147483647 h 339"/>
              <a:gd name="T36" fmla="*/ 2147483647 w 505"/>
              <a:gd name="T37" fmla="*/ 2147483647 h 339"/>
              <a:gd name="T38" fmla="*/ 2147483647 w 505"/>
              <a:gd name="T39" fmla="*/ 2147483647 h 339"/>
              <a:gd name="T40" fmla="*/ 2147483647 w 505"/>
              <a:gd name="T41" fmla="*/ 2147483647 h 339"/>
              <a:gd name="T42" fmla="*/ 2147483647 w 505"/>
              <a:gd name="T43" fmla="*/ 2147483647 h 339"/>
              <a:gd name="T44" fmla="*/ 2147483647 w 505"/>
              <a:gd name="T45" fmla="*/ 2147483647 h 339"/>
              <a:gd name="T46" fmla="*/ 2147483647 w 505"/>
              <a:gd name="T47" fmla="*/ 2147483647 h 339"/>
              <a:gd name="T48" fmla="*/ 2147483647 w 505"/>
              <a:gd name="T49" fmla="*/ 2147483647 h 339"/>
              <a:gd name="T50" fmla="*/ 2147483647 w 505"/>
              <a:gd name="T51" fmla="*/ 2147483647 h 339"/>
              <a:gd name="T52" fmla="*/ 2147483647 w 505"/>
              <a:gd name="T53" fmla="*/ 2147483647 h 339"/>
              <a:gd name="T54" fmla="*/ 2147483647 w 505"/>
              <a:gd name="T55" fmla="*/ 2147483647 h 339"/>
              <a:gd name="T56" fmla="*/ 2147483647 w 505"/>
              <a:gd name="T57" fmla="*/ 2147483647 h 339"/>
              <a:gd name="T58" fmla="*/ 2147483647 w 505"/>
              <a:gd name="T59" fmla="*/ 2147483647 h 339"/>
              <a:gd name="T60" fmla="*/ 2147483647 w 505"/>
              <a:gd name="T61" fmla="*/ 2147483647 h 339"/>
              <a:gd name="T62" fmla="*/ 2147483647 w 505"/>
              <a:gd name="T63" fmla="*/ 2147483647 h 339"/>
              <a:gd name="T64" fmla="*/ 2147483647 w 505"/>
              <a:gd name="T65" fmla="*/ 2147483647 h 339"/>
              <a:gd name="T66" fmla="*/ 2147483647 w 505"/>
              <a:gd name="T67" fmla="*/ 2147483647 h 339"/>
              <a:gd name="T68" fmla="*/ 2147483647 w 505"/>
              <a:gd name="T69" fmla="*/ 2147483647 h 339"/>
              <a:gd name="T70" fmla="*/ 2147483647 w 505"/>
              <a:gd name="T71" fmla="*/ 2147483647 h 339"/>
              <a:gd name="T72" fmla="*/ 2147483647 w 505"/>
              <a:gd name="T73" fmla="*/ 2147483647 h 339"/>
              <a:gd name="T74" fmla="*/ 2147483647 w 505"/>
              <a:gd name="T75" fmla="*/ 2147483647 h 339"/>
              <a:gd name="T76" fmla="*/ 2147483647 w 505"/>
              <a:gd name="T77" fmla="*/ 2147483647 h 339"/>
              <a:gd name="T78" fmla="*/ 2147483647 w 505"/>
              <a:gd name="T79" fmla="*/ 2147483647 h 339"/>
              <a:gd name="T80" fmla="*/ 2147483647 w 505"/>
              <a:gd name="T81" fmla="*/ 2147483647 h 339"/>
              <a:gd name="T82" fmla="*/ 2147483647 w 505"/>
              <a:gd name="T83" fmla="*/ 2147483647 h 339"/>
              <a:gd name="T84" fmla="*/ 2147483647 w 505"/>
              <a:gd name="T85" fmla="*/ 2147483647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95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540115" y="3100015"/>
            <a:ext cx="146050" cy="71438"/>
          </a:xfrm>
          <a:custGeom>
            <a:avLst/>
            <a:gdLst>
              <a:gd name="T0" fmla="*/ 2147483647 w 338"/>
              <a:gd name="T1" fmla="*/ 0 h 141"/>
              <a:gd name="T2" fmla="*/ 2147483647 w 338"/>
              <a:gd name="T3" fmla="*/ 0 h 141"/>
              <a:gd name="T4" fmla="*/ 2147483647 w 338"/>
              <a:gd name="T5" fmla="*/ 2147483647 h 141"/>
              <a:gd name="T6" fmla="*/ 2147483647 w 338"/>
              <a:gd name="T7" fmla="*/ 2147483647 h 141"/>
              <a:gd name="T8" fmla="*/ 2147483647 w 338"/>
              <a:gd name="T9" fmla="*/ 2147483647 h 141"/>
              <a:gd name="T10" fmla="*/ 2147483647 w 338"/>
              <a:gd name="T11" fmla="*/ 2147483647 h 141"/>
              <a:gd name="T12" fmla="*/ 2147483647 w 338"/>
              <a:gd name="T13" fmla="*/ 2147483647 h 141"/>
              <a:gd name="T14" fmla="*/ 2147483647 w 338"/>
              <a:gd name="T15" fmla="*/ 2147483647 h 141"/>
              <a:gd name="T16" fmla="*/ 2147483647 w 338"/>
              <a:gd name="T17" fmla="*/ 2147483647 h 141"/>
              <a:gd name="T18" fmla="*/ 2147483647 w 338"/>
              <a:gd name="T19" fmla="*/ 2147483647 h 141"/>
              <a:gd name="T20" fmla="*/ 2147483647 w 338"/>
              <a:gd name="T21" fmla="*/ 2147483647 h 141"/>
              <a:gd name="T22" fmla="*/ 2147483647 w 338"/>
              <a:gd name="T23" fmla="*/ 2147483647 h 141"/>
              <a:gd name="T24" fmla="*/ 2147483647 w 338"/>
              <a:gd name="T25" fmla="*/ 2147483647 h 141"/>
              <a:gd name="T26" fmla="*/ 2147483647 w 338"/>
              <a:gd name="T27" fmla="*/ 2147483647 h 141"/>
              <a:gd name="T28" fmla="*/ 2147483647 w 338"/>
              <a:gd name="T29" fmla="*/ 2147483647 h 141"/>
              <a:gd name="T30" fmla="*/ 2147483647 w 338"/>
              <a:gd name="T31" fmla="*/ 2147483647 h 141"/>
              <a:gd name="T32" fmla="*/ 2147483647 w 338"/>
              <a:gd name="T33" fmla="*/ 2147483647 h 141"/>
              <a:gd name="T34" fmla="*/ 2147483647 w 338"/>
              <a:gd name="T35" fmla="*/ 2147483647 h 141"/>
              <a:gd name="T36" fmla="*/ 2147483647 w 338"/>
              <a:gd name="T37" fmla="*/ 2147483647 h 141"/>
              <a:gd name="T38" fmla="*/ 2147483647 w 338"/>
              <a:gd name="T39" fmla="*/ 2147483647 h 141"/>
              <a:gd name="T40" fmla="*/ 2147483647 w 338"/>
              <a:gd name="T41" fmla="*/ 2147483647 h 141"/>
              <a:gd name="T42" fmla="*/ 0 w 338"/>
              <a:gd name="T43" fmla="*/ 2147483647 h 141"/>
              <a:gd name="T44" fmla="*/ 2147483647 w 338"/>
              <a:gd name="T45" fmla="*/ 2147483647 h 141"/>
              <a:gd name="T46" fmla="*/ 2147483647 w 338"/>
              <a:gd name="T47" fmla="*/ 2147483647 h 141"/>
              <a:gd name="T48" fmla="*/ 2147483647 w 338"/>
              <a:gd name="T49" fmla="*/ 2147483647 h 141"/>
              <a:gd name="T50" fmla="*/ 2147483647 w 338"/>
              <a:gd name="T51" fmla="*/ 2147483647 h 141"/>
              <a:gd name="T52" fmla="*/ 2147483647 w 338"/>
              <a:gd name="T53" fmla="*/ 2147483647 h 141"/>
              <a:gd name="T54" fmla="*/ 2147483647 w 338"/>
              <a:gd name="T55" fmla="*/ 2147483647 h 141"/>
              <a:gd name="T56" fmla="*/ 2147483647 w 338"/>
              <a:gd name="T57" fmla="*/ 2147483647 h 141"/>
              <a:gd name="T58" fmla="*/ 2147483647 w 338"/>
              <a:gd name="T59" fmla="*/ 2147483647 h 141"/>
              <a:gd name="T60" fmla="*/ 2147483647 w 338"/>
              <a:gd name="T61" fmla="*/ 2147483647 h 141"/>
              <a:gd name="T62" fmla="*/ 2147483647 w 338"/>
              <a:gd name="T63" fmla="*/ 2147483647 h 141"/>
              <a:gd name="T64" fmla="*/ 2147483647 w 338"/>
              <a:gd name="T65" fmla="*/ 2147483647 h 141"/>
              <a:gd name="T66" fmla="*/ 2147483647 w 338"/>
              <a:gd name="T67" fmla="*/ 2147483647 h 141"/>
              <a:gd name="T68" fmla="*/ 2147483647 w 338"/>
              <a:gd name="T69" fmla="*/ 2147483647 h 141"/>
              <a:gd name="T70" fmla="*/ 2147483647 w 338"/>
              <a:gd name="T71" fmla="*/ 2147483647 h 141"/>
              <a:gd name="T72" fmla="*/ 2147483647 w 338"/>
              <a:gd name="T73" fmla="*/ 2147483647 h 141"/>
              <a:gd name="T74" fmla="*/ 2147483647 w 338"/>
              <a:gd name="T75" fmla="*/ 2147483647 h 141"/>
              <a:gd name="T76" fmla="*/ 2147483647 w 338"/>
              <a:gd name="T77" fmla="*/ 2147483647 h 141"/>
              <a:gd name="T78" fmla="*/ 2147483647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96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640128" y="2755528"/>
            <a:ext cx="111125" cy="65087"/>
          </a:xfrm>
          <a:custGeom>
            <a:avLst/>
            <a:gdLst>
              <a:gd name="T0" fmla="*/ 2147483647 w 259"/>
              <a:gd name="T1" fmla="*/ 2147483647 h 129"/>
              <a:gd name="T2" fmla="*/ 2147483647 w 259"/>
              <a:gd name="T3" fmla="*/ 2147483647 h 129"/>
              <a:gd name="T4" fmla="*/ 2147483647 w 259"/>
              <a:gd name="T5" fmla="*/ 2147483647 h 129"/>
              <a:gd name="T6" fmla="*/ 2147483647 w 259"/>
              <a:gd name="T7" fmla="*/ 2147483647 h 129"/>
              <a:gd name="T8" fmla="*/ 2147483647 w 259"/>
              <a:gd name="T9" fmla="*/ 2147483647 h 129"/>
              <a:gd name="T10" fmla="*/ 2147483647 w 259"/>
              <a:gd name="T11" fmla="*/ 2147483647 h 129"/>
              <a:gd name="T12" fmla="*/ 2147483647 w 259"/>
              <a:gd name="T13" fmla="*/ 2147483647 h 129"/>
              <a:gd name="T14" fmla="*/ 2147483647 w 259"/>
              <a:gd name="T15" fmla="*/ 2147483647 h 129"/>
              <a:gd name="T16" fmla="*/ 2147483647 w 259"/>
              <a:gd name="T17" fmla="*/ 2147483647 h 129"/>
              <a:gd name="T18" fmla="*/ 2147483647 w 259"/>
              <a:gd name="T19" fmla="*/ 2147483647 h 129"/>
              <a:gd name="T20" fmla="*/ 2147483647 w 259"/>
              <a:gd name="T21" fmla="*/ 2147483647 h 129"/>
              <a:gd name="T22" fmla="*/ 2147483647 w 259"/>
              <a:gd name="T23" fmla="*/ 2147483647 h 129"/>
              <a:gd name="T24" fmla="*/ 2147483647 w 259"/>
              <a:gd name="T25" fmla="*/ 2147483647 h 129"/>
              <a:gd name="T26" fmla="*/ 2147483647 w 259"/>
              <a:gd name="T27" fmla="*/ 2147483647 h 129"/>
              <a:gd name="T28" fmla="*/ 2147483647 w 259"/>
              <a:gd name="T29" fmla="*/ 2147483647 h 129"/>
              <a:gd name="T30" fmla="*/ 2147483647 w 259"/>
              <a:gd name="T31" fmla="*/ 2147483647 h 129"/>
              <a:gd name="T32" fmla="*/ 2147483647 w 259"/>
              <a:gd name="T33" fmla="*/ 2147483647 h 129"/>
              <a:gd name="T34" fmla="*/ 2147483647 w 259"/>
              <a:gd name="T35" fmla="*/ 2147483647 h 129"/>
              <a:gd name="T36" fmla="*/ 2147483647 w 259"/>
              <a:gd name="T37" fmla="*/ 2147483647 h 129"/>
              <a:gd name="T38" fmla="*/ 2147483647 w 259"/>
              <a:gd name="T39" fmla="*/ 2147483647 h 129"/>
              <a:gd name="T40" fmla="*/ 2147483647 w 259"/>
              <a:gd name="T41" fmla="*/ 2147483647 h 129"/>
              <a:gd name="T42" fmla="*/ 2147483647 w 259"/>
              <a:gd name="T43" fmla="*/ 2147483647 h 129"/>
              <a:gd name="T44" fmla="*/ 2147483647 w 259"/>
              <a:gd name="T45" fmla="*/ 0 h 129"/>
              <a:gd name="T46" fmla="*/ 2147483647 w 259"/>
              <a:gd name="T47" fmla="*/ 0 h 129"/>
              <a:gd name="T48" fmla="*/ 2147483647 w 259"/>
              <a:gd name="T49" fmla="*/ 0 h 129"/>
              <a:gd name="T50" fmla="*/ 2147483647 w 259"/>
              <a:gd name="T51" fmla="*/ 0 h 129"/>
              <a:gd name="T52" fmla="*/ 2147483647 w 259"/>
              <a:gd name="T53" fmla="*/ 2147483647 h 129"/>
              <a:gd name="T54" fmla="*/ 2147483647 w 259"/>
              <a:gd name="T55" fmla="*/ 2147483647 h 129"/>
              <a:gd name="T56" fmla="*/ 2147483647 w 259"/>
              <a:gd name="T57" fmla="*/ 2147483647 h 129"/>
              <a:gd name="T58" fmla="*/ 2147483647 w 259"/>
              <a:gd name="T59" fmla="*/ 2147483647 h 129"/>
              <a:gd name="T60" fmla="*/ 2147483647 w 259"/>
              <a:gd name="T61" fmla="*/ 2147483647 h 129"/>
              <a:gd name="T62" fmla="*/ 2147483647 w 259"/>
              <a:gd name="T63" fmla="*/ 2147483647 h 129"/>
              <a:gd name="T64" fmla="*/ 2147483647 w 259"/>
              <a:gd name="T65" fmla="*/ 2147483647 h 129"/>
              <a:gd name="T66" fmla="*/ 0 w 259"/>
              <a:gd name="T67" fmla="*/ 2147483647 h 129"/>
              <a:gd name="T68" fmla="*/ 0 w 259"/>
              <a:gd name="T69" fmla="*/ 2147483647 h 129"/>
              <a:gd name="T70" fmla="*/ 0 w 259"/>
              <a:gd name="T71" fmla="*/ 2147483647 h 129"/>
              <a:gd name="T72" fmla="*/ 2147483647 w 259"/>
              <a:gd name="T73" fmla="*/ 2147483647 h 129"/>
              <a:gd name="T74" fmla="*/ 2147483647 w 259"/>
              <a:gd name="T75" fmla="*/ 2147483647 h 129"/>
              <a:gd name="T76" fmla="*/ 2147483647 w 259"/>
              <a:gd name="T77" fmla="*/ 2147483647 h 129"/>
              <a:gd name="T78" fmla="*/ 2147483647 w 259"/>
              <a:gd name="T79" fmla="*/ 2147483647 h 129"/>
              <a:gd name="T80" fmla="*/ 2147483647 w 259"/>
              <a:gd name="T81" fmla="*/ 2147483647 h 129"/>
              <a:gd name="T82" fmla="*/ 2147483647 w 259"/>
              <a:gd name="T83" fmla="*/ 2147483647 h 129"/>
              <a:gd name="T84" fmla="*/ 2147483647 w 259"/>
              <a:gd name="T85" fmla="*/ 2147483647 h 129"/>
              <a:gd name="T86" fmla="*/ 2147483647 w 259"/>
              <a:gd name="T87" fmla="*/ 2147483647 h 129"/>
              <a:gd name="T88" fmla="*/ 2147483647 w 259"/>
              <a:gd name="T89" fmla="*/ 2147483647 h 129"/>
              <a:gd name="T90" fmla="*/ 2147483647 w 259"/>
              <a:gd name="T91" fmla="*/ 2147483647 h 129"/>
              <a:gd name="T92" fmla="*/ 2147483647 w 259"/>
              <a:gd name="T93" fmla="*/ 2147483647 h 129"/>
              <a:gd name="T94" fmla="*/ 2147483647 w 259"/>
              <a:gd name="T95" fmla="*/ 2147483647 h 129"/>
              <a:gd name="T96" fmla="*/ 2147483647 w 259"/>
              <a:gd name="T97" fmla="*/ 2147483647 h 129"/>
              <a:gd name="T98" fmla="*/ 2147483647 w 259"/>
              <a:gd name="T99" fmla="*/ 2147483647 h 129"/>
              <a:gd name="T100" fmla="*/ 2147483647 w 259"/>
              <a:gd name="T101" fmla="*/ 2147483647 h 129"/>
              <a:gd name="T102" fmla="*/ 2147483647 w 259"/>
              <a:gd name="T103" fmla="*/ 2147483647 h 129"/>
              <a:gd name="T104" fmla="*/ 2147483647 w 259"/>
              <a:gd name="T105" fmla="*/ 2147483647 h 129"/>
              <a:gd name="T106" fmla="*/ 2147483647 w 259"/>
              <a:gd name="T107" fmla="*/ 2147483647 h 129"/>
              <a:gd name="T108" fmla="*/ 2147483647 w 259"/>
              <a:gd name="T109" fmla="*/ 2147483647 h 129"/>
              <a:gd name="T110" fmla="*/ 2147483647 w 259"/>
              <a:gd name="T111" fmla="*/ 2147483647 h 129"/>
              <a:gd name="T112" fmla="*/ 2147483647 w 259"/>
              <a:gd name="T113" fmla="*/ 2147483647 h 129"/>
              <a:gd name="T114" fmla="*/ 2147483647 w 259"/>
              <a:gd name="T115" fmla="*/ 2147483647 h 129"/>
              <a:gd name="T116" fmla="*/ 2147483647 w 259"/>
              <a:gd name="T117" fmla="*/ 214748364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7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652828" y="3103190"/>
            <a:ext cx="179387" cy="142875"/>
          </a:xfrm>
          <a:custGeom>
            <a:avLst/>
            <a:gdLst>
              <a:gd name="T0" fmla="*/ 2147483647 w 425"/>
              <a:gd name="T1" fmla="*/ 2147483647 h 272"/>
              <a:gd name="T2" fmla="*/ 2147483647 w 425"/>
              <a:gd name="T3" fmla="*/ 2147483647 h 272"/>
              <a:gd name="T4" fmla="*/ 2147483647 w 425"/>
              <a:gd name="T5" fmla="*/ 2147483647 h 272"/>
              <a:gd name="T6" fmla="*/ 2147483647 w 425"/>
              <a:gd name="T7" fmla="*/ 2147483647 h 272"/>
              <a:gd name="T8" fmla="*/ 2147483647 w 425"/>
              <a:gd name="T9" fmla="*/ 2147483647 h 272"/>
              <a:gd name="T10" fmla="*/ 2147483647 w 425"/>
              <a:gd name="T11" fmla="*/ 2147483647 h 272"/>
              <a:gd name="T12" fmla="*/ 2147483647 w 425"/>
              <a:gd name="T13" fmla="*/ 2147483647 h 272"/>
              <a:gd name="T14" fmla="*/ 2147483647 w 425"/>
              <a:gd name="T15" fmla="*/ 2147483647 h 272"/>
              <a:gd name="T16" fmla="*/ 2147483647 w 425"/>
              <a:gd name="T17" fmla="*/ 2147483647 h 272"/>
              <a:gd name="T18" fmla="*/ 2147483647 w 425"/>
              <a:gd name="T19" fmla="*/ 2147483647 h 272"/>
              <a:gd name="T20" fmla="*/ 2147483647 w 425"/>
              <a:gd name="T21" fmla="*/ 2147483647 h 272"/>
              <a:gd name="T22" fmla="*/ 2147483647 w 425"/>
              <a:gd name="T23" fmla="*/ 2147483647 h 272"/>
              <a:gd name="T24" fmla="*/ 2147483647 w 425"/>
              <a:gd name="T25" fmla="*/ 2147483647 h 272"/>
              <a:gd name="T26" fmla="*/ 2147483647 w 425"/>
              <a:gd name="T27" fmla="*/ 2147483647 h 272"/>
              <a:gd name="T28" fmla="*/ 2147483647 w 425"/>
              <a:gd name="T29" fmla="*/ 2147483647 h 272"/>
              <a:gd name="T30" fmla="*/ 2147483647 w 425"/>
              <a:gd name="T31" fmla="*/ 2147483647 h 272"/>
              <a:gd name="T32" fmla="*/ 2147483647 w 425"/>
              <a:gd name="T33" fmla="*/ 2147483647 h 272"/>
              <a:gd name="T34" fmla="*/ 2147483647 w 425"/>
              <a:gd name="T35" fmla="*/ 2147483647 h 272"/>
              <a:gd name="T36" fmla="*/ 2147483647 w 425"/>
              <a:gd name="T37" fmla="*/ 2147483647 h 272"/>
              <a:gd name="T38" fmla="*/ 0 w 425"/>
              <a:gd name="T39" fmla="*/ 2147483647 h 272"/>
              <a:gd name="T40" fmla="*/ 2147483647 w 425"/>
              <a:gd name="T41" fmla="*/ 2147483647 h 272"/>
              <a:gd name="T42" fmla="*/ 2147483647 w 425"/>
              <a:gd name="T43" fmla="*/ 2147483647 h 272"/>
              <a:gd name="T44" fmla="*/ 2147483647 w 425"/>
              <a:gd name="T45" fmla="*/ 2147483647 h 272"/>
              <a:gd name="T46" fmla="*/ 2147483647 w 425"/>
              <a:gd name="T47" fmla="*/ 2147483647 h 272"/>
              <a:gd name="T48" fmla="*/ 2147483647 w 425"/>
              <a:gd name="T49" fmla="*/ 2147483647 h 272"/>
              <a:gd name="T50" fmla="*/ 2147483647 w 425"/>
              <a:gd name="T51" fmla="*/ 2147483647 h 272"/>
              <a:gd name="T52" fmla="*/ 2147483647 w 425"/>
              <a:gd name="T53" fmla="*/ 2147483647 h 272"/>
              <a:gd name="T54" fmla="*/ 2147483647 w 425"/>
              <a:gd name="T55" fmla="*/ 2147483647 h 272"/>
              <a:gd name="T56" fmla="*/ 2147483647 w 425"/>
              <a:gd name="T57" fmla="*/ 2147483647 h 272"/>
              <a:gd name="T58" fmla="*/ 2147483647 w 425"/>
              <a:gd name="T59" fmla="*/ 2147483647 h 272"/>
              <a:gd name="T60" fmla="*/ 2147483647 w 425"/>
              <a:gd name="T61" fmla="*/ 2147483647 h 272"/>
              <a:gd name="T62" fmla="*/ 2147483647 w 425"/>
              <a:gd name="T63" fmla="*/ 2147483647 h 272"/>
              <a:gd name="T64" fmla="*/ 2147483647 w 425"/>
              <a:gd name="T65" fmla="*/ 2147483647 h 272"/>
              <a:gd name="T66" fmla="*/ 2147483647 w 425"/>
              <a:gd name="T67" fmla="*/ 0 h 272"/>
              <a:gd name="T68" fmla="*/ 2147483647 w 425"/>
              <a:gd name="T69" fmla="*/ 2147483647 h 272"/>
              <a:gd name="T70" fmla="*/ 2147483647 w 425"/>
              <a:gd name="T71" fmla="*/ 2147483647 h 272"/>
              <a:gd name="T72" fmla="*/ 2147483647 w 425"/>
              <a:gd name="T73" fmla="*/ 2147483647 h 272"/>
              <a:gd name="T74" fmla="*/ 2147483647 w 425"/>
              <a:gd name="T75" fmla="*/ 2147483647 h 272"/>
              <a:gd name="T76" fmla="*/ 2147483647 w 425"/>
              <a:gd name="T77" fmla="*/ 2147483647 h 272"/>
              <a:gd name="T78" fmla="*/ 2147483647 w 425"/>
              <a:gd name="T79" fmla="*/ 2147483647 h 272"/>
              <a:gd name="T80" fmla="*/ 2147483647 w 425"/>
              <a:gd name="T81" fmla="*/ 2147483647 h 272"/>
              <a:gd name="T82" fmla="*/ 2147483647 w 425"/>
              <a:gd name="T83" fmla="*/ 2147483647 h 272"/>
              <a:gd name="T84" fmla="*/ 2147483647 w 425"/>
              <a:gd name="T85" fmla="*/ 2147483647 h 272"/>
              <a:gd name="T86" fmla="*/ 2147483647 w 425"/>
              <a:gd name="T87" fmla="*/ 2147483647 h 272"/>
              <a:gd name="T88" fmla="*/ 2147483647 w 425"/>
              <a:gd name="T89" fmla="*/ 2147483647 h 272"/>
              <a:gd name="T90" fmla="*/ 2147483647 w 425"/>
              <a:gd name="T91" fmla="*/ 2147483647 h 272"/>
              <a:gd name="T92" fmla="*/ 2147483647 w 425"/>
              <a:gd name="T93" fmla="*/ 2147483647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8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652578" y="4141415"/>
            <a:ext cx="14287" cy="55563"/>
          </a:xfrm>
          <a:custGeom>
            <a:avLst/>
            <a:gdLst>
              <a:gd name="T0" fmla="*/ 2147483647 w 33"/>
              <a:gd name="T1" fmla="*/ 2147483647 h 31"/>
              <a:gd name="T2" fmla="*/ 0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0 h 31"/>
              <a:gd name="T18" fmla="*/ 2147483647 w 33"/>
              <a:gd name="T19" fmla="*/ 0 h 31"/>
              <a:gd name="T20" fmla="*/ 2147483647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99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757603" y="3095253"/>
            <a:ext cx="85725" cy="79375"/>
          </a:xfrm>
          <a:custGeom>
            <a:avLst/>
            <a:gdLst>
              <a:gd name="T0" fmla="*/ 2147483647 w 192"/>
              <a:gd name="T1" fmla="*/ 2147483647 h 154"/>
              <a:gd name="T2" fmla="*/ 2147483647 w 192"/>
              <a:gd name="T3" fmla="*/ 0 h 154"/>
              <a:gd name="T4" fmla="*/ 2147483647 w 192"/>
              <a:gd name="T5" fmla="*/ 2147483647 h 154"/>
              <a:gd name="T6" fmla="*/ 2147483647 w 192"/>
              <a:gd name="T7" fmla="*/ 2147483647 h 154"/>
              <a:gd name="T8" fmla="*/ 2147483647 w 192"/>
              <a:gd name="T9" fmla="*/ 2147483647 h 154"/>
              <a:gd name="T10" fmla="*/ 2147483647 w 192"/>
              <a:gd name="T11" fmla="*/ 2147483647 h 154"/>
              <a:gd name="T12" fmla="*/ 2147483647 w 192"/>
              <a:gd name="T13" fmla="*/ 2147483647 h 154"/>
              <a:gd name="T14" fmla="*/ 2147483647 w 192"/>
              <a:gd name="T15" fmla="*/ 2147483647 h 154"/>
              <a:gd name="T16" fmla="*/ 2147483647 w 192"/>
              <a:gd name="T17" fmla="*/ 2147483647 h 154"/>
              <a:gd name="T18" fmla="*/ 2147483647 w 192"/>
              <a:gd name="T19" fmla="*/ 2147483647 h 154"/>
              <a:gd name="T20" fmla="*/ 2147483647 w 192"/>
              <a:gd name="T21" fmla="*/ 2147483647 h 154"/>
              <a:gd name="T22" fmla="*/ 2147483647 w 192"/>
              <a:gd name="T23" fmla="*/ 2147483647 h 154"/>
              <a:gd name="T24" fmla="*/ 2147483647 w 192"/>
              <a:gd name="T25" fmla="*/ 2147483647 h 154"/>
              <a:gd name="T26" fmla="*/ 2147483647 w 192"/>
              <a:gd name="T27" fmla="*/ 2147483647 h 154"/>
              <a:gd name="T28" fmla="*/ 2147483647 w 192"/>
              <a:gd name="T29" fmla="*/ 2147483647 h 154"/>
              <a:gd name="T30" fmla="*/ 2147483647 w 192"/>
              <a:gd name="T31" fmla="*/ 2147483647 h 154"/>
              <a:gd name="T32" fmla="*/ 2147483647 w 192"/>
              <a:gd name="T33" fmla="*/ 2147483647 h 154"/>
              <a:gd name="T34" fmla="*/ 2147483647 w 192"/>
              <a:gd name="T35" fmla="*/ 2147483647 h 154"/>
              <a:gd name="T36" fmla="*/ 2147483647 w 192"/>
              <a:gd name="T37" fmla="*/ 2147483647 h 154"/>
              <a:gd name="T38" fmla="*/ 2147483647 w 192"/>
              <a:gd name="T39" fmla="*/ 2147483647 h 154"/>
              <a:gd name="T40" fmla="*/ 2147483647 w 192"/>
              <a:gd name="T41" fmla="*/ 2147483647 h 154"/>
              <a:gd name="T42" fmla="*/ 2147483647 w 192"/>
              <a:gd name="T43" fmla="*/ 2147483647 h 154"/>
              <a:gd name="T44" fmla="*/ 2147483647 w 192"/>
              <a:gd name="T45" fmla="*/ 2147483647 h 154"/>
              <a:gd name="T46" fmla="*/ 2147483647 w 192"/>
              <a:gd name="T47" fmla="*/ 2147483647 h 154"/>
              <a:gd name="T48" fmla="*/ 2147483647 w 192"/>
              <a:gd name="T49" fmla="*/ 2147483647 h 154"/>
              <a:gd name="T50" fmla="*/ 2147483647 w 192"/>
              <a:gd name="T51" fmla="*/ 2147483647 h 154"/>
              <a:gd name="T52" fmla="*/ 0 w 192"/>
              <a:gd name="T53" fmla="*/ 2147483647 h 154"/>
              <a:gd name="T54" fmla="*/ 2147483647 w 192"/>
              <a:gd name="T55" fmla="*/ 2147483647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0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675053" y="2977778"/>
            <a:ext cx="381000" cy="247650"/>
          </a:xfrm>
          <a:custGeom>
            <a:avLst/>
            <a:gdLst>
              <a:gd name="T0" fmla="*/ 2147483647 w 877"/>
              <a:gd name="T1" fmla="*/ 2147483647 h 469"/>
              <a:gd name="T2" fmla="*/ 2147483647 w 877"/>
              <a:gd name="T3" fmla="*/ 2147483647 h 469"/>
              <a:gd name="T4" fmla="*/ 2147483647 w 877"/>
              <a:gd name="T5" fmla="*/ 2147483647 h 469"/>
              <a:gd name="T6" fmla="*/ 2147483647 w 877"/>
              <a:gd name="T7" fmla="*/ 2147483647 h 469"/>
              <a:gd name="T8" fmla="*/ 2147483647 w 877"/>
              <a:gd name="T9" fmla="*/ 2147483647 h 469"/>
              <a:gd name="T10" fmla="*/ 2147483647 w 877"/>
              <a:gd name="T11" fmla="*/ 2147483647 h 469"/>
              <a:gd name="T12" fmla="*/ 2147483647 w 877"/>
              <a:gd name="T13" fmla="*/ 2147483647 h 469"/>
              <a:gd name="T14" fmla="*/ 2147483647 w 877"/>
              <a:gd name="T15" fmla="*/ 2147483647 h 469"/>
              <a:gd name="T16" fmla="*/ 2147483647 w 877"/>
              <a:gd name="T17" fmla="*/ 2147483647 h 469"/>
              <a:gd name="T18" fmla="*/ 2147483647 w 877"/>
              <a:gd name="T19" fmla="*/ 2147483647 h 469"/>
              <a:gd name="T20" fmla="*/ 2147483647 w 877"/>
              <a:gd name="T21" fmla="*/ 2147483647 h 469"/>
              <a:gd name="T22" fmla="*/ 2147483647 w 877"/>
              <a:gd name="T23" fmla="*/ 2147483647 h 469"/>
              <a:gd name="T24" fmla="*/ 2147483647 w 877"/>
              <a:gd name="T25" fmla="*/ 2147483647 h 469"/>
              <a:gd name="T26" fmla="*/ 2147483647 w 877"/>
              <a:gd name="T27" fmla="*/ 2147483647 h 469"/>
              <a:gd name="T28" fmla="*/ 2147483647 w 877"/>
              <a:gd name="T29" fmla="*/ 2147483647 h 469"/>
              <a:gd name="T30" fmla="*/ 2147483647 w 877"/>
              <a:gd name="T31" fmla="*/ 2147483647 h 469"/>
              <a:gd name="T32" fmla="*/ 2147483647 w 877"/>
              <a:gd name="T33" fmla="*/ 2147483647 h 469"/>
              <a:gd name="T34" fmla="*/ 2147483647 w 877"/>
              <a:gd name="T35" fmla="*/ 2147483647 h 469"/>
              <a:gd name="T36" fmla="*/ 2147483647 w 877"/>
              <a:gd name="T37" fmla="*/ 2147483647 h 469"/>
              <a:gd name="T38" fmla="*/ 2147483647 w 877"/>
              <a:gd name="T39" fmla="*/ 2147483647 h 469"/>
              <a:gd name="T40" fmla="*/ 2147483647 w 877"/>
              <a:gd name="T41" fmla="*/ 0 h 469"/>
              <a:gd name="T42" fmla="*/ 2147483647 w 877"/>
              <a:gd name="T43" fmla="*/ 2147483647 h 469"/>
              <a:gd name="T44" fmla="*/ 2147483647 w 877"/>
              <a:gd name="T45" fmla="*/ 2147483647 h 469"/>
              <a:gd name="T46" fmla="*/ 2147483647 w 877"/>
              <a:gd name="T47" fmla="*/ 2147483647 h 469"/>
              <a:gd name="T48" fmla="*/ 2147483647 w 877"/>
              <a:gd name="T49" fmla="*/ 2147483647 h 469"/>
              <a:gd name="T50" fmla="*/ 2147483647 w 877"/>
              <a:gd name="T51" fmla="*/ 2147483647 h 469"/>
              <a:gd name="T52" fmla="*/ 2147483647 w 877"/>
              <a:gd name="T53" fmla="*/ 2147483647 h 469"/>
              <a:gd name="T54" fmla="*/ 2147483647 w 877"/>
              <a:gd name="T55" fmla="*/ 2147483647 h 469"/>
              <a:gd name="T56" fmla="*/ 2147483647 w 877"/>
              <a:gd name="T57" fmla="*/ 2147483647 h 469"/>
              <a:gd name="T58" fmla="*/ 2147483647 w 877"/>
              <a:gd name="T59" fmla="*/ 2147483647 h 469"/>
              <a:gd name="T60" fmla="*/ 2147483647 w 877"/>
              <a:gd name="T61" fmla="*/ 2147483647 h 469"/>
              <a:gd name="T62" fmla="*/ 2147483647 w 877"/>
              <a:gd name="T63" fmla="*/ 2147483647 h 469"/>
              <a:gd name="T64" fmla="*/ 2147483647 w 877"/>
              <a:gd name="T65" fmla="*/ 2147483647 h 469"/>
              <a:gd name="T66" fmla="*/ 2147483647 w 877"/>
              <a:gd name="T67" fmla="*/ 2147483647 h 469"/>
              <a:gd name="T68" fmla="*/ 2147483647 w 877"/>
              <a:gd name="T69" fmla="*/ 2147483647 h 469"/>
              <a:gd name="T70" fmla="*/ 2147483647 w 877"/>
              <a:gd name="T71" fmla="*/ 2147483647 h 469"/>
              <a:gd name="T72" fmla="*/ 2147483647 w 877"/>
              <a:gd name="T73" fmla="*/ 2147483647 h 469"/>
              <a:gd name="T74" fmla="*/ 2147483647 w 877"/>
              <a:gd name="T75" fmla="*/ 2147483647 h 469"/>
              <a:gd name="T76" fmla="*/ 2147483647 w 877"/>
              <a:gd name="T77" fmla="*/ 2147483647 h 469"/>
              <a:gd name="T78" fmla="*/ 2147483647 w 877"/>
              <a:gd name="T79" fmla="*/ 2147483647 h 469"/>
              <a:gd name="T80" fmla="*/ 2147483647 w 877"/>
              <a:gd name="T81" fmla="*/ 2147483647 h 469"/>
              <a:gd name="T82" fmla="*/ 2147483647 w 877"/>
              <a:gd name="T83" fmla="*/ 2147483647 h 469"/>
              <a:gd name="T84" fmla="*/ 2147483647 w 877"/>
              <a:gd name="T85" fmla="*/ 2147483647 h 469"/>
              <a:gd name="T86" fmla="*/ 2147483647 w 877"/>
              <a:gd name="T87" fmla="*/ 2147483647 h 469"/>
              <a:gd name="T88" fmla="*/ 2147483647 w 877"/>
              <a:gd name="T89" fmla="*/ 2147483647 h 469"/>
              <a:gd name="T90" fmla="*/ 2147483647 w 877"/>
              <a:gd name="T91" fmla="*/ 2147483647 h 469"/>
              <a:gd name="T92" fmla="*/ 2147483647 w 877"/>
              <a:gd name="T93" fmla="*/ 2147483647 h 469"/>
              <a:gd name="T94" fmla="*/ 2147483647 w 877"/>
              <a:gd name="T95" fmla="*/ 2147483647 h 469"/>
              <a:gd name="T96" fmla="*/ 2147483647 w 877"/>
              <a:gd name="T97" fmla="*/ 2147483647 h 469"/>
              <a:gd name="T98" fmla="*/ 2147483647 w 877"/>
              <a:gd name="T99" fmla="*/ 2147483647 h 469"/>
              <a:gd name="T100" fmla="*/ 2147483647 w 877"/>
              <a:gd name="T101" fmla="*/ 2147483647 h 469"/>
              <a:gd name="T102" fmla="*/ 2147483647 w 877"/>
              <a:gd name="T103" fmla="*/ 2147483647 h 469"/>
              <a:gd name="T104" fmla="*/ 2147483647 w 877"/>
              <a:gd name="T105" fmla="*/ 2147483647 h 469"/>
              <a:gd name="T106" fmla="*/ 2147483647 w 877"/>
              <a:gd name="T107" fmla="*/ 2147483647 h 469"/>
              <a:gd name="T108" fmla="*/ 2147483647 w 877"/>
              <a:gd name="T109" fmla="*/ 2147483647 h 469"/>
              <a:gd name="T110" fmla="*/ 2147483647 w 877"/>
              <a:gd name="T111" fmla="*/ 2147483647 h 469"/>
              <a:gd name="T112" fmla="*/ 2147483647 w 877"/>
              <a:gd name="T113" fmla="*/ 2147483647 h 469"/>
              <a:gd name="T114" fmla="*/ 2147483647 w 877"/>
              <a:gd name="T115" fmla="*/ 2147483647 h 469"/>
              <a:gd name="T116" fmla="*/ 2147483647 w 877"/>
              <a:gd name="T117" fmla="*/ 2147483647 h 469"/>
              <a:gd name="T118" fmla="*/ 2147483647 w 877"/>
              <a:gd name="T119" fmla="*/ 2147483647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1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186228" y="3320678"/>
            <a:ext cx="47625" cy="63500"/>
          </a:xfrm>
          <a:custGeom>
            <a:avLst/>
            <a:gdLst>
              <a:gd name="T0" fmla="*/ 2147483647 w 107"/>
              <a:gd name="T1" fmla="*/ 0 h 123"/>
              <a:gd name="T2" fmla="*/ 2147483647 w 107"/>
              <a:gd name="T3" fmla="*/ 2147483647 h 123"/>
              <a:gd name="T4" fmla="*/ 2147483647 w 107"/>
              <a:gd name="T5" fmla="*/ 2147483647 h 123"/>
              <a:gd name="T6" fmla="*/ 2147483647 w 107"/>
              <a:gd name="T7" fmla="*/ 2147483647 h 123"/>
              <a:gd name="T8" fmla="*/ 2147483647 w 107"/>
              <a:gd name="T9" fmla="*/ 2147483647 h 123"/>
              <a:gd name="T10" fmla="*/ 2147483647 w 107"/>
              <a:gd name="T11" fmla="*/ 2147483647 h 123"/>
              <a:gd name="T12" fmla="*/ 2147483647 w 107"/>
              <a:gd name="T13" fmla="*/ 2147483647 h 123"/>
              <a:gd name="T14" fmla="*/ 2147483647 w 107"/>
              <a:gd name="T15" fmla="*/ 2147483647 h 123"/>
              <a:gd name="T16" fmla="*/ 2147483647 w 107"/>
              <a:gd name="T17" fmla="*/ 2147483647 h 123"/>
              <a:gd name="T18" fmla="*/ 2147483647 w 107"/>
              <a:gd name="T19" fmla="*/ 2147483647 h 123"/>
              <a:gd name="T20" fmla="*/ 2147483647 w 107"/>
              <a:gd name="T21" fmla="*/ 2147483647 h 123"/>
              <a:gd name="T22" fmla="*/ 2147483647 w 107"/>
              <a:gd name="T23" fmla="*/ 2147483647 h 123"/>
              <a:gd name="T24" fmla="*/ 2147483647 w 107"/>
              <a:gd name="T25" fmla="*/ 2147483647 h 123"/>
              <a:gd name="T26" fmla="*/ 2147483647 w 107"/>
              <a:gd name="T27" fmla="*/ 2147483647 h 123"/>
              <a:gd name="T28" fmla="*/ 2147483647 w 107"/>
              <a:gd name="T29" fmla="*/ 2147483647 h 123"/>
              <a:gd name="T30" fmla="*/ 2147483647 w 107"/>
              <a:gd name="T31" fmla="*/ 2147483647 h 123"/>
              <a:gd name="T32" fmla="*/ 2147483647 w 107"/>
              <a:gd name="T33" fmla="*/ 2147483647 h 123"/>
              <a:gd name="T34" fmla="*/ 2147483647 w 107"/>
              <a:gd name="T35" fmla="*/ 2147483647 h 123"/>
              <a:gd name="T36" fmla="*/ 2147483647 w 107"/>
              <a:gd name="T37" fmla="*/ 2147483647 h 123"/>
              <a:gd name="T38" fmla="*/ 2147483647 w 107"/>
              <a:gd name="T39" fmla="*/ 2147483647 h 123"/>
              <a:gd name="T40" fmla="*/ 2147483647 w 107"/>
              <a:gd name="T41" fmla="*/ 2147483647 h 123"/>
              <a:gd name="T42" fmla="*/ 0 w 107"/>
              <a:gd name="T43" fmla="*/ 2147483647 h 123"/>
              <a:gd name="T44" fmla="*/ 2147483647 w 107"/>
              <a:gd name="T45" fmla="*/ 0 h 123"/>
              <a:gd name="T46" fmla="*/ 214748364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2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729153" y="3334965"/>
            <a:ext cx="207962" cy="122238"/>
          </a:xfrm>
          <a:custGeom>
            <a:avLst/>
            <a:gdLst>
              <a:gd name="T0" fmla="*/ 2147483647 w 471"/>
              <a:gd name="T1" fmla="*/ 2147483647 h 234"/>
              <a:gd name="T2" fmla="*/ 2147483647 w 471"/>
              <a:gd name="T3" fmla="*/ 2147483647 h 234"/>
              <a:gd name="T4" fmla="*/ 2147483647 w 471"/>
              <a:gd name="T5" fmla="*/ 2147483647 h 234"/>
              <a:gd name="T6" fmla="*/ 2147483647 w 471"/>
              <a:gd name="T7" fmla="*/ 2147483647 h 234"/>
              <a:gd name="T8" fmla="*/ 2147483647 w 471"/>
              <a:gd name="T9" fmla="*/ 2147483647 h 234"/>
              <a:gd name="T10" fmla="*/ 2147483647 w 471"/>
              <a:gd name="T11" fmla="*/ 2147483647 h 234"/>
              <a:gd name="T12" fmla="*/ 2147483647 w 471"/>
              <a:gd name="T13" fmla="*/ 2147483647 h 234"/>
              <a:gd name="T14" fmla="*/ 2147483647 w 471"/>
              <a:gd name="T15" fmla="*/ 2147483647 h 234"/>
              <a:gd name="T16" fmla="*/ 2147483647 w 471"/>
              <a:gd name="T17" fmla="*/ 2147483647 h 234"/>
              <a:gd name="T18" fmla="*/ 2147483647 w 471"/>
              <a:gd name="T19" fmla="*/ 2147483647 h 234"/>
              <a:gd name="T20" fmla="*/ 2147483647 w 471"/>
              <a:gd name="T21" fmla="*/ 2147483647 h 234"/>
              <a:gd name="T22" fmla="*/ 2147483647 w 471"/>
              <a:gd name="T23" fmla="*/ 2147483647 h 234"/>
              <a:gd name="T24" fmla="*/ 2147483647 w 471"/>
              <a:gd name="T25" fmla="*/ 2147483647 h 234"/>
              <a:gd name="T26" fmla="*/ 2147483647 w 471"/>
              <a:gd name="T27" fmla="*/ 2147483647 h 234"/>
              <a:gd name="T28" fmla="*/ 2147483647 w 471"/>
              <a:gd name="T29" fmla="*/ 2147483647 h 234"/>
              <a:gd name="T30" fmla="*/ 2147483647 w 471"/>
              <a:gd name="T31" fmla="*/ 2147483647 h 234"/>
              <a:gd name="T32" fmla="*/ 2147483647 w 471"/>
              <a:gd name="T33" fmla="*/ 2147483647 h 234"/>
              <a:gd name="T34" fmla="*/ 2147483647 w 471"/>
              <a:gd name="T35" fmla="*/ 2147483647 h 234"/>
              <a:gd name="T36" fmla="*/ 2147483647 w 471"/>
              <a:gd name="T37" fmla="*/ 2147483647 h 234"/>
              <a:gd name="T38" fmla="*/ 2147483647 w 471"/>
              <a:gd name="T39" fmla="*/ 2147483647 h 234"/>
              <a:gd name="T40" fmla="*/ 2147483647 w 471"/>
              <a:gd name="T41" fmla="*/ 2147483647 h 234"/>
              <a:gd name="T42" fmla="*/ 2147483647 w 471"/>
              <a:gd name="T43" fmla="*/ 2147483647 h 234"/>
              <a:gd name="T44" fmla="*/ 2147483647 w 471"/>
              <a:gd name="T45" fmla="*/ 2147483647 h 234"/>
              <a:gd name="T46" fmla="*/ 2147483647 w 471"/>
              <a:gd name="T47" fmla="*/ 2147483647 h 234"/>
              <a:gd name="T48" fmla="*/ 2147483647 w 471"/>
              <a:gd name="T49" fmla="*/ 2147483647 h 234"/>
              <a:gd name="T50" fmla="*/ 2147483647 w 471"/>
              <a:gd name="T51" fmla="*/ 2147483647 h 234"/>
              <a:gd name="T52" fmla="*/ 2147483647 w 471"/>
              <a:gd name="T53" fmla="*/ 2147483647 h 234"/>
              <a:gd name="T54" fmla="*/ 2147483647 w 471"/>
              <a:gd name="T55" fmla="*/ 2147483647 h 234"/>
              <a:gd name="T56" fmla="*/ 2147483647 w 471"/>
              <a:gd name="T57" fmla="*/ 2147483647 h 234"/>
              <a:gd name="T58" fmla="*/ 2147483647 w 471"/>
              <a:gd name="T59" fmla="*/ 2147483647 h 234"/>
              <a:gd name="T60" fmla="*/ 2147483647 w 471"/>
              <a:gd name="T61" fmla="*/ 2147483647 h 234"/>
              <a:gd name="T62" fmla="*/ 2147483647 w 471"/>
              <a:gd name="T63" fmla="*/ 2147483647 h 234"/>
              <a:gd name="T64" fmla="*/ 2147483647 w 471"/>
              <a:gd name="T65" fmla="*/ 2147483647 h 234"/>
              <a:gd name="T66" fmla="*/ 2147483647 w 471"/>
              <a:gd name="T67" fmla="*/ 2147483647 h 234"/>
              <a:gd name="T68" fmla="*/ 2147483647 w 471"/>
              <a:gd name="T69" fmla="*/ 2147483647 h 234"/>
              <a:gd name="T70" fmla="*/ 2147483647 w 471"/>
              <a:gd name="T71" fmla="*/ 2147483647 h 234"/>
              <a:gd name="T72" fmla="*/ 2147483647 w 471"/>
              <a:gd name="T73" fmla="*/ 2147483647 h 234"/>
              <a:gd name="T74" fmla="*/ 2147483647 w 471"/>
              <a:gd name="T75" fmla="*/ 2147483647 h 234"/>
              <a:gd name="T76" fmla="*/ 2147483647 w 471"/>
              <a:gd name="T77" fmla="*/ 2147483647 h 234"/>
              <a:gd name="T78" fmla="*/ 0 w 471"/>
              <a:gd name="T79" fmla="*/ 2147483647 h 234"/>
              <a:gd name="T80" fmla="*/ 2147483647 w 471"/>
              <a:gd name="T81" fmla="*/ 2147483647 h 234"/>
              <a:gd name="T82" fmla="*/ 2147483647 w 471"/>
              <a:gd name="T83" fmla="*/ 2147483647 h 234"/>
              <a:gd name="T84" fmla="*/ 2147483647 w 471"/>
              <a:gd name="T85" fmla="*/ 0 h 234"/>
              <a:gd name="T86" fmla="*/ 2147483647 w 471"/>
              <a:gd name="T87" fmla="*/ 2147483647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3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778365" y="3263528"/>
            <a:ext cx="225425" cy="125412"/>
          </a:xfrm>
          <a:custGeom>
            <a:avLst/>
            <a:gdLst>
              <a:gd name="T0" fmla="*/ 2147483647 w 525"/>
              <a:gd name="T1" fmla="*/ 2147483647 h 241"/>
              <a:gd name="T2" fmla="*/ 2147483647 w 525"/>
              <a:gd name="T3" fmla="*/ 2147483647 h 241"/>
              <a:gd name="T4" fmla="*/ 2147483647 w 525"/>
              <a:gd name="T5" fmla="*/ 2147483647 h 241"/>
              <a:gd name="T6" fmla="*/ 2147483647 w 525"/>
              <a:gd name="T7" fmla="*/ 2147483647 h 241"/>
              <a:gd name="T8" fmla="*/ 2147483647 w 525"/>
              <a:gd name="T9" fmla="*/ 2147483647 h 241"/>
              <a:gd name="T10" fmla="*/ 2147483647 w 525"/>
              <a:gd name="T11" fmla="*/ 2147483647 h 241"/>
              <a:gd name="T12" fmla="*/ 2147483647 w 525"/>
              <a:gd name="T13" fmla="*/ 2147483647 h 241"/>
              <a:gd name="T14" fmla="*/ 2147483647 w 525"/>
              <a:gd name="T15" fmla="*/ 0 h 241"/>
              <a:gd name="T16" fmla="*/ 2147483647 w 525"/>
              <a:gd name="T17" fmla="*/ 2147483647 h 241"/>
              <a:gd name="T18" fmla="*/ 2147483647 w 525"/>
              <a:gd name="T19" fmla="*/ 2147483647 h 241"/>
              <a:gd name="T20" fmla="*/ 2147483647 w 525"/>
              <a:gd name="T21" fmla="*/ 2147483647 h 241"/>
              <a:gd name="T22" fmla="*/ 2147483647 w 525"/>
              <a:gd name="T23" fmla="*/ 2147483647 h 241"/>
              <a:gd name="T24" fmla="*/ 2147483647 w 525"/>
              <a:gd name="T25" fmla="*/ 2147483647 h 241"/>
              <a:gd name="T26" fmla="*/ 2147483647 w 525"/>
              <a:gd name="T27" fmla="*/ 2147483647 h 241"/>
              <a:gd name="T28" fmla="*/ 2147483647 w 525"/>
              <a:gd name="T29" fmla="*/ 2147483647 h 241"/>
              <a:gd name="T30" fmla="*/ 2147483647 w 525"/>
              <a:gd name="T31" fmla="*/ 2147483647 h 241"/>
              <a:gd name="T32" fmla="*/ 2147483647 w 525"/>
              <a:gd name="T33" fmla="*/ 2147483647 h 241"/>
              <a:gd name="T34" fmla="*/ 2147483647 w 525"/>
              <a:gd name="T35" fmla="*/ 2147483647 h 241"/>
              <a:gd name="T36" fmla="*/ 2147483647 w 525"/>
              <a:gd name="T37" fmla="*/ 2147483647 h 241"/>
              <a:gd name="T38" fmla="*/ 2147483647 w 525"/>
              <a:gd name="T39" fmla="*/ 2147483647 h 241"/>
              <a:gd name="T40" fmla="*/ 2147483647 w 525"/>
              <a:gd name="T41" fmla="*/ 2147483647 h 241"/>
              <a:gd name="T42" fmla="*/ 2147483647 w 525"/>
              <a:gd name="T43" fmla="*/ 2147483647 h 241"/>
              <a:gd name="T44" fmla="*/ 2147483647 w 525"/>
              <a:gd name="T45" fmla="*/ 2147483647 h 241"/>
              <a:gd name="T46" fmla="*/ 2147483647 w 525"/>
              <a:gd name="T47" fmla="*/ 2147483647 h 241"/>
              <a:gd name="T48" fmla="*/ 2147483647 w 525"/>
              <a:gd name="T49" fmla="*/ 2147483647 h 241"/>
              <a:gd name="T50" fmla="*/ 2147483647 w 525"/>
              <a:gd name="T51" fmla="*/ 2147483647 h 241"/>
              <a:gd name="T52" fmla="*/ 2147483647 w 525"/>
              <a:gd name="T53" fmla="*/ 2147483647 h 241"/>
              <a:gd name="T54" fmla="*/ 2147483647 w 525"/>
              <a:gd name="T55" fmla="*/ 2147483647 h 241"/>
              <a:gd name="T56" fmla="*/ 2147483647 w 525"/>
              <a:gd name="T57" fmla="*/ 2147483647 h 241"/>
              <a:gd name="T58" fmla="*/ 2147483647 w 525"/>
              <a:gd name="T59" fmla="*/ 2147483647 h 241"/>
              <a:gd name="T60" fmla="*/ 2147483647 w 525"/>
              <a:gd name="T61" fmla="*/ 2147483647 h 241"/>
              <a:gd name="T62" fmla="*/ 2147483647 w 525"/>
              <a:gd name="T63" fmla="*/ 2147483647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4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384665" y="3279403"/>
            <a:ext cx="342900" cy="227012"/>
          </a:xfrm>
          <a:custGeom>
            <a:avLst/>
            <a:gdLst>
              <a:gd name="T0" fmla="*/ 2147483647 w 784"/>
              <a:gd name="T1" fmla="*/ 2147483647 h 430"/>
              <a:gd name="T2" fmla="*/ 2147483647 w 784"/>
              <a:gd name="T3" fmla="*/ 2147483647 h 430"/>
              <a:gd name="T4" fmla="*/ 2147483647 w 784"/>
              <a:gd name="T5" fmla="*/ 2147483647 h 430"/>
              <a:gd name="T6" fmla="*/ 2147483647 w 784"/>
              <a:gd name="T7" fmla="*/ 2147483647 h 430"/>
              <a:gd name="T8" fmla="*/ 2147483647 w 784"/>
              <a:gd name="T9" fmla="*/ 2147483647 h 430"/>
              <a:gd name="T10" fmla="*/ 2147483647 w 784"/>
              <a:gd name="T11" fmla="*/ 2147483647 h 430"/>
              <a:gd name="T12" fmla="*/ 2147483647 w 784"/>
              <a:gd name="T13" fmla="*/ 2147483647 h 430"/>
              <a:gd name="T14" fmla="*/ 2147483647 w 784"/>
              <a:gd name="T15" fmla="*/ 2147483647 h 430"/>
              <a:gd name="T16" fmla="*/ 2147483647 w 784"/>
              <a:gd name="T17" fmla="*/ 2147483647 h 430"/>
              <a:gd name="T18" fmla="*/ 2147483647 w 784"/>
              <a:gd name="T19" fmla="*/ 2147483647 h 430"/>
              <a:gd name="T20" fmla="*/ 2147483647 w 784"/>
              <a:gd name="T21" fmla="*/ 2147483647 h 430"/>
              <a:gd name="T22" fmla="*/ 2147483647 w 784"/>
              <a:gd name="T23" fmla="*/ 2147483647 h 430"/>
              <a:gd name="T24" fmla="*/ 2147483647 w 784"/>
              <a:gd name="T25" fmla="*/ 2147483647 h 430"/>
              <a:gd name="T26" fmla="*/ 2147483647 w 784"/>
              <a:gd name="T27" fmla="*/ 2147483647 h 430"/>
              <a:gd name="T28" fmla="*/ 2147483647 w 784"/>
              <a:gd name="T29" fmla="*/ 2147483647 h 430"/>
              <a:gd name="T30" fmla="*/ 2147483647 w 784"/>
              <a:gd name="T31" fmla="*/ 2147483647 h 430"/>
              <a:gd name="T32" fmla="*/ 2147483647 w 784"/>
              <a:gd name="T33" fmla="*/ 2147483647 h 430"/>
              <a:gd name="T34" fmla="*/ 2147483647 w 784"/>
              <a:gd name="T35" fmla="*/ 2147483647 h 430"/>
              <a:gd name="T36" fmla="*/ 2147483647 w 784"/>
              <a:gd name="T37" fmla="*/ 2147483647 h 430"/>
              <a:gd name="T38" fmla="*/ 2147483647 w 784"/>
              <a:gd name="T39" fmla="*/ 2147483647 h 430"/>
              <a:gd name="T40" fmla="*/ 2147483647 w 784"/>
              <a:gd name="T41" fmla="*/ 2147483647 h 430"/>
              <a:gd name="T42" fmla="*/ 2147483647 w 784"/>
              <a:gd name="T43" fmla="*/ 2147483647 h 430"/>
              <a:gd name="T44" fmla="*/ 2147483647 w 784"/>
              <a:gd name="T45" fmla="*/ 2147483647 h 430"/>
              <a:gd name="T46" fmla="*/ 2147483647 w 784"/>
              <a:gd name="T47" fmla="*/ 2147483647 h 430"/>
              <a:gd name="T48" fmla="*/ 2147483647 w 784"/>
              <a:gd name="T49" fmla="*/ 2147483647 h 430"/>
              <a:gd name="T50" fmla="*/ 2147483647 w 784"/>
              <a:gd name="T51" fmla="*/ 2147483647 h 430"/>
              <a:gd name="T52" fmla="*/ 2147483647 w 784"/>
              <a:gd name="T53" fmla="*/ 2147483647 h 430"/>
              <a:gd name="T54" fmla="*/ 2147483647 w 784"/>
              <a:gd name="T55" fmla="*/ 2147483647 h 430"/>
              <a:gd name="T56" fmla="*/ 2147483647 w 784"/>
              <a:gd name="T57" fmla="*/ 2147483647 h 430"/>
              <a:gd name="T58" fmla="*/ 2147483647 w 784"/>
              <a:gd name="T59" fmla="*/ 2147483647 h 430"/>
              <a:gd name="T60" fmla="*/ 2147483647 w 784"/>
              <a:gd name="T61" fmla="*/ 2147483647 h 430"/>
              <a:gd name="T62" fmla="*/ 2147483647 w 784"/>
              <a:gd name="T63" fmla="*/ 2147483647 h 430"/>
              <a:gd name="T64" fmla="*/ 2147483647 w 784"/>
              <a:gd name="T65" fmla="*/ 2147483647 h 430"/>
              <a:gd name="T66" fmla="*/ 2147483647 w 784"/>
              <a:gd name="T67" fmla="*/ 2147483647 h 430"/>
              <a:gd name="T68" fmla="*/ 0 w 784"/>
              <a:gd name="T69" fmla="*/ 2147483647 h 430"/>
              <a:gd name="T70" fmla="*/ 2147483647 w 784"/>
              <a:gd name="T71" fmla="*/ 2147483647 h 430"/>
              <a:gd name="T72" fmla="*/ 2147483647 w 784"/>
              <a:gd name="T73" fmla="*/ 2147483647 h 430"/>
              <a:gd name="T74" fmla="*/ 2147483647 w 784"/>
              <a:gd name="T75" fmla="*/ 2147483647 h 430"/>
              <a:gd name="T76" fmla="*/ 2147483647 w 784"/>
              <a:gd name="T77" fmla="*/ 2147483647 h 430"/>
              <a:gd name="T78" fmla="*/ 2147483647 w 784"/>
              <a:gd name="T79" fmla="*/ 2147483647 h 430"/>
              <a:gd name="T80" fmla="*/ 2147483647 w 784"/>
              <a:gd name="T81" fmla="*/ 2147483647 h 430"/>
              <a:gd name="T82" fmla="*/ 2147483647 w 784"/>
              <a:gd name="T83" fmla="*/ 2147483647 h 430"/>
              <a:gd name="T84" fmla="*/ 2147483647 w 784"/>
              <a:gd name="T85" fmla="*/ 2147483647 h 430"/>
              <a:gd name="T86" fmla="*/ 2147483647 w 784"/>
              <a:gd name="T87" fmla="*/ 2147483647 h 430"/>
              <a:gd name="T88" fmla="*/ 2147483647 w 784"/>
              <a:gd name="T89" fmla="*/ 2147483647 h 430"/>
              <a:gd name="T90" fmla="*/ 2147483647 w 784"/>
              <a:gd name="T91" fmla="*/ 2147483647 h 430"/>
              <a:gd name="T92" fmla="*/ 2147483647 w 784"/>
              <a:gd name="T93" fmla="*/ 2147483647 h 430"/>
              <a:gd name="T94" fmla="*/ 2147483647 w 784"/>
              <a:gd name="T95" fmla="*/ 2147483647 h 430"/>
              <a:gd name="T96" fmla="*/ 2147483647 w 784"/>
              <a:gd name="T97" fmla="*/ 2147483647 h 430"/>
              <a:gd name="T98" fmla="*/ 2147483647 w 784"/>
              <a:gd name="T99" fmla="*/ 0 h 430"/>
              <a:gd name="T100" fmla="*/ 2147483647 w 784"/>
              <a:gd name="T101" fmla="*/ 2147483647 h 430"/>
              <a:gd name="T102" fmla="*/ 2147483647 w 784"/>
              <a:gd name="T103" fmla="*/ 2147483647 h 430"/>
              <a:gd name="T104" fmla="*/ 2147483647 w 784"/>
              <a:gd name="T105" fmla="*/ 2147483647 h 430"/>
              <a:gd name="T106" fmla="*/ 2147483647 w 784"/>
              <a:gd name="T107" fmla="*/ 2147483647 h 430"/>
              <a:gd name="T108" fmla="*/ 2147483647 w 784"/>
              <a:gd name="T109" fmla="*/ 214748364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5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594090" y="3166690"/>
            <a:ext cx="107950" cy="149225"/>
          </a:xfrm>
          <a:custGeom>
            <a:avLst/>
            <a:gdLst>
              <a:gd name="T0" fmla="*/ 2147483647 w 246"/>
              <a:gd name="T1" fmla="*/ 2147483647 h 284"/>
              <a:gd name="T2" fmla="*/ 2147483647 w 246"/>
              <a:gd name="T3" fmla="*/ 2147483647 h 284"/>
              <a:gd name="T4" fmla="*/ 2147483647 w 246"/>
              <a:gd name="T5" fmla="*/ 2147483647 h 284"/>
              <a:gd name="T6" fmla="*/ 2147483647 w 246"/>
              <a:gd name="T7" fmla="*/ 2147483647 h 284"/>
              <a:gd name="T8" fmla="*/ 2147483647 w 246"/>
              <a:gd name="T9" fmla="*/ 2147483647 h 284"/>
              <a:gd name="T10" fmla="*/ 2147483647 w 246"/>
              <a:gd name="T11" fmla="*/ 2147483647 h 284"/>
              <a:gd name="T12" fmla="*/ 2147483647 w 246"/>
              <a:gd name="T13" fmla="*/ 2147483647 h 284"/>
              <a:gd name="T14" fmla="*/ 2147483647 w 246"/>
              <a:gd name="T15" fmla="*/ 2147483647 h 284"/>
              <a:gd name="T16" fmla="*/ 2147483647 w 246"/>
              <a:gd name="T17" fmla="*/ 2147483647 h 284"/>
              <a:gd name="T18" fmla="*/ 2147483647 w 246"/>
              <a:gd name="T19" fmla="*/ 2147483647 h 284"/>
              <a:gd name="T20" fmla="*/ 2147483647 w 246"/>
              <a:gd name="T21" fmla="*/ 2147483647 h 284"/>
              <a:gd name="T22" fmla="*/ 2147483647 w 246"/>
              <a:gd name="T23" fmla="*/ 2147483647 h 284"/>
              <a:gd name="T24" fmla="*/ 2147483647 w 246"/>
              <a:gd name="T25" fmla="*/ 2147483647 h 284"/>
              <a:gd name="T26" fmla="*/ 2147483647 w 246"/>
              <a:gd name="T27" fmla="*/ 2147483647 h 284"/>
              <a:gd name="T28" fmla="*/ 2147483647 w 246"/>
              <a:gd name="T29" fmla="*/ 2147483647 h 284"/>
              <a:gd name="T30" fmla="*/ 2147483647 w 246"/>
              <a:gd name="T31" fmla="*/ 2147483647 h 284"/>
              <a:gd name="T32" fmla="*/ 2147483647 w 246"/>
              <a:gd name="T33" fmla="*/ 2147483647 h 284"/>
              <a:gd name="T34" fmla="*/ 2147483647 w 246"/>
              <a:gd name="T35" fmla="*/ 2147483647 h 284"/>
              <a:gd name="T36" fmla="*/ 2147483647 w 246"/>
              <a:gd name="T37" fmla="*/ 2147483647 h 284"/>
              <a:gd name="T38" fmla="*/ 2147483647 w 246"/>
              <a:gd name="T39" fmla="*/ 2147483647 h 284"/>
              <a:gd name="T40" fmla="*/ 2147483647 w 246"/>
              <a:gd name="T41" fmla="*/ 2147483647 h 284"/>
              <a:gd name="T42" fmla="*/ 2147483647 w 246"/>
              <a:gd name="T43" fmla="*/ 2147483647 h 284"/>
              <a:gd name="T44" fmla="*/ 2147483647 w 246"/>
              <a:gd name="T45" fmla="*/ 2147483647 h 284"/>
              <a:gd name="T46" fmla="*/ 2147483647 w 246"/>
              <a:gd name="T47" fmla="*/ 2147483647 h 284"/>
              <a:gd name="T48" fmla="*/ 2147483647 w 246"/>
              <a:gd name="T49" fmla="*/ 2147483647 h 284"/>
              <a:gd name="T50" fmla="*/ 2147483647 w 246"/>
              <a:gd name="T51" fmla="*/ 2147483647 h 284"/>
              <a:gd name="T52" fmla="*/ 2147483647 w 246"/>
              <a:gd name="T53" fmla="*/ 2147483647 h 284"/>
              <a:gd name="T54" fmla="*/ 2147483647 w 246"/>
              <a:gd name="T55" fmla="*/ 2147483647 h 284"/>
              <a:gd name="T56" fmla="*/ 2147483647 w 246"/>
              <a:gd name="T57" fmla="*/ 2147483647 h 284"/>
              <a:gd name="T58" fmla="*/ 2147483647 w 246"/>
              <a:gd name="T59" fmla="*/ 2147483647 h 284"/>
              <a:gd name="T60" fmla="*/ 2147483647 w 246"/>
              <a:gd name="T61" fmla="*/ 2147483647 h 284"/>
              <a:gd name="T62" fmla="*/ 2147483647 w 246"/>
              <a:gd name="T63" fmla="*/ 2147483647 h 284"/>
              <a:gd name="T64" fmla="*/ 2147483647 w 246"/>
              <a:gd name="T65" fmla="*/ 2147483647 h 284"/>
              <a:gd name="T66" fmla="*/ 2147483647 w 246"/>
              <a:gd name="T67" fmla="*/ 2147483647 h 284"/>
              <a:gd name="T68" fmla="*/ 2147483647 w 246"/>
              <a:gd name="T69" fmla="*/ 2147483647 h 284"/>
              <a:gd name="T70" fmla="*/ 2147483647 w 246"/>
              <a:gd name="T71" fmla="*/ 2147483647 h 284"/>
              <a:gd name="T72" fmla="*/ 2147483647 w 246"/>
              <a:gd name="T73" fmla="*/ 2147483647 h 284"/>
              <a:gd name="T74" fmla="*/ 2147483647 w 246"/>
              <a:gd name="T75" fmla="*/ 2147483647 h 284"/>
              <a:gd name="T76" fmla="*/ 2147483647 w 246"/>
              <a:gd name="T77" fmla="*/ 2147483647 h 284"/>
              <a:gd name="T78" fmla="*/ 2147483647 w 246"/>
              <a:gd name="T79" fmla="*/ 2147483647 h 284"/>
              <a:gd name="T80" fmla="*/ 0 w 246"/>
              <a:gd name="T81" fmla="*/ 2147483647 h 284"/>
              <a:gd name="T82" fmla="*/ 2147483647 w 246"/>
              <a:gd name="T83" fmla="*/ 2147483647 h 284"/>
              <a:gd name="T84" fmla="*/ 2147483647 w 246"/>
              <a:gd name="T85" fmla="*/ 2147483647 h 284"/>
              <a:gd name="T86" fmla="*/ 2147483647 w 246"/>
              <a:gd name="T87" fmla="*/ 2147483647 h 284"/>
              <a:gd name="T88" fmla="*/ 2147483647 w 246"/>
              <a:gd name="T89" fmla="*/ 2147483647 h 284"/>
              <a:gd name="T90" fmla="*/ 2147483647 w 246"/>
              <a:gd name="T91" fmla="*/ 2147483647 h 284"/>
              <a:gd name="T92" fmla="*/ 2147483647 w 246"/>
              <a:gd name="T93" fmla="*/ 2147483647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306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641715" y="3274640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GB">
              <a:latin typeface="Arial" pitchFamily="34" charset="0"/>
              <a:ea typeface="+mn-ea"/>
            </a:endParaRPr>
          </a:p>
        </p:txBody>
      </p:sp>
      <p:sp>
        <p:nvSpPr>
          <p:cNvPr id="2307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725853" y="3898528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8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210040" y="4238253"/>
            <a:ext cx="244475" cy="431800"/>
          </a:xfrm>
          <a:custGeom>
            <a:avLst/>
            <a:gdLst>
              <a:gd name="T0" fmla="*/ 2147483647 w 556"/>
              <a:gd name="T1" fmla="*/ 2147483647 h 819"/>
              <a:gd name="T2" fmla="*/ 2147483647 w 556"/>
              <a:gd name="T3" fmla="*/ 2147483647 h 819"/>
              <a:gd name="T4" fmla="*/ 2147483647 w 556"/>
              <a:gd name="T5" fmla="*/ 2147483647 h 819"/>
              <a:gd name="T6" fmla="*/ 2147483647 w 556"/>
              <a:gd name="T7" fmla="*/ 2147483647 h 819"/>
              <a:gd name="T8" fmla="*/ 2147483647 w 556"/>
              <a:gd name="T9" fmla="*/ 2147483647 h 819"/>
              <a:gd name="T10" fmla="*/ 2147483647 w 556"/>
              <a:gd name="T11" fmla="*/ 2147483647 h 819"/>
              <a:gd name="T12" fmla="*/ 2147483647 w 556"/>
              <a:gd name="T13" fmla="*/ 2147483647 h 819"/>
              <a:gd name="T14" fmla="*/ 2147483647 w 556"/>
              <a:gd name="T15" fmla="*/ 2147483647 h 819"/>
              <a:gd name="T16" fmla="*/ 2147483647 w 556"/>
              <a:gd name="T17" fmla="*/ 2147483647 h 819"/>
              <a:gd name="T18" fmla="*/ 2147483647 w 556"/>
              <a:gd name="T19" fmla="*/ 2147483647 h 819"/>
              <a:gd name="T20" fmla="*/ 2147483647 w 556"/>
              <a:gd name="T21" fmla="*/ 2147483647 h 819"/>
              <a:gd name="T22" fmla="*/ 2147483647 w 556"/>
              <a:gd name="T23" fmla="*/ 2147483647 h 819"/>
              <a:gd name="T24" fmla="*/ 2147483647 w 556"/>
              <a:gd name="T25" fmla="*/ 2147483647 h 819"/>
              <a:gd name="T26" fmla="*/ 2147483647 w 556"/>
              <a:gd name="T27" fmla="*/ 2147483647 h 819"/>
              <a:gd name="T28" fmla="*/ 2147483647 w 556"/>
              <a:gd name="T29" fmla="*/ 2147483647 h 819"/>
              <a:gd name="T30" fmla="*/ 2147483647 w 556"/>
              <a:gd name="T31" fmla="*/ 2147483647 h 819"/>
              <a:gd name="T32" fmla="*/ 2147483647 w 556"/>
              <a:gd name="T33" fmla="*/ 2147483647 h 819"/>
              <a:gd name="T34" fmla="*/ 2147483647 w 556"/>
              <a:gd name="T35" fmla="*/ 2147483647 h 819"/>
              <a:gd name="T36" fmla="*/ 2147483647 w 556"/>
              <a:gd name="T37" fmla="*/ 2147483647 h 819"/>
              <a:gd name="T38" fmla="*/ 2147483647 w 556"/>
              <a:gd name="T39" fmla="*/ 2147483647 h 819"/>
              <a:gd name="T40" fmla="*/ 2147483647 w 556"/>
              <a:gd name="T41" fmla="*/ 2147483647 h 819"/>
              <a:gd name="T42" fmla="*/ 2147483647 w 556"/>
              <a:gd name="T43" fmla="*/ 2147483647 h 819"/>
              <a:gd name="T44" fmla="*/ 2147483647 w 556"/>
              <a:gd name="T45" fmla="*/ 2147483647 h 819"/>
              <a:gd name="T46" fmla="*/ 2147483647 w 556"/>
              <a:gd name="T47" fmla="*/ 2147483647 h 819"/>
              <a:gd name="T48" fmla="*/ 2147483647 w 556"/>
              <a:gd name="T49" fmla="*/ 2147483647 h 819"/>
              <a:gd name="T50" fmla="*/ 2147483647 w 556"/>
              <a:gd name="T51" fmla="*/ 2147483647 h 819"/>
              <a:gd name="T52" fmla="*/ 2147483647 w 556"/>
              <a:gd name="T53" fmla="*/ 2147483647 h 819"/>
              <a:gd name="T54" fmla="*/ 2147483647 w 556"/>
              <a:gd name="T55" fmla="*/ 2147483647 h 819"/>
              <a:gd name="T56" fmla="*/ 2147483647 w 556"/>
              <a:gd name="T57" fmla="*/ 2147483647 h 819"/>
              <a:gd name="T58" fmla="*/ 2147483647 w 556"/>
              <a:gd name="T59" fmla="*/ 2147483647 h 819"/>
              <a:gd name="T60" fmla="*/ 2147483647 w 556"/>
              <a:gd name="T61" fmla="*/ 2147483647 h 819"/>
              <a:gd name="T62" fmla="*/ 2147483647 w 556"/>
              <a:gd name="T63" fmla="*/ 2147483647 h 819"/>
              <a:gd name="T64" fmla="*/ 2147483647 w 556"/>
              <a:gd name="T65" fmla="*/ 2147483647 h 819"/>
              <a:gd name="T66" fmla="*/ 2147483647 w 556"/>
              <a:gd name="T67" fmla="*/ 2147483647 h 819"/>
              <a:gd name="T68" fmla="*/ 2147483647 w 556"/>
              <a:gd name="T69" fmla="*/ 2147483647 h 819"/>
              <a:gd name="T70" fmla="*/ 2147483647 w 556"/>
              <a:gd name="T71" fmla="*/ 2147483647 h 819"/>
              <a:gd name="T72" fmla="*/ 2147483647 w 556"/>
              <a:gd name="T73" fmla="*/ 2147483647 h 819"/>
              <a:gd name="T74" fmla="*/ 2147483647 w 556"/>
              <a:gd name="T75" fmla="*/ 2147483647 h 819"/>
              <a:gd name="T76" fmla="*/ 2147483647 w 556"/>
              <a:gd name="T77" fmla="*/ 2147483647 h 819"/>
              <a:gd name="T78" fmla="*/ 2147483647 w 556"/>
              <a:gd name="T79" fmla="*/ 2147483647 h 819"/>
              <a:gd name="T80" fmla="*/ 2147483647 w 556"/>
              <a:gd name="T81" fmla="*/ 2147483647 h 819"/>
              <a:gd name="T82" fmla="*/ 2147483647 w 556"/>
              <a:gd name="T83" fmla="*/ 2147483647 h 819"/>
              <a:gd name="T84" fmla="*/ 2147483647 w 556"/>
              <a:gd name="T85" fmla="*/ 2147483647 h 819"/>
              <a:gd name="T86" fmla="*/ 2147483647 w 556"/>
              <a:gd name="T87" fmla="*/ 2147483647 h 819"/>
              <a:gd name="T88" fmla="*/ 2147483647 w 556"/>
              <a:gd name="T89" fmla="*/ 2147483647 h 819"/>
              <a:gd name="T90" fmla="*/ 2147483647 w 556"/>
              <a:gd name="T91" fmla="*/ 2147483647 h 819"/>
              <a:gd name="T92" fmla="*/ 2147483647 w 556"/>
              <a:gd name="T93" fmla="*/ 2147483647 h 819"/>
              <a:gd name="T94" fmla="*/ 2147483647 w 556"/>
              <a:gd name="T95" fmla="*/ 2147483647 h 819"/>
              <a:gd name="T96" fmla="*/ 2147483647 w 556"/>
              <a:gd name="T97" fmla="*/ 2147483647 h 819"/>
              <a:gd name="T98" fmla="*/ 2147483647 w 556"/>
              <a:gd name="T99" fmla="*/ 2147483647 h 819"/>
              <a:gd name="T100" fmla="*/ 2147483647 w 556"/>
              <a:gd name="T101" fmla="*/ 2147483647 h 819"/>
              <a:gd name="T102" fmla="*/ 2147483647 w 556"/>
              <a:gd name="T103" fmla="*/ 2147483647 h 819"/>
              <a:gd name="T104" fmla="*/ 2147483647 w 556"/>
              <a:gd name="T105" fmla="*/ 2147483647 h 819"/>
              <a:gd name="T106" fmla="*/ 2147483647 w 556"/>
              <a:gd name="T107" fmla="*/ 2147483647 h 819"/>
              <a:gd name="T108" fmla="*/ 2147483647 w 556"/>
              <a:gd name="T109" fmla="*/ 2147483647 h 819"/>
              <a:gd name="T110" fmla="*/ 2147483647 w 556"/>
              <a:gd name="T111" fmla="*/ 2147483647 h 819"/>
              <a:gd name="T112" fmla="*/ 2147483647 w 556"/>
              <a:gd name="T113" fmla="*/ 2147483647 h 819"/>
              <a:gd name="T114" fmla="*/ 2147483647 w 556"/>
              <a:gd name="T115" fmla="*/ 2147483647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9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217978" y="4225553"/>
            <a:ext cx="38100" cy="58737"/>
          </a:xfrm>
          <a:custGeom>
            <a:avLst/>
            <a:gdLst>
              <a:gd name="T0" fmla="*/ 2147483647 w 86"/>
              <a:gd name="T1" fmla="*/ 0 h 97"/>
              <a:gd name="T2" fmla="*/ 2147483647 w 86"/>
              <a:gd name="T3" fmla="*/ 2147483647 h 97"/>
              <a:gd name="T4" fmla="*/ 2147483647 w 86"/>
              <a:gd name="T5" fmla="*/ 2147483647 h 97"/>
              <a:gd name="T6" fmla="*/ 2147483647 w 86"/>
              <a:gd name="T7" fmla="*/ 2147483647 h 97"/>
              <a:gd name="T8" fmla="*/ 2147483647 w 86"/>
              <a:gd name="T9" fmla="*/ 2147483647 h 97"/>
              <a:gd name="T10" fmla="*/ 2147483647 w 86"/>
              <a:gd name="T11" fmla="*/ 2147483647 h 97"/>
              <a:gd name="T12" fmla="*/ 2147483647 w 86"/>
              <a:gd name="T13" fmla="*/ 2147483647 h 97"/>
              <a:gd name="T14" fmla="*/ 2147483647 w 86"/>
              <a:gd name="T15" fmla="*/ 2147483647 h 97"/>
              <a:gd name="T16" fmla="*/ 2147483647 w 86"/>
              <a:gd name="T17" fmla="*/ 2147483647 h 97"/>
              <a:gd name="T18" fmla="*/ 2147483647 w 86"/>
              <a:gd name="T19" fmla="*/ 2147483647 h 97"/>
              <a:gd name="T20" fmla="*/ 2147483647 w 86"/>
              <a:gd name="T21" fmla="*/ 2147483647 h 97"/>
              <a:gd name="T22" fmla="*/ 2147483647 w 86"/>
              <a:gd name="T23" fmla="*/ 2147483647 h 97"/>
              <a:gd name="T24" fmla="*/ 2147483647 w 86"/>
              <a:gd name="T25" fmla="*/ 2147483647 h 97"/>
              <a:gd name="T26" fmla="*/ 2147483647 w 86"/>
              <a:gd name="T27" fmla="*/ 2147483647 h 97"/>
              <a:gd name="T28" fmla="*/ 2147483647 w 86"/>
              <a:gd name="T29" fmla="*/ 2147483647 h 97"/>
              <a:gd name="T30" fmla="*/ 0 w 86"/>
              <a:gd name="T31" fmla="*/ 2147483647 h 97"/>
              <a:gd name="T32" fmla="*/ 0 w 86"/>
              <a:gd name="T33" fmla="*/ 2147483647 h 97"/>
              <a:gd name="T34" fmla="*/ 0 w 86"/>
              <a:gd name="T35" fmla="*/ 2147483647 h 97"/>
              <a:gd name="T36" fmla="*/ 2147483647 w 86"/>
              <a:gd name="T37" fmla="*/ 2147483647 h 97"/>
              <a:gd name="T38" fmla="*/ 2147483647 w 86"/>
              <a:gd name="T39" fmla="*/ 2147483647 h 97"/>
              <a:gd name="T40" fmla="*/ 2147483647 w 86"/>
              <a:gd name="T41" fmla="*/ 2147483647 h 97"/>
              <a:gd name="T42" fmla="*/ 2147483647 w 86"/>
              <a:gd name="T43" fmla="*/ 2147483647 h 97"/>
              <a:gd name="T44" fmla="*/ 2147483647 w 86"/>
              <a:gd name="T45" fmla="*/ 2147483647 h 97"/>
              <a:gd name="T46" fmla="*/ 2147483647 w 86"/>
              <a:gd name="T47" fmla="*/ 2147483647 h 97"/>
              <a:gd name="T48" fmla="*/ 2147483647 w 86"/>
              <a:gd name="T49" fmla="*/ 2147483647 h 97"/>
              <a:gd name="T50" fmla="*/ 2147483647 w 86"/>
              <a:gd name="T51" fmla="*/ 2147483647 h 97"/>
              <a:gd name="T52" fmla="*/ 2147483647 w 86"/>
              <a:gd name="T53" fmla="*/ 2147483647 h 97"/>
              <a:gd name="T54" fmla="*/ 2147483647 w 86"/>
              <a:gd name="T55" fmla="*/ 2147483647 h 97"/>
              <a:gd name="T56" fmla="*/ 2147483647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0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5016365" y="4136653"/>
            <a:ext cx="363538" cy="376237"/>
          </a:xfrm>
          <a:custGeom>
            <a:avLst/>
            <a:gdLst>
              <a:gd name="T0" fmla="*/ 2147483647 w 845"/>
              <a:gd name="T1" fmla="*/ 2147483647 h 720"/>
              <a:gd name="T2" fmla="*/ 2147483647 w 845"/>
              <a:gd name="T3" fmla="*/ 2147483647 h 720"/>
              <a:gd name="T4" fmla="*/ 2147483647 w 845"/>
              <a:gd name="T5" fmla="*/ 0 h 720"/>
              <a:gd name="T6" fmla="*/ 2147483647 w 845"/>
              <a:gd name="T7" fmla="*/ 2147483647 h 720"/>
              <a:gd name="T8" fmla="*/ 2147483647 w 845"/>
              <a:gd name="T9" fmla="*/ 2147483647 h 720"/>
              <a:gd name="T10" fmla="*/ 2147483647 w 845"/>
              <a:gd name="T11" fmla="*/ 2147483647 h 720"/>
              <a:gd name="T12" fmla="*/ 2147483647 w 845"/>
              <a:gd name="T13" fmla="*/ 2147483647 h 720"/>
              <a:gd name="T14" fmla="*/ 2147483647 w 845"/>
              <a:gd name="T15" fmla="*/ 2147483647 h 720"/>
              <a:gd name="T16" fmla="*/ 2147483647 w 845"/>
              <a:gd name="T17" fmla="*/ 2147483647 h 720"/>
              <a:gd name="T18" fmla="*/ 2147483647 w 845"/>
              <a:gd name="T19" fmla="*/ 2147483647 h 720"/>
              <a:gd name="T20" fmla="*/ 2147483647 w 845"/>
              <a:gd name="T21" fmla="*/ 2147483647 h 720"/>
              <a:gd name="T22" fmla="*/ 2147483647 w 845"/>
              <a:gd name="T23" fmla="*/ 2147483647 h 720"/>
              <a:gd name="T24" fmla="*/ 2147483647 w 845"/>
              <a:gd name="T25" fmla="*/ 2147483647 h 720"/>
              <a:gd name="T26" fmla="*/ 2147483647 w 845"/>
              <a:gd name="T27" fmla="*/ 2147483647 h 720"/>
              <a:gd name="T28" fmla="*/ 2147483647 w 845"/>
              <a:gd name="T29" fmla="*/ 2147483647 h 720"/>
              <a:gd name="T30" fmla="*/ 2147483647 w 845"/>
              <a:gd name="T31" fmla="*/ 2147483647 h 720"/>
              <a:gd name="T32" fmla="*/ 2147483647 w 845"/>
              <a:gd name="T33" fmla="*/ 2147483647 h 720"/>
              <a:gd name="T34" fmla="*/ 2147483647 w 845"/>
              <a:gd name="T35" fmla="*/ 2147483647 h 720"/>
              <a:gd name="T36" fmla="*/ 2147483647 w 845"/>
              <a:gd name="T37" fmla="*/ 2147483647 h 720"/>
              <a:gd name="T38" fmla="*/ 2147483647 w 845"/>
              <a:gd name="T39" fmla="*/ 2147483647 h 720"/>
              <a:gd name="T40" fmla="*/ 2147483647 w 845"/>
              <a:gd name="T41" fmla="*/ 2147483647 h 720"/>
              <a:gd name="T42" fmla="*/ 2147483647 w 845"/>
              <a:gd name="T43" fmla="*/ 2147483647 h 720"/>
              <a:gd name="T44" fmla="*/ 2147483647 w 845"/>
              <a:gd name="T45" fmla="*/ 2147483647 h 720"/>
              <a:gd name="T46" fmla="*/ 2147483647 w 845"/>
              <a:gd name="T47" fmla="*/ 2147483647 h 720"/>
              <a:gd name="T48" fmla="*/ 2147483647 w 845"/>
              <a:gd name="T49" fmla="*/ 2147483647 h 720"/>
              <a:gd name="T50" fmla="*/ 2147483647 w 845"/>
              <a:gd name="T51" fmla="*/ 2147483647 h 720"/>
              <a:gd name="T52" fmla="*/ 2147483647 w 845"/>
              <a:gd name="T53" fmla="*/ 2147483647 h 720"/>
              <a:gd name="T54" fmla="*/ 2147483647 w 845"/>
              <a:gd name="T55" fmla="*/ 2147483647 h 720"/>
              <a:gd name="T56" fmla="*/ 2147483647 w 845"/>
              <a:gd name="T57" fmla="*/ 2147483647 h 720"/>
              <a:gd name="T58" fmla="*/ 2147483647 w 845"/>
              <a:gd name="T59" fmla="*/ 2147483647 h 720"/>
              <a:gd name="T60" fmla="*/ 2147483647 w 845"/>
              <a:gd name="T61" fmla="*/ 2147483647 h 720"/>
              <a:gd name="T62" fmla="*/ 2147483647 w 845"/>
              <a:gd name="T63" fmla="*/ 2147483647 h 720"/>
              <a:gd name="T64" fmla="*/ 2147483647 w 845"/>
              <a:gd name="T65" fmla="*/ 2147483647 h 720"/>
              <a:gd name="T66" fmla="*/ 2147483647 w 845"/>
              <a:gd name="T67" fmla="*/ 2147483647 h 720"/>
              <a:gd name="T68" fmla="*/ 2147483647 w 845"/>
              <a:gd name="T69" fmla="*/ 2147483647 h 720"/>
              <a:gd name="T70" fmla="*/ 2147483647 w 845"/>
              <a:gd name="T71" fmla="*/ 2147483647 h 720"/>
              <a:gd name="T72" fmla="*/ 2147483647 w 845"/>
              <a:gd name="T73" fmla="*/ 2147483647 h 720"/>
              <a:gd name="T74" fmla="*/ 2147483647 w 845"/>
              <a:gd name="T75" fmla="*/ 2147483647 h 720"/>
              <a:gd name="T76" fmla="*/ 2147483647 w 845"/>
              <a:gd name="T77" fmla="*/ 2147483647 h 720"/>
              <a:gd name="T78" fmla="*/ 2147483647 w 845"/>
              <a:gd name="T79" fmla="*/ 2147483647 h 720"/>
              <a:gd name="T80" fmla="*/ 2147483647 w 845"/>
              <a:gd name="T81" fmla="*/ 2147483647 h 720"/>
              <a:gd name="T82" fmla="*/ 2147483647 w 845"/>
              <a:gd name="T83" fmla="*/ 2147483647 h 720"/>
              <a:gd name="T84" fmla="*/ 2147483647 w 845"/>
              <a:gd name="T85" fmla="*/ 2147483647 h 720"/>
              <a:gd name="T86" fmla="*/ 2147483647 w 845"/>
              <a:gd name="T87" fmla="*/ 2147483647 h 720"/>
              <a:gd name="T88" fmla="*/ 2147483647 w 845"/>
              <a:gd name="T89" fmla="*/ 2147483647 h 720"/>
              <a:gd name="T90" fmla="*/ 2147483647 w 845"/>
              <a:gd name="T91" fmla="*/ 2147483647 h 720"/>
              <a:gd name="T92" fmla="*/ 2147483647 w 845"/>
              <a:gd name="T93" fmla="*/ 2147483647 h 720"/>
              <a:gd name="T94" fmla="*/ 2147483647 w 845"/>
              <a:gd name="T95" fmla="*/ 2147483647 h 720"/>
              <a:gd name="T96" fmla="*/ 2147483647 w 845"/>
              <a:gd name="T97" fmla="*/ 2147483647 h 720"/>
              <a:gd name="T98" fmla="*/ 2147483647 w 845"/>
              <a:gd name="T99" fmla="*/ 2147483647 h 720"/>
              <a:gd name="T100" fmla="*/ 2147483647 w 845"/>
              <a:gd name="T101" fmla="*/ 2147483647 h 720"/>
              <a:gd name="T102" fmla="*/ 2147483647 w 845"/>
              <a:gd name="T103" fmla="*/ 2147483647 h 720"/>
              <a:gd name="T104" fmla="*/ 2147483647 w 845"/>
              <a:gd name="T105" fmla="*/ 2147483647 h 720"/>
              <a:gd name="T106" fmla="*/ 2147483647 w 845"/>
              <a:gd name="T107" fmla="*/ 2147483647 h 720"/>
              <a:gd name="T108" fmla="*/ 2147483647 w 845"/>
              <a:gd name="T109" fmla="*/ 2147483647 h 720"/>
              <a:gd name="T110" fmla="*/ 2147483647 w 845"/>
              <a:gd name="T111" fmla="*/ 2147483647 h 720"/>
              <a:gd name="T112" fmla="*/ 2147483647 w 845"/>
              <a:gd name="T113" fmla="*/ 2147483647 h 720"/>
              <a:gd name="T114" fmla="*/ 2147483647 w 845"/>
              <a:gd name="T115" fmla="*/ 2147483647 h 720"/>
              <a:gd name="T116" fmla="*/ 2147483647 w 845"/>
              <a:gd name="T117" fmla="*/ 2147483647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1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876290" y="465576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12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876290" y="4663703"/>
            <a:ext cx="12700" cy="58737"/>
          </a:xfrm>
          <a:custGeom>
            <a:avLst/>
            <a:gdLst>
              <a:gd name="T0" fmla="*/ 0 w 33"/>
              <a:gd name="T1" fmla="*/ 0 h 6"/>
              <a:gd name="T2" fmla="*/ 2147483647 w 33"/>
              <a:gd name="T3" fmla="*/ 2147483647 h 6"/>
              <a:gd name="T4" fmla="*/ 2147483647 w 33"/>
              <a:gd name="T5" fmla="*/ 2147483647 h 6"/>
              <a:gd name="T6" fmla="*/ 2147483647 w 33"/>
              <a:gd name="T7" fmla="*/ 2147483647 h 6"/>
              <a:gd name="T8" fmla="*/ 2147483647 w 3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3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884228" y="4651003"/>
            <a:ext cx="4762" cy="57150"/>
          </a:xfrm>
          <a:custGeom>
            <a:avLst/>
            <a:gdLst>
              <a:gd name="T0" fmla="*/ 2147483647 w 13"/>
              <a:gd name="T1" fmla="*/ 2147483647 h 30"/>
              <a:gd name="T2" fmla="*/ 214748364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14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876290" y="4585915"/>
            <a:ext cx="417513" cy="201613"/>
            <a:chOff x="912" y="2626"/>
            <a:chExt cx="311" cy="127"/>
          </a:xfrm>
          <a:solidFill>
            <a:schemeClr val="bg1">
              <a:lumMod val="75000"/>
            </a:schemeClr>
          </a:solidFill>
        </p:grpSpPr>
        <p:sp>
          <p:nvSpPr>
            <p:cNvPr id="16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 w 352"/>
                <a:gd name="T1" fmla="*/ 1 h 387"/>
                <a:gd name="T2" fmla="*/ 3 w 352"/>
                <a:gd name="T3" fmla="*/ 1 h 387"/>
                <a:gd name="T4" fmla="*/ 3 w 352"/>
                <a:gd name="T5" fmla="*/ 1 h 387"/>
                <a:gd name="T6" fmla="*/ 3 w 352"/>
                <a:gd name="T7" fmla="*/ 1 h 387"/>
                <a:gd name="T8" fmla="*/ 2 w 352"/>
                <a:gd name="T9" fmla="*/ 1 h 387"/>
                <a:gd name="T10" fmla="*/ 2 w 352"/>
                <a:gd name="T11" fmla="*/ 0 h 387"/>
                <a:gd name="T12" fmla="*/ 1 w 352"/>
                <a:gd name="T13" fmla="*/ 0 h 387"/>
                <a:gd name="T14" fmla="*/ 1 w 352"/>
                <a:gd name="T15" fmla="*/ 0 h 387"/>
                <a:gd name="T16" fmla="*/ 1 w 352"/>
                <a:gd name="T17" fmla="*/ 0 h 387"/>
                <a:gd name="T18" fmla="*/ 1 w 352"/>
                <a:gd name="T19" fmla="*/ 0 h 387"/>
                <a:gd name="T20" fmla="*/ 1 w 352"/>
                <a:gd name="T21" fmla="*/ 1 h 387"/>
                <a:gd name="T22" fmla="*/ 1 w 352"/>
                <a:gd name="T23" fmla="*/ 1 h 387"/>
                <a:gd name="T24" fmla="*/ 0 w 352"/>
                <a:gd name="T25" fmla="*/ 2 h 387"/>
                <a:gd name="T26" fmla="*/ 0 w 352"/>
                <a:gd name="T27" fmla="*/ 2 h 387"/>
                <a:gd name="T28" fmla="*/ 0 w 352"/>
                <a:gd name="T29" fmla="*/ 2 h 387"/>
                <a:gd name="T30" fmla="*/ 0 w 352"/>
                <a:gd name="T31" fmla="*/ 2 h 387"/>
                <a:gd name="T32" fmla="*/ 0 w 352"/>
                <a:gd name="T33" fmla="*/ 3 h 387"/>
                <a:gd name="T34" fmla="*/ 0 w 352"/>
                <a:gd name="T35" fmla="*/ 3 h 387"/>
                <a:gd name="T36" fmla="*/ 0 w 352"/>
                <a:gd name="T37" fmla="*/ 3 h 387"/>
                <a:gd name="T38" fmla="*/ 0 w 352"/>
                <a:gd name="T39" fmla="*/ 3 h 387"/>
                <a:gd name="T40" fmla="*/ 0 w 352"/>
                <a:gd name="T41" fmla="*/ 3 h 387"/>
                <a:gd name="T42" fmla="*/ 1 w 352"/>
                <a:gd name="T43" fmla="*/ 3 h 387"/>
                <a:gd name="T44" fmla="*/ 1 w 352"/>
                <a:gd name="T45" fmla="*/ 3 h 387"/>
                <a:gd name="T46" fmla="*/ 1 w 352"/>
                <a:gd name="T47" fmla="*/ 3 h 387"/>
                <a:gd name="T48" fmla="*/ 1 w 352"/>
                <a:gd name="T49" fmla="*/ 3 h 387"/>
                <a:gd name="T50" fmla="*/ 1 w 352"/>
                <a:gd name="T51" fmla="*/ 3 h 387"/>
                <a:gd name="T52" fmla="*/ 1 w 352"/>
                <a:gd name="T53" fmla="*/ 3 h 387"/>
                <a:gd name="T54" fmla="*/ 1 w 352"/>
                <a:gd name="T55" fmla="*/ 3 h 387"/>
                <a:gd name="T56" fmla="*/ 1 w 352"/>
                <a:gd name="T57" fmla="*/ 3 h 387"/>
                <a:gd name="T58" fmla="*/ 1 w 352"/>
                <a:gd name="T59" fmla="*/ 4 h 387"/>
                <a:gd name="T60" fmla="*/ 1 w 352"/>
                <a:gd name="T61" fmla="*/ 4 h 387"/>
                <a:gd name="T62" fmla="*/ 1 w 352"/>
                <a:gd name="T63" fmla="*/ 4 h 387"/>
                <a:gd name="T64" fmla="*/ 1 w 352"/>
                <a:gd name="T65" fmla="*/ 4 h 387"/>
                <a:gd name="T66" fmla="*/ 2 w 352"/>
                <a:gd name="T67" fmla="*/ 4 h 387"/>
                <a:gd name="T68" fmla="*/ 2 w 352"/>
                <a:gd name="T69" fmla="*/ 5 h 387"/>
                <a:gd name="T70" fmla="*/ 2 w 352"/>
                <a:gd name="T71" fmla="*/ 4 h 387"/>
                <a:gd name="T72" fmla="*/ 2 w 352"/>
                <a:gd name="T73" fmla="*/ 4 h 387"/>
                <a:gd name="T74" fmla="*/ 2 w 352"/>
                <a:gd name="T75" fmla="*/ 4 h 387"/>
                <a:gd name="T76" fmla="*/ 2 w 352"/>
                <a:gd name="T77" fmla="*/ 4 h 387"/>
                <a:gd name="T78" fmla="*/ 2 w 352"/>
                <a:gd name="T79" fmla="*/ 4 h 387"/>
                <a:gd name="T80" fmla="*/ 2 w 352"/>
                <a:gd name="T81" fmla="*/ 4 h 387"/>
                <a:gd name="T82" fmla="*/ 2 w 352"/>
                <a:gd name="T83" fmla="*/ 3 h 387"/>
                <a:gd name="T84" fmla="*/ 3 w 352"/>
                <a:gd name="T85" fmla="*/ 3 h 387"/>
                <a:gd name="T86" fmla="*/ 3 w 352"/>
                <a:gd name="T87" fmla="*/ 3 h 387"/>
                <a:gd name="T88" fmla="*/ 3 w 352"/>
                <a:gd name="T89" fmla="*/ 3 h 387"/>
                <a:gd name="T90" fmla="*/ 4 w 352"/>
                <a:gd name="T91" fmla="*/ 3 h 387"/>
                <a:gd name="T92" fmla="*/ 4 w 352"/>
                <a:gd name="T93" fmla="*/ 2 h 387"/>
                <a:gd name="T94" fmla="*/ 4 w 352"/>
                <a:gd name="T95" fmla="*/ 2 h 387"/>
                <a:gd name="T96" fmla="*/ 4 w 352"/>
                <a:gd name="T97" fmla="*/ 2 h 387"/>
                <a:gd name="T98" fmla="*/ 4 w 352"/>
                <a:gd name="T99" fmla="*/ 2 h 387"/>
                <a:gd name="T100" fmla="*/ 4 w 352"/>
                <a:gd name="T101" fmla="*/ 1 h 387"/>
                <a:gd name="T102" fmla="*/ 4 w 352"/>
                <a:gd name="T103" fmla="*/ 1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0 w 52"/>
                <a:gd name="T1" fmla="*/ 0 h 78"/>
                <a:gd name="T2" fmla="*/ 0 w 52"/>
                <a:gd name="T3" fmla="*/ 0 h 78"/>
                <a:gd name="T4" fmla="*/ 0 w 52"/>
                <a:gd name="T5" fmla="*/ 0 h 78"/>
                <a:gd name="T6" fmla="*/ 0 w 52"/>
                <a:gd name="T7" fmla="*/ 0 h 78"/>
                <a:gd name="T8" fmla="*/ 0 w 52"/>
                <a:gd name="T9" fmla="*/ 0 h 78"/>
                <a:gd name="T10" fmla="*/ 0 w 52"/>
                <a:gd name="T11" fmla="*/ 0 h 78"/>
                <a:gd name="T12" fmla="*/ 1 w 52"/>
                <a:gd name="T13" fmla="*/ 0 h 78"/>
                <a:gd name="T14" fmla="*/ 1 w 52"/>
                <a:gd name="T15" fmla="*/ 0 h 78"/>
                <a:gd name="T16" fmla="*/ 1 w 52"/>
                <a:gd name="T17" fmla="*/ 0 h 78"/>
                <a:gd name="T18" fmla="*/ 1 w 52"/>
                <a:gd name="T19" fmla="*/ 0 h 78"/>
                <a:gd name="T20" fmla="*/ 1 w 52"/>
                <a:gd name="T21" fmla="*/ 1 h 78"/>
                <a:gd name="T22" fmla="*/ 1 w 52"/>
                <a:gd name="T23" fmla="*/ 1 h 78"/>
                <a:gd name="T24" fmla="*/ 1 w 52"/>
                <a:gd name="T25" fmla="*/ 1 h 78"/>
                <a:gd name="T26" fmla="*/ 1 w 52"/>
                <a:gd name="T27" fmla="*/ 1 h 78"/>
                <a:gd name="T28" fmla="*/ 1 w 52"/>
                <a:gd name="T29" fmla="*/ 1 h 78"/>
                <a:gd name="T30" fmla="*/ 0 w 52"/>
                <a:gd name="T31" fmla="*/ 1 h 78"/>
                <a:gd name="T32" fmla="*/ 0 w 52"/>
                <a:gd name="T33" fmla="*/ 1 h 78"/>
                <a:gd name="T34" fmla="*/ 0 w 52"/>
                <a:gd name="T35" fmla="*/ 1 h 78"/>
                <a:gd name="T36" fmla="*/ 0 w 52"/>
                <a:gd name="T37" fmla="*/ 1 h 78"/>
                <a:gd name="T38" fmla="*/ 0 w 52"/>
                <a:gd name="T39" fmla="*/ 1 h 78"/>
                <a:gd name="T40" fmla="*/ 0 w 52"/>
                <a:gd name="T41" fmla="*/ 1 h 78"/>
                <a:gd name="T42" fmla="*/ 0 w 52"/>
                <a:gd name="T43" fmla="*/ 1 h 78"/>
                <a:gd name="T44" fmla="*/ 0 w 52"/>
                <a:gd name="T45" fmla="*/ 1 h 78"/>
                <a:gd name="T46" fmla="*/ 0 w 52"/>
                <a:gd name="T47" fmla="*/ 1 h 78"/>
                <a:gd name="T48" fmla="*/ 0 w 52"/>
                <a:gd name="T49" fmla="*/ 1 h 78"/>
                <a:gd name="T50" fmla="*/ 0 w 52"/>
                <a:gd name="T51" fmla="*/ 1 h 78"/>
                <a:gd name="T52" fmla="*/ 0 w 52"/>
                <a:gd name="T53" fmla="*/ 1 h 78"/>
                <a:gd name="T54" fmla="*/ 0 w 52"/>
                <a:gd name="T55" fmla="*/ 1 h 78"/>
                <a:gd name="T56" fmla="*/ 0 w 52"/>
                <a:gd name="T57" fmla="*/ 1 h 78"/>
                <a:gd name="T58" fmla="*/ 0 w 52"/>
                <a:gd name="T59" fmla="*/ 1 h 78"/>
                <a:gd name="T60" fmla="*/ 0 w 52"/>
                <a:gd name="T61" fmla="*/ 1 h 78"/>
                <a:gd name="T62" fmla="*/ 0 w 52"/>
                <a:gd name="T63" fmla="*/ 0 h 78"/>
                <a:gd name="T64" fmla="*/ 0 w 52"/>
                <a:gd name="T65" fmla="*/ 0 h 78"/>
                <a:gd name="T66" fmla="*/ 0 w 52"/>
                <a:gd name="T67" fmla="*/ 0 h 78"/>
                <a:gd name="T68" fmla="*/ 0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0 w 33"/>
                <a:gd name="T1" fmla="*/ 0 h 30"/>
                <a:gd name="T2" fmla="*/ 0 w 33"/>
                <a:gd name="T3" fmla="*/ 0 h 30"/>
                <a:gd name="T4" fmla="*/ 0 w 33"/>
                <a:gd name="T5" fmla="*/ 0 h 30"/>
                <a:gd name="T6" fmla="*/ 0 w 33"/>
                <a:gd name="T7" fmla="*/ 0 h 30"/>
                <a:gd name="T8" fmla="*/ 0 w 33"/>
                <a:gd name="T9" fmla="*/ 0 h 30"/>
                <a:gd name="T10" fmla="*/ 0 w 33"/>
                <a:gd name="T11" fmla="*/ 0 h 30"/>
                <a:gd name="T12" fmla="*/ 0 w 33"/>
                <a:gd name="T13" fmla="*/ 0 h 30"/>
                <a:gd name="T14" fmla="*/ 0 w 33"/>
                <a:gd name="T15" fmla="*/ 0 h 30"/>
                <a:gd name="T16" fmla="*/ 0 w 33"/>
                <a:gd name="T17" fmla="*/ 0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15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524365" y="5303465"/>
            <a:ext cx="19050" cy="58738"/>
          </a:xfrm>
          <a:custGeom>
            <a:avLst/>
            <a:gdLst>
              <a:gd name="T0" fmla="*/ 2147483647 w 47"/>
              <a:gd name="T1" fmla="*/ 0 h 28"/>
              <a:gd name="T2" fmla="*/ 2147483647 w 47"/>
              <a:gd name="T3" fmla="*/ 0 h 28"/>
              <a:gd name="T4" fmla="*/ 2147483647 w 47"/>
              <a:gd name="T5" fmla="*/ 2147483647 h 28"/>
              <a:gd name="T6" fmla="*/ 2147483647 w 47"/>
              <a:gd name="T7" fmla="*/ 2147483647 h 28"/>
              <a:gd name="T8" fmla="*/ 2147483647 w 47"/>
              <a:gd name="T9" fmla="*/ 2147483647 h 28"/>
              <a:gd name="T10" fmla="*/ 2147483647 w 47"/>
              <a:gd name="T11" fmla="*/ 2147483647 h 28"/>
              <a:gd name="T12" fmla="*/ 2147483647 w 47"/>
              <a:gd name="T13" fmla="*/ 2147483647 h 28"/>
              <a:gd name="T14" fmla="*/ 2147483647 w 47"/>
              <a:gd name="T15" fmla="*/ 2147483647 h 28"/>
              <a:gd name="T16" fmla="*/ 2147483647 w 47"/>
              <a:gd name="T17" fmla="*/ 2147483647 h 28"/>
              <a:gd name="T18" fmla="*/ 2147483647 w 47"/>
              <a:gd name="T19" fmla="*/ 2147483647 h 28"/>
              <a:gd name="T20" fmla="*/ 2147483647 w 47"/>
              <a:gd name="T21" fmla="*/ 2147483647 h 28"/>
              <a:gd name="T22" fmla="*/ 2147483647 w 47"/>
              <a:gd name="T23" fmla="*/ 2147483647 h 28"/>
              <a:gd name="T24" fmla="*/ 2147483647 w 47"/>
              <a:gd name="T25" fmla="*/ 2147483647 h 28"/>
              <a:gd name="T26" fmla="*/ 2147483647 w 47"/>
              <a:gd name="T27" fmla="*/ 2147483647 h 28"/>
              <a:gd name="T28" fmla="*/ 0 w 47"/>
              <a:gd name="T29" fmla="*/ 2147483647 h 28"/>
              <a:gd name="T30" fmla="*/ 2147483647 w 47"/>
              <a:gd name="T31" fmla="*/ 2147483647 h 28"/>
              <a:gd name="T32" fmla="*/ 2147483647 w 47"/>
              <a:gd name="T33" fmla="*/ 2147483647 h 28"/>
              <a:gd name="T34" fmla="*/ 2147483647 w 47"/>
              <a:gd name="T35" fmla="*/ 2147483647 h 28"/>
              <a:gd name="T36" fmla="*/ 2147483647 w 47"/>
              <a:gd name="T37" fmla="*/ 2147483647 h 28"/>
              <a:gd name="T38" fmla="*/ 2147483647 w 47"/>
              <a:gd name="T39" fmla="*/ 2147483647 h 28"/>
              <a:gd name="T40" fmla="*/ 2147483647 w 47"/>
              <a:gd name="T41" fmla="*/ 2147483647 h 28"/>
              <a:gd name="T42" fmla="*/ 2147483647 w 47"/>
              <a:gd name="T43" fmla="*/ 2147483647 h 28"/>
              <a:gd name="T44" fmla="*/ 214748364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6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495790" y="5330453"/>
            <a:ext cx="23813" cy="57150"/>
          </a:xfrm>
          <a:custGeom>
            <a:avLst/>
            <a:gdLst>
              <a:gd name="T0" fmla="*/ 2147483647 w 53"/>
              <a:gd name="T1" fmla="*/ 0 h 33"/>
              <a:gd name="T2" fmla="*/ 2147483647 w 53"/>
              <a:gd name="T3" fmla="*/ 2147483647 h 33"/>
              <a:gd name="T4" fmla="*/ 2147483647 w 53"/>
              <a:gd name="T5" fmla="*/ 2147483647 h 33"/>
              <a:gd name="T6" fmla="*/ 2147483647 w 53"/>
              <a:gd name="T7" fmla="*/ 2147483647 h 33"/>
              <a:gd name="T8" fmla="*/ 2147483647 w 53"/>
              <a:gd name="T9" fmla="*/ 2147483647 h 33"/>
              <a:gd name="T10" fmla="*/ 2147483647 w 53"/>
              <a:gd name="T11" fmla="*/ 2147483647 h 33"/>
              <a:gd name="T12" fmla="*/ 2147483647 w 53"/>
              <a:gd name="T13" fmla="*/ 2147483647 h 33"/>
              <a:gd name="T14" fmla="*/ 2147483647 w 53"/>
              <a:gd name="T15" fmla="*/ 2147483647 h 33"/>
              <a:gd name="T16" fmla="*/ 2147483647 w 53"/>
              <a:gd name="T17" fmla="*/ 2147483647 h 33"/>
              <a:gd name="T18" fmla="*/ 2147483647 w 53"/>
              <a:gd name="T19" fmla="*/ 2147483647 h 33"/>
              <a:gd name="T20" fmla="*/ 2147483647 w 53"/>
              <a:gd name="T21" fmla="*/ 2147483647 h 33"/>
              <a:gd name="T22" fmla="*/ 2147483647 w 53"/>
              <a:gd name="T23" fmla="*/ 2147483647 h 33"/>
              <a:gd name="T24" fmla="*/ 2147483647 w 53"/>
              <a:gd name="T25" fmla="*/ 2147483647 h 33"/>
              <a:gd name="T26" fmla="*/ 2147483647 w 53"/>
              <a:gd name="T27" fmla="*/ 2147483647 h 33"/>
              <a:gd name="T28" fmla="*/ 2147483647 w 53"/>
              <a:gd name="T29" fmla="*/ 2147483647 h 33"/>
              <a:gd name="T30" fmla="*/ 2147483647 w 53"/>
              <a:gd name="T31" fmla="*/ 2147483647 h 33"/>
              <a:gd name="T32" fmla="*/ 0 w 53"/>
              <a:gd name="T33" fmla="*/ 2147483647 h 33"/>
              <a:gd name="T34" fmla="*/ 0 w 53"/>
              <a:gd name="T35" fmla="*/ 2147483647 h 33"/>
              <a:gd name="T36" fmla="*/ 2147483647 w 53"/>
              <a:gd name="T37" fmla="*/ 2147483647 h 33"/>
              <a:gd name="T38" fmla="*/ 2147483647 w 53"/>
              <a:gd name="T39" fmla="*/ 2147483647 h 33"/>
              <a:gd name="T40" fmla="*/ 2147483647 w 53"/>
              <a:gd name="T41" fmla="*/ 2147483647 h 33"/>
              <a:gd name="T42" fmla="*/ 2147483647 w 53"/>
              <a:gd name="T43" fmla="*/ 2147483647 h 33"/>
              <a:gd name="T44" fmla="*/ 2147483647 w 53"/>
              <a:gd name="T45" fmla="*/ 2147483647 h 33"/>
              <a:gd name="T46" fmla="*/ 2147483647 w 53"/>
              <a:gd name="T47" fmla="*/ 2147483647 h 33"/>
              <a:gd name="T48" fmla="*/ 2147483647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17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337040" y="4822453"/>
            <a:ext cx="168275" cy="103187"/>
            <a:chOff x="3481" y="2773"/>
            <a:chExt cx="125" cy="65"/>
          </a:xfrm>
        </p:grpSpPr>
        <p:sp>
          <p:nvSpPr>
            <p:cNvPr id="2500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1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02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0 w 14"/>
                <a:gd name="T1" fmla="*/ 0 h 19"/>
                <a:gd name="T2" fmla="*/ 0 w 14"/>
                <a:gd name="T3" fmla="*/ 0 h 19"/>
                <a:gd name="T4" fmla="*/ 0 w 14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3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0 w 20"/>
                <a:gd name="T1" fmla="*/ 0 h 12"/>
                <a:gd name="T2" fmla="*/ 0 w 20"/>
                <a:gd name="T3" fmla="*/ 0 h 12"/>
                <a:gd name="T4" fmla="*/ 0 w 20"/>
                <a:gd name="T5" fmla="*/ 0 h 12"/>
                <a:gd name="T6" fmla="*/ 0 w 20"/>
                <a:gd name="T7" fmla="*/ 0 h 12"/>
                <a:gd name="T8" fmla="*/ 0 w 20"/>
                <a:gd name="T9" fmla="*/ 0 h 12"/>
                <a:gd name="T10" fmla="*/ 0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w 20"/>
                <a:gd name="T9" fmla="*/ 0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w 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w 13"/>
                <a:gd name="T15" fmla="*/ 0 h 18"/>
                <a:gd name="T16" fmla="*/ 0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1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465503" y="4814515"/>
            <a:ext cx="319087" cy="379413"/>
          </a:xfrm>
          <a:custGeom>
            <a:avLst/>
            <a:gdLst>
              <a:gd name="T0" fmla="*/ 2147483647 w 736"/>
              <a:gd name="T1" fmla="*/ 2147483647 h 721"/>
              <a:gd name="T2" fmla="*/ 2147483647 w 736"/>
              <a:gd name="T3" fmla="*/ 2147483647 h 721"/>
              <a:gd name="T4" fmla="*/ 2147483647 w 736"/>
              <a:gd name="T5" fmla="*/ 2147483647 h 721"/>
              <a:gd name="T6" fmla="*/ 2147483647 w 736"/>
              <a:gd name="T7" fmla="*/ 2147483647 h 721"/>
              <a:gd name="T8" fmla="*/ 2147483647 w 736"/>
              <a:gd name="T9" fmla="*/ 2147483647 h 721"/>
              <a:gd name="T10" fmla="*/ 2147483647 w 736"/>
              <a:gd name="T11" fmla="*/ 2147483647 h 721"/>
              <a:gd name="T12" fmla="*/ 2147483647 w 736"/>
              <a:gd name="T13" fmla="*/ 2147483647 h 721"/>
              <a:gd name="T14" fmla="*/ 2147483647 w 736"/>
              <a:gd name="T15" fmla="*/ 2147483647 h 721"/>
              <a:gd name="T16" fmla="*/ 2147483647 w 736"/>
              <a:gd name="T17" fmla="*/ 2147483647 h 721"/>
              <a:gd name="T18" fmla="*/ 2147483647 w 736"/>
              <a:gd name="T19" fmla="*/ 2147483647 h 721"/>
              <a:gd name="T20" fmla="*/ 2147483647 w 736"/>
              <a:gd name="T21" fmla="*/ 2147483647 h 721"/>
              <a:gd name="T22" fmla="*/ 2147483647 w 736"/>
              <a:gd name="T23" fmla="*/ 2147483647 h 721"/>
              <a:gd name="T24" fmla="*/ 2147483647 w 736"/>
              <a:gd name="T25" fmla="*/ 2147483647 h 721"/>
              <a:gd name="T26" fmla="*/ 2147483647 w 736"/>
              <a:gd name="T27" fmla="*/ 2147483647 h 721"/>
              <a:gd name="T28" fmla="*/ 2147483647 w 736"/>
              <a:gd name="T29" fmla="*/ 2147483647 h 721"/>
              <a:gd name="T30" fmla="*/ 2147483647 w 736"/>
              <a:gd name="T31" fmla="*/ 2147483647 h 721"/>
              <a:gd name="T32" fmla="*/ 2147483647 w 736"/>
              <a:gd name="T33" fmla="*/ 2147483647 h 721"/>
              <a:gd name="T34" fmla="*/ 2147483647 w 736"/>
              <a:gd name="T35" fmla="*/ 2147483647 h 721"/>
              <a:gd name="T36" fmla="*/ 2147483647 w 736"/>
              <a:gd name="T37" fmla="*/ 2147483647 h 721"/>
              <a:gd name="T38" fmla="*/ 2147483647 w 736"/>
              <a:gd name="T39" fmla="*/ 2147483647 h 721"/>
              <a:gd name="T40" fmla="*/ 2147483647 w 736"/>
              <a:gd name="T41" fmla="*/ 2147483647 h 721"/>
              <a:gd name="T42" fmla="*/ 2147483647 w 736"/>
              <a:gd name="T43" fmla="*/ 2147483647 h 721"/>
              <a:gd name="T44" fmla="*/ 2147483647 w 736"/>
              <a:gd name="T45" fmla="*/ 2147483647 h 721"/>
              <a:gd name="T46" fmla="*/ 2147483647 w 736"/>
              <a:gd name="T47" fmla="*/ 2147483647 h 721"/>
              <a:gd name="T48" fmla="*/ 2147483647 w 736"/>
              <a:gd name="T49" fmla="*/ 2147483647 h 721"/>
              <a:gd name="T50" fmla="*/ 2147483647 w 736"/>
              <a:gd name="T51" fmla="*/ 2147483647 h 721"/>
              <a:gd name="T52" fmla="*/ 2147483647 w 736"/>
              <a:gd name="T53" fmla="*/ 2147483647 h 721"/>
              <a:gd name="T54" fmla="*/ 2147483647 w 736"/>
              <a:gd name="T55" fmla="*/ 2147483647 h 721"/>
              <a:gd name="T56" fmla="*/ 2147483647 w 736"/>
              <a:gd name="T57" fmla="*/ 2147483647 h 721"/>
              <a:gd name="T58" fmla="*/ 2147483647 w 736"/>
              <a:gd name="T59" fmla="*/ 2147483647 h 721"/>
              <a:gd name="T60" fmla="*/ 2147483647 w 736"/>
              <a:gd name="T61" fmla="*/ 2147483647 h 721"/>
              <a:gd name="T62" fmla="*/ 2147483647 w 736"/>
              <a:gd name="T63" fmla="*/ 2147483647 h 721"/>
              <a:gd name="T64" fmla="*/ 2147483647 w 736"/>
              <a:gd name="T65" fmla="*/ 2147483647 h 721"/>
              <a:gd name="T66" fmla="*/ 2147483647 w 736"/>
              <a:gd name="T67" fmla="*/ 0 h 721"/>
              <a:gd name="T68" fmla="*/ 2147483647 w 736"/>
              <a:gd name="T69" fmla="*/ 2147483647 h 721"/>
              <a:gd name="T70" fmla="*/ 2147483647 w 736"/>
              <a:gd name="T71" fmla="*/ 2147483647 h 721"/>
              <a:gd name="T72" fmla="*/ 2147483647 w 736"/>
              <a:gd name="T73" fmla="*/ 2147483647 h 721"/>
              <a:gd name="T74" fmla="*/ 2147483647 w 736"/>
              <a:gd name="T75" fmla="*/ 2147483647 h 721"/>
              <a:gd name="T76" fmla="*/ 2147483647 w 736"/>
              <a:gd name="T77" fmla="*/ 2147483647 h 721"/>
              <a:gd name="T78" fmla="*/ 2147483647 w 736"/>
              <a:gd name="T79" fmla="*/ 2147483647 h 721"/>
              <a:gd name="T80" fmla="*/ 2147483647 w 736"/>
              <a:gd name="T81" fmla="*/ 2147483647 h 721"/>
              <a:gd name="T82" fmla="*/ 2147483647 w 736"/>
              <a:gd name="T83" fmla="*/ 2147483647 h 721"/>
              <a:gd name="T84" fmla="*/ 2147483647 w 736"/>
              <a:gd name="T85" fmla="*/ 2147483647 h 721"/>
              <a:gd name="T86" fmla="*/ 2147483647 w 736"/>
              <a:gd name="T87" fmla="*/ 2147483647 h 721"/>
              <a:gd name="T88" fmla="*/ 2147483647 w 736"/>
              <a:gd name="T89" fmla="*/ 2147483647 h 721"/>
              <a:gd name="T90" fmla="*/ 2147483647 w 736"/>
              <a:gd name="T91" fmla="*/ 2147483647 h 721"/>
              <a:gd name="T92" fmla="*/ 2147483647 w 736"/>
              <a:gd name="T93" fmla="*/ 2147483647 h 721"/>
              <a:gd name="T94" fmla="*/ 2147483647 w 736"/>
              <a:gd name="T95" fmla="*/ 2147483647 h 721"/>
              <a:gd name="T96" fmla="*/ 2147483647 w 736"/>
              <a:gd name="T97" fmla="*/ 21474836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476615" y="4787528"/>
            <a:ext cx="15875" cy="60325"/>
          </a:xfrm>
          <a:custGeom>
            <a:avLst/>
            <a:gdLst>
              <a:gd name="T0" fmla="*/ 0 w 39"/>
              <a:gd name="T1" fmla="*/ 2147483647 h 31"/>
              <a:gd name="T2" fmla="*/ 2147483647 w 39"/>
              <a:gd name="T3" fmla="*/ 2147483647 h 31"/>
              <a:gd name="T4" fmla="*/ 2147483647 w 39"/>
              <a:gd name="T5" fmla="*/ 2147483647 h 31"/>
              <a:gd name="T6" fmla="*/ 2147483647 w 39"/>
              <a:gd name="T7" fmla="*/ 2147483647 h 31"/>
              <a:gd name="T8" fmla="*/ 2147483647 w 39"/>
              <a:gd name="T9" fmla="*/ 2147483647 h 31"/>
              <a:gd name="T10" fmla="*/ 2147483647 w 39"/>
              <a:gd name="T11" fmla="*/ 2147483647 h 31"/>
              <a:gd name="T12" fmla="*/ 2147483647 w 39"/>
              <a:gd name="T13" fmla="*/ 2147483647 h 31"/>
              <a:gd name="T14" fmla="*/ 2147483647 w 39"/>
              <a:gd name="T15" fmla="*/ 0 h 31"/>
              <a:gd name="T16" fmla="*/ 2147483647 w 39"/>
              <a:gd name="T17" fmla="*/ 0 h 31"/>
              <a:gd name="T18" fmla="*/ 2147483647 w 39"/>
              <a:gd name="T19" fmla="*/ 0 h 31"/>
              <a:gd name="T20" fmla="*/ 2147483647 w 39"/>
              <a:gd name="T21" fmla="*/ 0 h 31"/>
              <a:gd name="T22" fmla="*/ 0 w 39"/>
              <a:gd name="T23" fmla="*/ 0 h 31"/>
              <a:gd name="T24" fmla="*/ 0 w 39"/>
              <a:gd name="T25" fmla="*/ 2147483647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578215" y="5330453"/>
            <a:ext cx="396875" cy="398462"/>
          </a:xfrm>
          <a:custGeom>
            <a:avLst/>
            <a:gdLst>
              <a:gd name="T0" fmla="*/ 2147483647 w 903"/>
              <a:gd name="T1" fmla="*/ 2147483647 h 759"/>
              <a:gd name="T2" fmla="*/ 2147483647 w 903"/>
              <a:gd name="T3" fmla="*/ 2147483647 h 759"/>
              <a:gd name="T4" fmla="*/ 2147483647 w 903"/>
              <a:gd name="T5" fmla="*/ 2147483647 h 759"/>
              <a:gd name="T6" fmla="*/ 2147483647 w 903"/>
              <a:gd name="T7" fmla="*/ 2147483647 h 759"/>
              <a:gd name="T8" fmla="*/ 2147483647 w 903"/>
              <a:gd name="T9" fmla="*/ 2147483647 h 759"/>
              <a:gd name="T10" fmla="*/ 2147483647 w 903"/>
              <a:gd name="T11" fmla="*/ 2147483647 h 759"/>
              <a:gd name="T12" fmla="*/ 2147483647 w 903"/>
              <a:gd name="T13" fmla="*/ 2147483647 h 759"/>
              <a:gd name="T14" fmla="*/ 2147483647 w 903"/>
              <a:gd name="T15" fmla="*/ 2147483647 h 759"/>
              <a:gd name="T16" fmla="*/ 2147483647 w 903"/>
              <a:gd name="T17" fmla="*/ 2147483647 h 759"/>
              <a:gd name="T18" fmla="*/ 2147483647 w 903"/>
              <a:gd name="T19" fmla="*/ 2147483647 h 759"/>
              <a:gd name="T20" fmla="*/ 2147483647 w 903"/>
              <a:gd name="T21" fmla="*/ 2147483647 h 759"/>
              <a:gd name="T22" fmla="*/ 2147483647 w 903"/>
              <a:gd name="T23" fmla="*/ 2147483647 h 759"/>
              <a:gd name="T24" fmla="*/ 2147483647 w 903"/>
              <a:gd name="T25" fmla="*/ 2147483647 h 759"/>
              <a:gd name="T26" fmla="*/ 2147483647 w 903"/>
              <a:gd name="T27" fmla="*/ 2147483647 h 759"/>
              <a:gd name="T28" fmla="*/ 2147483647 w 903"/>
              <a:gd name="T29" fmla="*/ 2147483647 h 759"/>
              <a:gd name="T30" fmla="*/ 2147483647 w 903"/>
              <a:gd name="T31" fmla="*/ 2147483647 h 759"/>
              <a:gd name="T32" fmla="*/ 2147483647 w 903"/>
              <a:gd name="T33" fmla="*/ 2147483647 h 759"/>
              <a:gd name="T34" fmla="*/ 2147483647 w 903"/>
              <a:gd name="T35" fmla="*/ 2147483647 h 759"/>
              <a:gd name="T36" fmla="*/ 2147483647 w 903"/>
              <a:gd name="T37" fmla="*/ 2147483647 h 759"/>
              <a:gd name="T38" fmla="*/ 2147483647 w 903"/>
              <a:gd name="T39" fmla="*/ 2147483647 h 759"/>
              <a:gd name="T40" fmla="*/ 2147483647 w 903"/>
              <a:gd name="T41" fmla="*/ 2147483647 h 759"/>
              <a:gd name="T42" fmla="*/ 2147483647 w 903"/>
              <a:gd name="T43" fmla="*/ 2147483647 h 759"/>
              <a:gd name="T44" fmla="*/ 2147483647 w 903"/>
              <a:gd name="T45" fmla="*/ 2147483647 h 759"/>
              <a:gd name="T46" fmla="*/ 2147483647 w 903"/>
              <a:gd name="T47" fmla="*/ 2147483647 h 759"/>
              <a:gd name="T48" fmla="*/ 2147483647 w 903"/>
              <a:gd name="T49" fmla="*/ 2147483647 h 759"/>
              <a:gd name="T50" fmla="*/ 2147483647 w 903"/>
              <a:gd name="T51" fmla="*/ 2147483647 h 759"/>
              <a:gd name="T52" fmla="*/ 2147483647 w 903"/>
              <a:gd name="T53" fmla="*/ 2147483647 h 759"/>
              <a:gd name="T54" fmla="*/ 0 w 903"/>
              <a:gd name="T55" fmla="*/ 2147483647 h 759"/>
              <a:gd name="T56" fmla="*/ 2147483647 w 903"/>
              <a:gd name="T57" fmla="*/ 2147483647 h 759"/>
              <a:gd name="T58" fmla="*/ 2147483647 w 903"/>
              <a:gd name="T59" fmla="*/ 2147483647 h 759"/>
              <a:gd name="T60" fmla="*/ 2147483647 w 903"/>
              <a:gd name="T61" fmla="*/ 2147483647 h 759"/>
              <a:gd name="T62" fmla="*/ 2147483647 w 903"/>
              <a:gd name="T63" fmla="*/ 2147483647 h 759"/>
              <a:gd name="T64" fmla="*/ 2147483647 w 903"/>
              <a:gd name="T65" fmla="*/ 2147483647 h 759"/>
              <a:gd name="T66" fmla="*/ 2147483647 w 903"/>
              <a:gd name="T67" fmla="*/ 2147483647 h 759"/>
              <a:gd name="T68" fmla="*/ 2147483647 w 903"/>
              <a:gd name="T69" fmla="*/ 2147483647 h 759"/>
              <a:gd name="T70" fmla="*/ 2147483647 w 903"/>
              <a:gd name="T71" fmla="*/ 2147483647 h 759"/>
              <a:gd name="T72" fmla="*/ 2147483647 w 903"/>
              <a:gd name="T73" fmla="*/ 2147483647 h 759"/>
              <a:gd name="T74" fmla="*/ 2147483647 w 903"/>
              <a:gd name="T75" fmla="*/ 2147483647 h 759"/>
              <a:gd name="T76" fmla="*/ 2147483647 w 903"/>
              <a:gd name="T77" fmla="*/ 2147483647 h 759"/>
              <a:gd name="T78" fmla="*/ 2147483647 w 903"/>
              <a:gd name="T79" fmla="*/ 2147483647 h 759"/>
              <a:gd name="T80" fmla="*/ 2147483647 w 903"/>
              <a:gd name="T81" fmla="*/ 2147483647 h 759"/>
              <a:gd name="T82" fmla="*/ 2147483647 w 903"/>
              <a:gd name="T83" fmla="*/ 2147483647 h 759"/>
              <a:gd name="T84" fmla="*/ 2147483647 w 903"/>
              <a:gd name="T85" fmla="*/ 2147483647 h 759"/>
              <a:gd name="T86" fmla="*/ 2147483647 w 903"/>
              <a:gd name="T87" fmla="*/ 2147483647 h 759"/>
              <a:gd name="T88" fmla="*/ 2147483647 w 903"/>
              <a:gd name="T89" fmla="*/ 2147483647 h 759"/>
              <a:gd name="T90" fmla="*/ 2147483647 w 903"/>
              <a:gd name="T91" fmla="*/ 2147483647 h 759"/>
              <a:gd name="T92" fmla="*/ 2147483647 w 903"/>
              <a:gd name="T93" fmla="*/ 2147483647 h 759"/>
              <a:gd name="T94" fmla="*/ 2147483647 w 903"/>
              <a:gd name="T95" fmla="*/ 2147483647 h 759"/>
              <a:gd name="T96" fmla="*/ 2147483647 w 903"/>
              <a:gd name="T97" fmla="*/ 2147483647 h 759"/>
              <a:gd name="T98" fmla="*/ 2147483647 w 903"/>
              <a:gd name="T99" fmla="*/ 2147483647 h 759"/>
              <a:gd name="T100" fmla="*/ 2147483647 w 903"/>
              <a:gd name="T101" fmla="*/ 2147483647 h 759"/>
              <a:gd name="T102" fmla="*/ 2147483647 w 903"/>
              <a:gd name="T103" fmla="*/ 2147483647 h 759"/>
              <a:gd name="T104" fmla="*/ 2147483647 w 903"/>
              <a:gd name="T105" fmla="*/ 2147483647 h 759"/>
              <a:gd name="T106" fmla="*/ 2147483647 w 903"/>
              <a:gd name="T107" fmla="*/ 2147483647 h 759"/>
              <a:gd name="T108" fmla="*/ 2147483647 w 903"/>
              <a:gd name="T109" fmla="*/ 2147483647 h 759"/>
              <a:gd name="T110" fmla="*/ 2147483647 w 903"/>
              <a:gd name="T111" fmla="*/ 2147483647 h 759"/>
              <a:gd name="T112" fmla="*/ 2147483647 w 903"/>
              <a:gd name="T113" fmla="*/ 2147483647 h 759"/>
              <a:gd name="T114" fmla="*/ 2147483647 w 903"/>
              <a:gd name="T115" fmla="*/ 2147483647 h 759"/>
              <a:gd name="T116" fmla="*/ 2147483647 w 903"/>
              <a:gd name="T117" fmla="*/ 2147483647 h 759"/>
              <a:gd name="T118" fmla="*/ 2147483647 w 903"/>
              <a:gd name="T119" fmla="*/ 2147483647 h 759"/>
              <a:gd name="T120" fmla="*/ 2147483647 w 903"/>
              <a:gd name="T121" fmla="*/ 2147483647 h 759"/>
              <a:gd name="T122" fmla="*/ 2147483647 w 903"/>
              <a:gd name="T123" fmla="*/ 2147483647 h 759"/>
              <a:gd name="T124" fmla="*/ 2147483647 w 903"/>
              <a:gd name="T125" fmla="*/ 2147483647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725853" y="3898528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2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509828" y="4100140"/>
            <a:ext cx="80962" cy="82550"/>
            <a:chOff x="2352" y="2343"/>
            <a:chExt cx="65" cy="53"/>
          </a:xfrm>
          <a:solidFill>
            <a:schemeClr val="bg1">
              <a:lumMod val="75000"/>
            </a:schemeClr>
          </a:solidFill>
        </p:grpSpPr>
        <p:sp>
          <p:nvSpPr>
            <p:cNvPr id="2494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0 w 51"/>
                <a:gd name="T1" fmla="*/ 0 h 33"/>
                <a:gd name="T2" fmla="*/ 0 w 51"/>
                <a:gd name="T3" fmla="*/ 0 h 33"/>
                <a:gd name="T4" fmla="*/ 0 w 51"/>
                <a:gd name="T5" fmla="*/ 0 h 33"/>
                <a:gd name="T6" fmla="*/ 0 w 51"/>
                <a:gd name="T7" fmla="*/ 0 h 33"/>
                <a:gd name="T8" fmla="*/ 0 w 51"/>
                <a:gd name="T9" fmla="*/ 0 h 33"/>
                <a:gd name="T10" fmla="*/ 1 w 51"/>
                <a:gd name="T11" fmla="*/ 0 h 33"/>
                <a:gd name="T12" fmla="*/ 1 w 51"/>
                <a:gd name="T13" fmla="*/ 0 h 33"/>
                <a:gd name="T14" fmla="*/ 0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1 w 61"/>
                <a:gd name="T1" fmla="*/ 0 h 20"/>
                <a:gd name="T2" fmla="*/ 1 w 61"/>
                <a:gd name="T3" fmla="*/ 0 h 20"/>
                <a:gd name="T4" fmla="*/ 0 w 61"/>
                <a:gd name="T5" fmla="*/ 0 h 20"/>
                <a:gd name="T6" fmla="*/ 0 w 61"/>
                <a:gd name="T7" fmla="*/ 0 h 20"/>
                <a:gd name="T8" fmla="*/ 0 w 61"/>
                <a:gd name="T9" fmla="*/ 0 h 20"/>
                <a:gd name="T10" fmla="*/ 0 w 61"/>
                <a:gd name="T11" fmla="*/ 0 h 20"/>
                <a:gd name="T12" fmla="*/ 1 w 61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6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0 h 36"/>
                <a:gd name="T4" fmla="*/ 0 w 15"/>
                <a:gd name="T5" fmla="*/ 0 h 36"/>
                <a:gd name="T6" fmla="*/ 0 w 15"/>
                <a:gd name="T7" fmla="*/ 0 h 36"/>
                <a:gd name="T8" fmla="*/ 0 w 15"/>
                <a:gd name="T9" fmla="*/ 0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7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0 w 37"/>
                <a:gd name="T3" fmla="*/ 0 h 33"/>
                <a:gd name="T4" fmla="*/ 0 w 37"/>
                <a:gd name="T5" fmla="*/ 0 h 33"/>
                <a:gd name="T6" fmla="*/ 0 w 37"/>
                <a:gd name="T7" fmla="*/ 0 h 33"/>
                <a:gd name="T8" fmla="*/ 0 w 37"/>
                <a:gd name="T9" fmla="*/ 0 h 33"/>
                <a:gd name="T10" fmla="*/ 0 w 37"/>
                <a:gd name="T11" fmla="*/ 0 h 33"/>
                <a:gd name="T12" fmla="*/ 0 w 37"/>
                <a:gd name="T13" fmla="*/ 0 h 33"/>
                <a:gd name="T14" fmla="*/ 0 w 37"/>
                <a:gd name="T15" fmla="*/ 0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8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1 h 54"/>
                <a:gd name="T6" fmla="*/ 0 w 49"/>
                <a:gd name="T7" fmla="*/ 1 h 54"/>
                <a:gd name="T8" fmla="*/ 1 w 49"/>
                <a:gd name="T9" fmla="*/ 1 h 54"/>
                <a:gd name="T10" fmla="*/ 1 w 49"/>
                <a:gd name="T11" fmla="*/ 0 h 54"/>
                <a:gd name="T12" fmla="*/ 0 w 49"/>
                <a:gd name="T13" fmla="*/ 0 h 54"/>
                <a:gd name="T14" fmla="*/ 0 w 49"/>
                <a:gd name="T15" fmla="*/ 0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9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0 w 26"/>
                <a:gd name="T1" fmla="*/ 0 h 22"/>
                <a:gd name="T2" fmla="*/ 0 w 26"/>
                <a:gd name="T3" fmla="*/ 0 h 22"/>
                <a:gd name="T4" fmla="*/ 0 w 26"/>
                <a:gd name="T5" fmla="*/ 0 h 22"/>
                <a:gd name="T6" fmla="*/ 0 w 26"/>
                <a:gd name="T7" fmla="*/ 0 h 22"/>
                <a:gd name="T8" fmla="*/ 0 w 26"/>
                <a:gd name="T9" fmla="*/ 0 h 22"/>
                <a:gd name="T10" fmla="*/ 0 w 26"/>
                <a:gd name="T11" fmla="*/ 0 h 22"/>
                <a:gd name="T12" fmla="*/ 0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2323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355590" y="2160215"/>
            <a:ext cx="1897063" cy="1133475"/>
            <a:chOff x="527" y="1110"/>
            <a:chExt cx="1410" cy="709"/>
          </a:xfrm>
        </p:grpSpPr>
        <p:sp>
          <p:nvSpPr>
            <p:cNvPr id="2452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0 h 54"/>
                <a:gd name="T2" fmla="*/ 0 w 98"/>
                <a:gd name="T3" fmla="*/ 0 h 54"/>
                <a:gd name="T4" fmla="*/ 0 w 98"/>
                <a:gd name="T5" fmla="*/ 1 h 54"/>
                <a:gd name="T6" fmla="*/ 0 w 98"/>
                <a:gd name="T7" fmla="*/ 1 h 54"/>
                <a:gd name="T8" fmla="*/ 0 w 98"/>
                <a:gd name="T9" fmla="*/ 1 h 54"/>
                <a:gd name="T10" fmla="*/ 0 w 98"/>
                <a:gd name="T11" fmla="*/ 1 h 54"/>
                <a:gd name="T12" fmla="*/ 0 w 98"/>
                <a:gd name="T13" fmla="*/ 1 h 54"/>
                <a:gd name="T14" fmla="*/ 1 w 98"/>
                <a:gd name="T15" fmla="*/ 1 h 54"/>
                <a:gd name="T16" fmla="*/ 1 w 98"/>
                <a:gd name="T17" fmla="*/ 1 h 54"/>
                <a:gd name="T18" fmla="*/ 1 w 98"/>
                <a:gd name="T19" fmla="*/ 0 h 54"/>
                <a:gd name="T20" fmla="*/ 1 w 98"/>
                <a:gd name="T21" fmla="*/ 0 h 54"/>
                <a:gd name="T22" fmla="*/ 1 w 98"/>
                <a:gd name="T23" fmla="*/ 0 h 54"/>
                <a:gd name="T24" fmla="*/ 1 w 98"/>
                <a:gd name="T25" fmla="*/ 0 h 54"/>
                <a:gd name="T26" fmla="*/ 1 w 98"/>
                <a:gd name="T27" fmla="*/ 0 h 54"/>
                <a:gd name="T28" fmla="*/ 1 w 98"/>
                <a:gd name="T29" fmla="*/ 0 h 54"/>
                <a:gd name="T30" fmla="*/ 1 w 98"/>
                <a:gd name="T31" fmla="*/ 0 h 54"/>
                <a:gd name="T32" fmla="*/ 1 w 98"/>
                <a:gd name="T33" fmla="*/ 0 h 54"/>
                <a:gd name="T34" fmla="*/ 1 w 98"/>
                <a:gd name="T35" fmla="*/ 0 h 54"/>
                <a:gd name="T36" fmla="*/ 1 w 98"/>
                <a:gd name="T37" fmla="*/ 0 h 54"/>
                <a:gd name="T38" fmla="*/ 1 w 98"/>
                <a:gd name="T39" fmla="*/ 0 h 54"/>
                <a:gd name="T40" fmla="*/ 1 w 98"/>
                <a:gd name="T41" fmla="*/ 0 h 54"/>
                <a:gd name="T42" fmla="*/ 0 w 98"/>
                <a:gd name="T43" fmla="*/ 0 h 54"/>
                <a:gd name="T44" fmla="*/ 0 w 98"/>
                <a:gd name="T45" fmla="*/ 0 h 54"/>
                <a:gd name="T46" fmla="*/ 0 w 98"/>
                <a:gd name="T47" fmla="*/ 0 h 54"/>
                <a:gd name="T48" fmla="*/ 0 w 98"/>
                <a:gd name="T49" fmla="*/ 0 h 54"/>
                <a:gd name="T50" fmla="*/ 0 w 98"/>
                <a:gd name="T51" fmla="*/ 0 h 54"/>
                <a:gd name="T52" fmla="*/ 0 w 98"/>
                <a:gd name="T53" fmla="*/ 0 h 54"/>
                <a:gd name="T54" fmla="*/ 0 w 98"/>
                <a:gd name="T55" fmla="*/ 0 h 54"/>
                <a:gd name="T56" fmla="*/ 0 w 98"/>
                <a:gd name="T57" fmla="*/ 0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3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0 h 28"/>
                <a:gd name="T2" fmla="*/ 0 w 67"/>
                <a:gd name="T3" fmla="*/ 0 h 28"/>
                <a:gd name="T4" fmla="*/ 0 w 67"/>
                <a:gd name="T5" fmla="*/ 0 h 28"/>
                <a:gd name="T6" fmla="*/ 0 w 67"/>
                <a:gd name="T7" fmla="*/ 0 h 28"/>
                <a:gd name="T8" fmla="*/ 0 w 67"/>
                <a:gd name="T9" fmla="*/ 0 h 28"/>
                <a:gd name="T10" fmla="*/ 1 w 67"/>
                <a:gd name="T11" fmla="*/ 0 h 28"/>
                <a:gd name="T12" fmla="*/ 1 w 67"/>
                <a:gd name="T13" fmla="*/ 0 h 28"/>
                <a:gd name="T14" fmla="*/ 1 w 67"/>
                <a:gd name="T15" fmla="*/ 0 h 28"/>
                <a:gd name="T16" fmla="*/ 1 w 67"/>
                <a:gd name="T17" fmla="*/ 0 h 28"/>
                <a:gd name="T18" fmla="*/ 1 w 67"/>
                <a:gd name="T19" fmla="*/ 0 h 28"/>
                <a:gd name="T20" fmla="*/ 0 w 67"/>
                <a:gd name="T21" fmla="*/ 0 h 28"/>
                <a:gd name="T22" fmla="*/ 0 w 67"/>
                <a:gd name="T23" fmla="*/ 0 h 28"/>
                <a:gd name="T24" fmla="*/ 0 w 67"/>
                <a:gd name="T25" fmla="*/ 0 h 28"/>
                <a:gd name="T26" fmla="*/ 0 w 67"/>
                <a:gd name="T27" fmla="*/ 0 h 28"/>
                <a:gd name="T28" fmla="*/ 0 w 67"/>
                <a:gd name="T29" fmla="*/ 0 h 28"/>
                <a:gd name="T30" fmla="*/ 0 w 67"/>
                <a:gd name="T31" fmla="*/ 0 h 28"/>
                <a:gd name="T32" fmla="*/ 0 w 67"/>
                <a:gd name="T33" fmla="*/ 0 h 28"/>
                <a:gd name="T34" fmla="*/ 0 w 67"/>
                <a:gd name="T35" fmla="*/ 0 h 28"/>
                <a:gd name="T36" fmla="*/ 0 w 67"/>
                <a:gd name="T37" fmla="*/ 0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4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0 h 36"/>
                <a:gd name="T2" fmla="*/ 0 w 32"/>
                <a:gd name="T3" fmla="*/ 0 h 36"/>
                <a:gd name="T4" fmla="*/ 0 w 32"/>
                <a:gd name="T5" fmla="*/ 0 h 36"/>
                <a:gd name="T6" fmla="*/ 0 w 32"/>
                <a:gd name="T7" fmla="*/ 0 h 36"/>
                <a:gd name="T8" fmla="*/ 0 w 32"/>
                <a:gd name="T9" fmla="*/ 0 h 36"/>
                <a:gd name="T10" fmla="*/ 0 w 32"/>
                <a:gd name="T11" fmla="*/ 0 h 36"/>
                <a:gd name="T12" fmla="*/ 0 w 32"/>
                <a:gd name="T13" fmla="*/ 0 h 36"/>
                <a:gd name="T14" fmla="*/ 0 w 32"/>
                <a:gd name="T15" fmla="*/ 0 h 36"/>
                <a:gd name="T16" fmla="*/ 0 w 32"/>
                <a:gd name="T17" fmla="*/ 0 h 36"/>
                <a:gd name="T18" fmla="*/ 0 w 32"/>
                <a:gd name="T19" fmla="*/ 0 h 36"/>
                <a:gd name="T20" fmla="*/ 0 w 32"/>
                <a:gd name="T21" fmla="*/ 0 h 36"/>
                <a:gd name="T22" fmla="*/ 0 w 32"/>
                <a:gd name="T23" fmla="*/ 0 h 36"/>
                <a:gd name="T24" fmla="*/ 0 w 32"/>
                <a:gd name="T25" fmla="*/ 0 h 36"/>
                <a:gd name="T26" fmla="*/ 0 w 32"/>
                <a:gd name="T27" fmla="*/ 0 h 36"/>
                <a:gd name="T28" fmla="*/ 0 w 32"/>
                <a:gd name="T29" fmla="*/ 0 h 36"/>
                <a:gd name="T30" fmla="*/ 0 w 32"/>
                <a:gd name="T31" fmla="*/ 0 h 36"/>
                <a:gd name="T32" fmla="*/ 0 w 32"/>
                <a:gd name="T33" fmla="*/ 0 h 36"/>
                <a:gd name="T34" fmla="*/ 0 w 32"/>
                <a:gd name="T35" fmla="*/ 0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5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 h 52"/>
                <a:gd name="T2" fmla="*/ 0 w 146"/>
                <a:gd name="T3" fmla="*/ 1 h 52"/>
                <a:gd name="T4" fmla="*/ 0 w 146"/>
                <a:gd name="T5" fmla="*/ 1 h 52"/>
                <a:gd name="T6" fmla="*/ 0 w 146"/>
                <a:gd name="T7" fmla="*/ 1 h 52"/>
                <a:gd name="T8" fmla="*/ 0 w 146"/>
                <a:gd name="T9" fmla="*/ 1 h 52"/>
                <a:gd name="T10" fmla="*/ 1 w 146"/>
                <a:gd name="T11" fmla="*/ 1 h 52"/>
                <a:gd name="T12" fmla="*/ 1 w 146"/>
                <a:gd name="T13" fmla="*/ 1 h 52"/>
                <a:gd name="T14" fmla="*/ 1 w 146"/>
                <a:gd name="T15" fmla="*/ 1 h 52"/>
                <a:gd name="T16" fmla="*/ 1 w 146"/>
                <a:gd name="T17" fmla="*/ 1 h 52"/>
                <a:gd name="T18" fmla="*/ 1 w 146"/>
                <a:gd name="T19" fmla="*/ 0 h 52"/>
                <a:gd name="T20" fmla="*/ 1 w 146"/>
                <a:gd name="T21" fmla="*/ 0 h 52"/>
                <a:gd name="T22" fmla="*/ 1 w 146"/>
                <a:gd name="T23" fmla="*/ 0 h 52"/>
                <a:gd name="T24" fmla="*/ 1 w 146"/>
                <a:gd name="T25" fmla="*/ 0 h 52"/>
                <a:gd name="T26" fmla="*/ 1 w 146"/>
                <a:gd name="T27" fmla="*/ 0 h 52"/>
                <a:gd name="T28" fmla="*/ 1 w 146"/>
                <a:gd name="T29" fmla="*/ 0 h 52"/>
                <a:gd name="T30" fmla="*/ 1 w 146"/>
                <a:gd name="T31" fmla="*/ 0 h 52"/>
                <a:gd name="T32" fmla="*/ 1 w 146"/>
                <a:gd name="T33" fmla="*/ 0 h 52"/>
                <a:gd name="T34" fmla="*/ 1 w 146"/>
                <a:gd name="T35" fmla="*/ 0 h 52"/>
                <a:gd name="T36" fmla="*/ 1 w 146"/>
                <a:gd name="T37" fmla="*/ 0 h 52"/>
                <a:gd name="T38" fmla="*/ 1 w 146"/>
                <a:gd name="T39" fmla="*/ 0 h 52"/>
                <a:gd name="T40" fmla="*/ 1 w 146"/>
                <a:gd name="T41" fmla="*/ 0 h 52"/>
                <a:gd name="T42" fmla="*/ 1 w 146"/>
                <a:gd name="T43" fmla="*/ 0 h 52"/>
                <a:gd name="T44" fmla="*/ 1 w 146"/>
                <a:gd name="T45" fmla="*/ 0 h 52"/>
                <a:gd name="T46" fmla="*/ 0 w 146"/>
                <a:gd name="T47" fmla="*/ 0 h 52"/>
                <a:gd name="T48" fmla="*/ 0 w 146"/>
                <a:gd name="T49" fmla="*/ 0 h 52"/>
                <a:gd name="T50" fmla="*/ 0 w 146"/>
                <a:gd name="T51" fmla="*/ 0 h 52"/>
                <a:gd name="T52" fmla="*/ 0 w 146"/>
                <a:gd name="T53" fmla="*/ 0 h 52"/>
                <a:gd name="T54" fmla="*/ 0 w 146"/>
                <a:gd name="T55" fmla="*/ 0 h 52"/>
                <a:gd name="T56" fmla="*/ 0 w 146"/>
                <a:gd name="T57" fmla="*/ 1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6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1 w 60"/>
                <a:gd name="T1" fmla="*/ 0 h 31"/>
                <a:gd name="T2" fmla="*/ 1 w 60"/>
                <a:gd name="T3" fmla="*/ 0 h 31"/>
                <a:gd name="T4" fmla="*/ 0 w 60"/>
                <a:gd name="T5" fmla="*/ 0 h 31"/>
                <a:gd name="T6" fmla="*/ 0 w 60"/>
                <a:gd name="T7" fmla="*/ 0 h 31"/>
                <a:gd name="T8" fmla="*/ 0 w 60"/>
                <a:gd name="T9" fmla="*/ 0 h 31"/>
                <a:gd name="T10" fmla="*/ 0 w 60"/>
                <a:gd name="T11" fmla="*/ 0 h 31"/>
                <a:gd name="T12" fmla="*/ 0 w 60"/>
                <a:gd name="T13" fmla="*/ 0 h 31"/>
                <a:gd name="T14" fmla="*/ 0 w 60"/>
                <a:gd name="T15" fmla="*/ 0 h 31"/>
                <a:gd name="T16" fmla="*/ 0 w 60"/>
                <a:gd name="T17" fmla="*/ 0 h 31"/>
                <a:gd name="T18" fmla="*/ 0 w 60"/>
                <a:gd name="T19" fmla="*/ 0 h 31"/>
                <a:gd name="T20" fmla="*/ 0 w 60"/>
                <a:gd name="T21" fmla="*/ 0 h 31"/>
                <a:gd name="T22" fmla="*/ 0 w 60"/>
                <a:gd name="T23" fmla="*/ 0 h 31"/>
                <a:gd name="T24" fmla="*/ 0 w 60"/>
                <a:gd name="T25" fmla="*/ 0 h 31"/>
                <a:gd name="T26" fmla="*/ 0 w 60"/>
                <a:gd name="T27" fmla="*/ 0 h 31"/>
                <a:gd name="T28" fmla="*/ 0 w 60"/>
                <a:gd name="T29" fmla="*/ 0 h 31"/>
                <a:gd name="T30" fmla="*/ 0 w 60"/>
                <a:gd name="T31" fmla="*/ 0 h 31"/>
                <a:gd name="T32" fmla="*/ 0 w 60"/>
                <a:gd name="T33" fmla="*/ 0 h 31"/>
                <a:gd name="T34" fmla="*/ 0 w 60"/>
                <a:gd name="T35" fmla="*/ 0 h 31"/>
                <a:gd name="T36" fmla="*/ 0 w 60"/>
                <a:gd name="T37" fmla="*/ 0 h 31"/>
                <a:gd name="T38" fmla="*/ 0 w 60"/>
                <a:gd name="T39" fmla="*/ 0 h 31"/>
                <a:gd name="T40" fmla="*/ 0 w 60"/>
                <a:gd name="T41" fmla="*/ 0 h 31"/>
                <a:gd name="T42" fmla="*/ 1 w 60"/>
                <a:gd name="T43" fmla="*/ 0 h 31"/>
                <a:gd name="T44" fmla="*/ 1 w 60"/>
                <a:gd name="T45" fmla="*/ 0 h 31"/>
                <a:gd name="T46" fmla="*/ 1 w 60"/>
                <a:gd name="T47" fmla="*/ 0 h 31"/>
                <a:gd name="T48" fmla="*/ 1 w 60"/>
                <a:gd name="T49" fmla="*/ 0 h 31"/>
                <a:gd name="T50" fmla="*/ 1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7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 h 62"/>
                <a:gd name="T2" fmla="*/ 0 w 80"/>
                <a:gd name="T3" fmla="*/ 1 h 62"/>
                <a:gd name="T4" fmla="*/ 0 w 80"/>
                <a:gd name="T5" fmla="*/ 1 h 62"/>
                <a:gd name="T6" fmla="*/ 0 w 80"/>
                <a:gd name="T7" fmla="*/ 1 h 62"/>
                <a:gd name="T8" fmla="*/ 0 w 80"/>
                <a:gd name="T9" fmla="*/ 1 h 62"/>
                <a:gd name="T10" fmla="*/ 0 w 80"/>
                <a:gd name="T11" fmla="*/ 1 h 62"/>
                <a:gd name="T12" fmla="*/ 0 w 80"/>
                <a:gd name="T13" fmla="*/ 1 h 62"/>
                <a:gd name="T14" fmla="*/ 0 w 80"/>
                <a:gd name="T15" fmla="*/ 1 h 62"/>
                <a:gd name="T16" fmla="*/ 0 w 80"/>
                <a:gd name="T17" fmla="*/ 1 h 62"/>
                <a:gd name="T18" fmla="*/ 1 w 80"/>
                <a:gd name="T19" fmla="*/ 1 h 62"/>
                <a:gd name="T20" fmla="*/ 1 w 80"/>
                <a:gd name="T21" fmla="*/ 1 h 62"/>
                <a:gd name="T22" fmla="*/ 1 w 80"/>
                <a:gd name="T23" fmla="*/ 1 h 62"/>
                <a:gd name="T24" fmla="*/ 1 w 80"/>
                <a:gd name="T25" fmla="*/ 1 h 62"/>
                <a:gd name="T26" fmla="*/ 1 w 80"/>
                <a:gd name="T27" fmla="*/ 1 h 62"/>
                <a:gd name="T28" fmla="*/ 1 w 80"/>
                <a:gd name="T29" fmla="*/ 0 h 62"/>
                <a:gd name="T30" fmla="*/ 1 w 80"/>
                <a:gd name="T31" fmla="*/ 0 h 62"/>
                <a:gd name="T32" fmla="*/ 1 w 80"/>
                <a:gd name="T33" fmla="*/ 0 h 62"/>
                <a:gd name="T34" fmla="*/ 1 w 80"/>
                <a:gd name="T35" fmla="*/ 0 h 62"/>
                <a:gd name="T36" fmla="*/ 1 w 80"/>
                <a:gd name="T37" fmla="*/ 0 h 62"/>
                <a:gd name="T38" fmla="*/ 1 w 80"/>
                <a:gd name="T39" fmla="*/ 0 h 62"/>
                <a:gd name="T40" fmla="*/ 1 w 80"/>
                <a:gd name="T41" fmla="*/ 0 h 62"/>
                <a:gd name="T42" fmla="*/ 1 w 80"/>
                <a:gd name="T43" fmla="*/ 0 h 62"/>
                <a:gd name="T44" fmla="*/ 0 w 80"/>
                <a:gd name="T45" fmla="*/ 0 h 62"/>
                <a:gd name="T46" fmla="*/ 0 w 80"/>
                <a:gd name="T47" fmla="*/ 0 h 62"/>
                <a:gd name="T48" fmla="*/ 0 w 80"/>
                <a:gd name="T49" fmla="*/ 0 h 62"/>
                <a:gd name="T50" fmla="*/ 0 w 80"/>
                <a:gd name="T51" fmla="*/ 0 h 62"/>
                <a:gd name="T52" fmla="*/ 0 w 80"/>
                <a:gd name="T53" fmla="*/ 0 h 62"/>
                <a:gd name="T54" fmla="*/ 0 w 80"/>
                <a:gd name="T55" fmla="*/ 0 h 62"/>
                <a:gd name="T56" fmla="*/ 0 w 80"/>
                <a:gd name="T57" fmla="*/ 1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8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1 w 106"/>
                <a:gd name="T1" fmla="*/ 0 h 49"/>
                <a:gd name="T2" fmla="*/ 1 w 106"/>
                <a:gd name="T3" fmla="*/ 0 h 49"/>
                <a:gd name="T4" fmla="*/ 1 w 106"/>
                <a:gd name="T5" fmla="*/ 0 h 49"/>
                <a:gd name="T6" fmla="*/ 1 w 106"/>
                <a:gd name="T7" fmla="*/ 0 h 49"/>
                <a:gd name="T8" fmla="*/ 1 w 106"/>
                <a:gd name="T9" fmla="*/ 0 h 49"/>
                <a:gd name="T10" fmla="*/ 1 w 106"/>
                <a:gd name="T11" fmla="*/ 0 h 49"/>
                <a:gd name="T12" fmla="*/ 0 w 106"/>
                <a:gd name="T13" fmla="*/ 0 h 49"/>
                <a:gd name="T14" fmla="*/ 0 w 106"/>
                <a:gd name="T15" fmla="*/ 0 h 49"/>
                <a:gd name="T16" fmla="*/ 0 w 106"/>
                <a:gd name="T17" fmla="*/ 0 h 49"/>
                <a:gd name="T18" fmla="*/ 0 w 106"/>
                <a:gd name="T19" fmla="*/ 0 h 49"/>
                <a:gd name="T20" fmla="*/ 0 w 106"/>
                <a:gd name="T21" fmla="*/ 0 h 49"/>
                <a:gd name="T22" fmla="*/ 0 w 106"/>
                <a:gd name="T23" fmla="*/ 0 h 49"/>
                <a:gd name="T24" fmla="*/ 0 w 106"/>
                <a:gd name="T25" fmla="*/ 0 h 49"/>
                <a:gd name="T26" fmla="*/ 0 w 106"/>
                <a:gd name="T27" fmla="*/ 0 h 49"/>
                <a:gd name="T28" fmla="*/ 0 w 106"/>
                <a:gd name="T29" fmla="*/ 0 h 49"/>
                <a:gd name="T30" fmla="*/ 0 w 106"/>
                <a:gd name="T31" fmla="*/ 1 h 49"/>
                <a:gd name="T32" fmla="*/ 1 w 106"/>
                <a:gd name="T33" fmla="*/ 1 h 49"/>
                <a:gd name="T34" fmla="*/ 1 w 106"/>
                <a:gd name="T35" fmla="*/ 1 h 49"/>
                <a:gd name="T36" fmla="*/ 1 w 106"/>
                <a:gd name="T37" fmla="*/ 1 h 49"/>
                <a:gd name="T38" fmla="*/ 1 w 106"/>
                <a:gd name="T39" fmla="*/ 1 h 49"/>
                <a:gd name="T40" fmla="*/ 1 w 106"/>
                <a:gd name="T41" fmla="*/ 1 h 49"/>
                <a:gd name="T42" fmla="*/ 1 w 106"/>
                <a:gd name="T43" fmla="*/ 0 h 49"/>
                <a:gd name="T44" fmla="*/ 1 w 106"/>
                <a:gd name="T45" fmla="*/ 0 h 49"/>
                <a:gd name="T46" fmla="*/ 1 w 106"/>
                <a:gd name="T47" fmla="*/ 0 h 49"/>
                <a:gd name="T48" fmla="*/ 1 w 106"/>
                <a:gd name="T49" fmla="*/ 0 h 49"/>
                <a:gd name="T50" fmla="*/ 1 w 106"/>
                <a:gd name="T51" fmla="*/ 0 h 49"/>
                <a:gd name="T52" fmla="*/ 1 w 106"/>
                <a:gd name="T53" fmla="*/ 0 h 49"/>
                <a:gd name="T54" fmla="*/ 1 w 106"/>
                <a:gd name="T55" fmla="*/ 0 h 49"/>
                <a:gd name="T56" fmla="*/ 1 w 106"/>
                <a:gd name="T57" fmla="*/ 0 h 49"/>
                <a:gd name="T58" fmla="*/ 1 w 106"/>
                <a:gd name="T59" fmla="*/ 0 h 49"/>
                <a:gd name="T60" fmla="*/ 1 w 106"/>
                <a:gd name="T61" fmla="*/ 0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9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0 h 22"/>
                <a:gd name="T2" fmla="*/ 0 w 47"/>
                <a:gd name="T3" fmla="*/ 0 h 22"/>
                <a:gd name="T4" fmla="*/ 0 w 47"/>
                <a:gd name="T5" fmla="*/ 0 h 22"/>
                <a:gd name="T6" fmla="*/ 0 w 47"/>
                <a:gd name="T7" fmla="*/ 0 h 22"/>
                <a:gd name="T8" fmla="*/ 0 w 47"/>
                <a:gd name="T9" fmla="*/ 0 h 22"/>
                <a:gd name="T10" fmla="*/ 0 w 47"/>
                <a:gd name="T11" fmla="*/ 0 h 22"/>
                <a:gd name="T12" fmla="*/ 0 w 47"/>
                <a:gd name="T13" fmla="*/ 0 h 22"/>
                <a:gd name="T14" fmla="*/ 0 w 47"/>
                <a:gd name="T15" fmla="*/ 0 h 22"/>
                <a:gd name="T16" fmla="*/ 0 w 47"/>
                <a:gd name="T17" fmla="*/ 0 h 22"/>
                <a:gd name="T18" fmla="*/ 0 w 47"/>
                <a:gd name="T19" fmla="*/ 0 h 22"/>
                <a:gd name="T20" fmla="*/ 1 w 47"/>
                <a:gd name="T21" fmla="*/ 0 h 22"/>
                <a:gd name="T22" fmla="*/ 0 w 47"/>
                <a:gd name="T23" fmla="*/ 0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0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 w 53"/>
                <a:gd name="T1" fmla="*/ 0 h 32"/>
                <a:gd name="T2" fmla="*/ 0 w 53"/>
                <a:gd name="T3" fmla="*/ 0 h 32"/>
                <a:gd name="T4" fmla="*/ 0 w 53"/>
                <a:gd name="T5" fmla="*/ 0 h 32"/>
                <a:gd name="T6" fmla="*/ 0 w 53"/>
                <a:gd name="T7" fmla="*/ 0 h 32"/>
                <a:gd name="T8" fmla="*/ 0 w 53"/>
                <a:gd name="T9" fmla="*/ 0 h 32"/>
                <a:gd name="T10" fmla="*/ 0 w 53"/>
                <a:gd name="T11" fmla="*/ 0 h 32"/>
                <a:gd name="T12" fmla="*/ 0 w 53"/>
                <a:gd name="T13" fmla="*/ 0 h 32"/>
                <a:gd name="T14" fmla="*/ 0 w 53"/>
                <a:gd name="T15" fmla="*/ 0 h 32"/>
                <a:gd name="T16" fmla="*/ 1 w 53"/>
                <a:gd name="T17" fmla="*/ 0 h 32"/>
                <a:gd name="T18" fmla="*/ 1 w 53"/>
                <a:gd name="T19" fmla="*/ 0 h 32"/>
                <a:gd name="T20" fmla="*/ 1 w 53"/>
                <a:gd name="T21" fmla="*/ 0 h 32"/>
                <a:gd name="T22" fmla="*/ 1 w 53"/>
                <a:gd name="T23" fmla="*/ 0 h 32"/>
                <a:gd name="T24" fmla="*/ 1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1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0 w 46"/>
                <a:gd name="T1" fmla="*/ 0 h 34"/>
                <a:gd name="T2" fmla="*/ 0 w 46"/>
                <a:gd name="T3" fmla="*/ 0 h 34"/>
                <a:gd name="T4" fmla="*/ 0 w 46"/>
                <a:gd name="T5" fmla="*/ 0 h 34"/>
                <a:gd name="T6" fmla="*/ 0 w 46"/>
                <a:gd name="T7" fmla="*/ 0 h 34"/>
                <a:gd name="T8" fmla="*/ 0 w 46"/>
                <a:gd name="T9" fmla="*/ 0 h 34"/>
                <a:gd name="T10" fmla="*/ 0 w 46"/>
                <a:gd name="T11" fmla="*/ 0 h 34"/>
                <a:gd name="T12" fmla="*/ 0 w 46"/>
                <a:gd name="T13" fmla="*/ 0 h 34"/>
                <a:gd name="T14" fmla="*/ 0 w 46"/>
                <a:gd name="T15" fmla="*/ 0 h 34"/>
                <a:gd name="T16" fmla="*/ 0 w 46"/>
                <a:gd name="T17" fmla="*/ 0 h 34"/>
                <a:gd name="T18" fmla="*/ 0 w 46"/>
                <a:gd name="T19" fmla="*/ 0 h 34"/>
                <a:gd name="T20" fmla="*/ 0 w 46"/>
                <a:gd name="T21" fmla="*/ 0 h 34"/>
                <a:gd name="T22" fmla="*/ 0 w 46"/>
                <a:gd name="T23" fmla="*/ 0 h 34"/>
                <a:gd name="T24" fmla="*/ 0 w 46"/>
                <a:gd name="T25" fmla="*/ 0 h 34"/>
                <a:gd name="T26" fmla="*/ 0 w 46"/>
                <a:gd name="T27" fmla="*/ 0 h 34"/>
                <a:gd name="T28" fmla="*/ 0 w 46"/>
                <a:gd name="T29" fmla="*/ 0 h 34"/>
                <a:gd name="T30" fmla="*/ 0 w 46"/>
                <a:gd name="T31" fmla="*/ 0 h 34"/>
                <a:gd name="T32" fmla="*/ 0 w 46"/>
                <a:gd name="T33" fmla="*/ 0 h 34"/>
                <a:gd name="T34" fmla="*/ 0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2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0 h 25"/>
                <a:gd name="T2" fmla="*/ 0 w 48"/>
                <a:gd name="T3" fmla="*/ 0 h 25"/>
                <a:gd name="T4" fmla="*/ 0 w 48"/>
                <a:gd name="T5" fmla="*/ 0 h 25"/>
                <a:gd name="T6" fmla="*/ 0 w 48"/>
                <a:gd name="T7" fmla="*/ 0 h 25"/>
                <a:gd name="T8" fmla="*/ 0 w 48"/>
                <a:gd name="T9" fmla="*/ 0 h 25"/>
                <a:gd name="T10" fmla="*/ 0 w 48"/>
                <a:gd name="T11" fmla="*/ 0 h 25"/>
                <a:gd name="T12" fmla="*/ 0 w 48"/>
                <a:gd name="T13" fmla="*/ 0 h 25"/>
                <a:gd name="T14" fmla="*/ 1 w 48"/>
                <a:gd name="T15" fmla="*/ 0 h 25"/>
                <a:gd name="T16" fmla="*/ 1 w 48"/>
                <a:gd name="T17" fmla="*/ 0 h 25"/>
                <a:gd name="T18" fmla="*/ 0 w 48"/>
                <a:gd name="T19" fmla="*/ 0 h 25"/>
                <a:gd name="T20" fmla="*/ 0 w 48"/>
                <a:gd name="T21" fmla="*/ 0 h 25"/>
                <a:gd name="T22" fmla="*/ 0 w 48"/>
                <a:gd name="T23" fmla="*/ 0 h 25"/>
                <a:gd name="T24" fmla="*/ 0 w 48"/>
                <a:gd name="T25" fmla="*/ 0 h 25"/>
                <a:gd name="T26" fmla="*/ 0 w 48"/>
                <a:gd name="T27" fmla="*/ 0 h 25"/>
                <a:gd name="T28" fmla="*/ 0 w 48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3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0 h 37"/>
                <a:gd name="T4" fmla="*/ 0 w 30"/>
                <a:gd name="T5" fmla="*/ 0 h 37"/>
                <a:gd name="T6" fmla="*/ 0 w 30"/>
                <a:gd name="T7" fmla="*/ 0 h 37"/>
                <a:gd name="T8" fmla="*/ 0 w 30"/>
                <a:gd name="T9" fmla="*/ 0 h 37"/>
                <a:gd name="T10" fmla="*/ 0 w 30"/>
                <a:gd name="T11" fmla="*/ 0 h 37"/>
                <a:gd name="T12" fmla="*/ 0 w 30"/>
                <a:gd name="T13" fmla="*/ 0 h 37"/>
                <a:gd name="T14" fmla="*/ 0 w 30"/>
                <a:gd name="T15" fmla="*/ 0 h 37"/>
                <a:gd name="T16" fmla="*/ 0 w 30"/>
                <a:gd name="T17" fmla="*/ 0 h 37"/>
                <a:gd name="T18" fmla="*/ 0 w 30"/>
                <a:gd name="T19" fmla="*/ 0 h 37"/>
                <a:gd name="T20" fmla="*/ 0 w 30"/>
                <a:gd name="T21" fmla="*/ 0 h 37"/>
                <a:gd name="T22" fmla="*/ 0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4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0 w 113"/>
                <a:gd name="T1" fmla="*/ 0 h 46"/>
                <a:gd name="T2" fmla="*/ 0 w 113"/>
                <a:gd name="T3" fmla="*/ 0 h 46"/>
                <a:gd name="T4" fmla="*/ 0 w 113"/>
                <a:gd name="T5" fmla="*/ 0 h 46"/>
                <a:gd name="T6" fmla="*/ 0 w 113"/>
                <a:gd name="T7" fmla="*/ 0 h 46"/>
                <a:gd name="T8" fmla="*/ 0 w 113"/>
                <a:gd name="T9" fmla="*/ 0 h 46"/>
                <a:gd name="T10" fmla="*/ 0 w 113"/>
                <a:gd name="T11" fmla="*/ 0 h 46"/>
                <a:gd name="T12" fmla="*/ 0 w 113"/>
                <a:gd name="T13" fmla="*/ 0 h 46"/>
                <a:gd name="T14" fmla="*/ 0 w 113"/>
                <a:gd name="T15" fmla="*/ 0 h 46"/>
                <a:gd name="T16" fmla="*/ 0 w 113"/>
                <a:gd name="T17" fmla="*/ 0 h 46"/>
                <a:gd name="T18" fmla="*/ 0 w 113"/>
                <a:gd name="T19" fmla="*/ 1 h 46"/>
                <a:gd name="T20" fmla="*/ 0 w 113"/>
                <a:gd name="T21" fmla="*/ 1 h 46"/>
                <a:gd name="T22" fmla="*/ 0 w 113"/>
                <a:gd name="T23" fmla="*/ 1 h 46"/>
                <a:gd name="T24" fmla="*/ 0 w 113"/>
                <a:gd name="T25" fmla="*/ 1 h 46"/>
                <a:gd name="T26" fmla="*/ 0 w 113"/>
                <a:gd name="T27" fmla="*/ 1 h 46"/>
                <a:gd name="T28" fmla="*/ 0 w 113"/>
                <a:gd name="T29" fmla="*/ 1 h 46"/>
                <a:gd name="T30" fmla="*/ 1 w 113"/>
                <a:gd name="T31" fmla="*/ 1 h 46"/>
                <a:gd name="T32" fmla="*/ 1 w 113"/>
                <a:gd name="T33" fmla="*/ 1 h 46"/>
                <a:gd name="T34" fmla="*/ 1 w 113"/>
                <a:gd name="T35" fmla="*/ 1 h 46"/>
                <a:gd name="T36" fmla="*/ 1 w 113"/>
                <a:gd name="T37" fmla="*/ 1 h 46"/>
                <a:gd name="T38" fmla="*/ 1 w 113"/>
                <a:gd name="T39" fmla="*/ 1 h 46"/>
                <a:gd name="T40" fmla="*/ 1 w 113"/>
                <a:gd name="T41" fmla="*/ 0 h 46"/>
                <a:gd name="T42" fmla="*/ 1 w 113"/>
                <a:gd name="T43" fmla="*/ 0 h 46"/>
                <a:gd name="T44" fmla="*/ 1 w 113"/>
                <a:gd name="T45" fmla="*/ 0 h 46"/>
                <a:gd name="T46" fmla="*/ 1 w 113"/>
                <a:gd name="T47" fmla="*/ 0 h 46"/>
                <a:gd name="T48" fmla="*/ 1 w 113"/>
                <a:gd name="T49" fmla="*/ 0 h 46"/>
                <a:gd name="T50" fmla="*/ 1 w 113"/>
                <a:gd name="T51" fmla="*/ 0 h 46"/>
                <a:gd name="T52" fmla="*/ 1 w 113"/>
                <a:gd name="T53" fmla="*/ 0 h 46"/>
                <a:gd name="T54" fmla="*/ 1 w 113"/>
                <a:gd name="T55" fmla="*/ 0 h 46"/>
                <a:gd name="T56" fmla="*/ 1 w 113"/>
                <a:gd name="T57" fmla="*/ 0 h 46"/>
                <a:gd name="T58" fmla="*/ 1 w 113"/>
                <a:gd name="T59" fmla="*/ 0 h 46"/>
                <a:gd name="T60" fmla="*/ 0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5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1 h 82"/>
                <a:gd name="T2" fmla="*/ 0 w 153"/>
                <a:gd name="T3" fmla="*/ 1 h 82"/>
                <a:gd name="T4" fmla="*/ 0 w 153"/>
                <a:gd name="T5" fmla="*/ 1 h 82"/>
                <a:gd name="T6" fmla="*/ 0 w 153"/>
                <a:gd name="T7" fmla="*/ 1 h 82"/>
                <a:gd name="T8" fmla="*/ 0 w 153"/>
                <a:gd name="T9" fmla="*/ 1 h 82"/>
                <a:gd name="T10" fmla="*/ 0 w 153"/>
                <a:gd name="T11" fmla="*/ 1 h 82"/>
                <a:gd name="T12" fmla="*/ 0 w 153"/>
                <a:gd name="T13" fmla="*/ 1 h 82"/>
                <a:gd name="T14" fmla="*/ 0 w 153"/>
                <a:gd name="T15" fmla="*/ 1 h 82"/>
                <a:gd name="T16" fmla="*/ 1 w 153"/>
                <a:gd name="T17" fmla="*/ 1 h 82"/>
                <a:gd name="T18" fmla="*/ 1 w 153"/>
                <a:gd name="T19" fmla="*/ 1 h 82"/>
                <a:gd name="T20" fmla="*/ 1 w 153"/>
                <a:gd name="T21" fmla="*/ 1 h 82"/>
                <a:gd name="T22" fmla="*/ 1 w 153"/>
                <a:gd name="T23" fmla="*/ 1 h 82"/>
                <a:gd name="T24" fmla="*/ 1 w 153"/>
                <a:gd name="T25" fmla="*/ 1 h 82"/>
                <a:gd name="T26" fmla="*/ 1 w 153"/>
                <a:gd name="T27" fmla="*/ 1 h 82"/>
                <a:gd name="T28" fmla="*/ 1 w 153"/>
                <a:gd name="T29" fmla="*/ 1 h 82"/>
                <a:gd name="T30" fmla="*/ 1 w 153"/>
                <a:gd name="T31" fmla="*/ 1 h 82"/>
                <a:gd name="T32" fmla="*/ 1 w 153"/>
                <a:gd name="T33" fmla="*/ 0 h 82"/>
                <a:gd name="T34" fmla="*/ 1 w 153"/>
                <a:gd name="T35" fmla="*/ 0 h 82"/>
                <a:gd name="T36" fmla="*/ 2 w 153"/>
                <a:gd name="T37" fmla="*/ 0 h 82"/>
                <a:gd name="T38" fmla="*/ 2 w 153"/>
                <a:gd name="T39" fmla="*/ 0 h 82"/>
                <a:gd name="T40" fmla="*/ 2 w 153"/>
                <a:gd name="T41" fmla="*/ 0 h 82"/>
                <a:gd name="T42" fmla="*/ 1 w 153"/>
                <a:gd name="T43" fmla="*/ 0 h 82"/>
                <a:gd name="T44" fmla="*/ 1 w 153"/>
                <a:gd name="T45" fmla="*/ 0 h 82"/>
                <a:gd name="T46" fmla="*/ 1 w 153"/>
                <a:gd name="T47" fmla="*/ 0 h 82"/>
                <a:gd name="T48" fmla="*/ 1 w 153"/>
                <a:gd name="T49" fmla="*/ 0 h 82"/>
                <a:gd name="T50" fmla="*/ 1 w 153"/>
                <a:gd name="T51" fmla="*/ 0 h 82"/>
                <a:gd name="T52" fmla="*/ 1 w 153"/>
                <a:gd name="T53" fmla="*/ 0 h 82"/>
                <a:gd name="T54" fmla="*/ 1 w 153"/>
                <a:gd name="T55" fmla="*/ 0 h 82"/>
                <a:gd name="T56" fmla="*/ 0 w 153"/>
                <a:gd name="T57" fmla="*/ 0 h 82"/>
                <a:gd name="T58" fmla="*/ 0 w 153"/>
                <a:gd name="T59" fmla="*/ 0 h 82"/>
                <a:gd name="T60" fmla="*/ 0 w 153"/>
                <a:gd name="T61" fmla="*/ 0 h 82"/>
                <a:gd name="T62" fmla="*/ 0 w 153"/>
                <a:gd name="T63" fmla="*/ 0 h 82"/>
                <a:gd name="T64" fmla="*/ 0 w 153"/>
                <a:gd name="T65" fmla="*/ 0 h 82"/>
                <a:gd name="T66" fmla="*/ 0 w 153"/>
                <a:gd name="T67" fmla="*/ 0 h 82"/>
                <a:gd name="T68" fmla="*/ 0 w 153"/>
                <a:gd name="T69" fmla="*/ 0 h 82"/>
                <a:gd name="T70" fmla="*/ 0 w 153"/>
                <a:gd name="T71" fmla="*/ 0 h 82"/>
                <a:gd name="T72" fmla="*/ 0 w 153"/>
                <a:gd name="T73" fmla="*/ 0 h 82"/>
                <a:gd name="T74" fmla="*/ 0 w 153"/>
                <a:gd name="T75" fmla="*/ 0 h 82"/>
                <a:gd name="T76" fmla="*/ 1 w 153"/>
                <a:gd name="T77" fmla="*/ 0 h 82"/>
                <a:gd name="T78" fmla="*/ 0 w 153"/>
                <a:gd name="T79" fmla="*/ 1 h 82"/>
                <a:gd name="T80" fmla="*/ 0 w 153"/>
                <a:gd name="T81" fmla="*/ 1 h 82"/>
                <a:gd name="T82" fmla="*/ 0 w 153"/>
                <a:gd name="T83" fmla="*/ 1 h 82"/>
                <a:gd name="T84" fmla="*/ 0 w 153"/>
                <a:gd name="T85" fmla="*/ 1 h 82"/>
                <a:gd name="T86" fmla="*/ 0 w 153"/>
                <a:gd name="T87" fmla="*/ 1 h 82"/>
                <a:gd name="T88" fmla="*/ 0 w 153"/>
                <a:gd name="T89" fmla="*/ 1 h 82"/>
                <a:gd name="T90" fmla="*/ 0 w 153"/>
                <a:gd name="T91" fmla="*/ 1 h 82"/>
                <a:gd name="T92" fmla="*/ 0 w 153"/>
                <a:gd name="T93" fmla="*/ 1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6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0 h 50"/>
                <a:gd name="T2" fmla="*/ 0 w 86"/>
                <a:gd name="T3" fmla="*/ 1 h 50"/>
                <a:gd name="T4" fmla="*/ 0 w 86"/>
                <a:gd name="T5" fmla="*/ 1 h 50"/>
                <a:gd name="T6" fmla="*/ 0 w 86"/>
                <a:gd name="T7" fmla="*/ 1 h 50"/>
                <a:gd name="T8" fmla="*/ 0 w 86"/>
                <a:gd name="T9" fmla="*/ 1 h 50"/>
                <a:gd name="T10" fmla="*/ 0 w 86"/>
                <a:gd name="T11" fmla="*/ 1 h 50"/>
                <a:gd name="T12" fmla="*/ 1 w 86"/>
                <a:gd name="T13" fmla="*/ 1 h 50"/>
                <a:gd name="T14" fmla="*/ 1 w 86"/>
                <a:gd name="T15" fmla="*/ 1 h 50"/>
                <a:gd name="T16" fmla="*/ 1 w 86"/>
                <a:gd name="T17" fmla="*/ 1 h 50"/>
                <a:gd name="T18" fmla="*/ 1 w 86"/>
                <a:gd name="T19" fmla="*/ 1 h 50"/>
                <a:gd name="T20" fmla="*/ 1 w 86"/>
                <a:gd name="T21" fmla="*/ 1 h 50"/>
                <a:gd name="T22" fmla="*/ 1 w 86"/>
                <a:gd name="T23" fmla="*/ 1 h 50"/>
                <a:gd name="T24" fmla="*/ 1 w 86"/>
                <a:gd name="T25" fmla="*/ 0 h 50"/>
                <a:gd name="T26" fmla="*/ 1 w 86"/>
                <a:gd name="T27" fmla="*/ 0 h 50"/>
                <a:gd name="T28" fmla="*/ 1 w 86"/>
                <a:gd name="T29" fmla="*/ 0 h 50"/>
                <a:gd name="T30" fmla="*/ 1 w 86"/>
                <a:gd name="T31" fmla="*/ 0 h 50"/>
                <a:gd name="T32" fmla="*/ 1 w 86"/>
                <a:gd name="T33" fmla="*/ 0 h 50"/>
                <a:gd name="T34" fmla="*/ 1 w 86"/>
                <a:gd name="T35" fmla="*/ 0 h 50"/>
                <a:gd name="T36" fmla="*/ 1 w 86"/>
                <a:gd name="T37" fmla="*/ 0 h 50"/>
                <a:gd name="T38" fmla="*/ 1 w 86"/>
                <a:gd name="T39" fmla="*/ 0 h 50"/>
                <a:gd name="T40" fmla="*/ 1 w 86"/>
                <a:gd name="T41" fmla="*/ 0 h 50"/>
                <a:gd name="T42" fmla="*/ 0 w 86"/>
                <a:gd name="T43" fmla="*/ 0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7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 w 172"/>
                <a:gd name="T1" fmla="*/ 1 h 74"/>
                <a:gd name="T2" fmla="*/ 1 w 172"/>
                <a:gd name="T3" fmla="*/ 1 h 74"/>
                <a:gd name="T4" fmla="*/ 1 w 172"/>
                <a:gd name="T5" fmla="*/ 1 h 74"/>
                <a:gd name="T6" fmla="*/ 1 w 172"/>
                <a:gd name="T7" fmla="*/ 1 h 74"/>
                <a:gd name="T8" fmla="*/ 1 w 172"/>
                <a:gd name="T9" fmla="*/ 1 h 74"/>
                <a:gd name="T10" fmla="*/ 1 w 172"/>
                <a:gd name="T11" fmla="*/ 1 h 74"/>
                <a:gd name="T12" fmla="*/ 0 w 172"/>
                <a:gd name="T13" fmla="*/ 1 h 74"/>
                <a:gd name="T14" fmla="*/ 0 w 172"/>
                <a:gd name="T15" fmla="*/ 1 h 74"/>
                <a:gd name="T16" fmla="*/ 0 w 172"/>
                <a:gd name="T17" fmla="*/ 1 h 74"/>
                <a:gd name="T18" fmla="*/ 0 w 172"/>
                <a:gd name="T19" fmla="*/ 1 h 74"/>
                <a:gd name="T20" fmla="*/ 0 w 172"/>
                <a:gd name="T21" fmla="*/ 1 h 74"/>
                <a:gd name="T22" fmla="*/ 0 w 172"/>
                <a:gd name="T23" fmla="*/ 1 h 74"/>
                <a:gd name="T24" fmla="*/ 0 w 172"/>
                <a:gd name="T25" fmla="*/ 1 h 74"/>
                <a:gd name="T26" fmla="*/ 0 w 172"/>
                <a:gd name="T27" fmla="*/ 1 h 74"/>
                <a:gd name="T28" fmla="*/ 0 w 172"/>
                <a:gd name="T29" fmla="*/ 0 h 74"/>
                <a:gd name="T30" fmla="*/ 0 w 172"/>
                <a:gd name="T31" fmla="*/ 0 h 74"/>
                <a:gd name="T32" fmla="*/ 0 w 172"/>
                <a:gd name="T33" fmla="*/ 0 h 74"/>
                <a:gd name="T34" fmla="*/ 0 w 172"/>
                <a:gd name="T35" fmla="*/ 0 h 74"/>
                <a:gd name="T36" fmla="*/ 0 w 172"/>
                <a:gd name="T37" fmla="*/ 0 h 74"/>
                <a:gd name="T38" fmla="*/ 0 w 172"/>
                <a:gd name="T39" fmla="*/ 0 h 74"/>
                <a:gd name="T40" fmla="*/ 0 w 172"/>
                <a:gd name="T41" fmla="*/ 0 h 74"/>
                <a:gd name="T42" fmla="*/ 0 w 172"/>
                <a:gd name="T43" fmla="*/ 0 h 74"/>
                <a:gd name="T44" fmla="*/ 0 w 172"/>
                <a:gd name="T45" fmla="*/ 0 h 74"/>
                <a:gd name="T46" fmla="*/ 0 w 172"/>
                <a:gd name="T47" fmla="*/ 0 h 74"/>
                <a:gd name="T48" fmla="*/ 0 w 172"/>
                <a:gd name="T49" fmla="*/ 0 h 74"/>
                <a:gd name="T50" fmla="*/ 0 w 172"/>
                <a:gd name="T51" fmla="*/ 0 h 74"/>
                <a:gd name="T52" fmla="*/ 1 w 172"/>
                <a:gd name="T53" fmla="*/ 0 h 74"/>
                <a:gd name="T54" fmla="*/ 1 w 172"/>
                <a:gd name="T55" fmla="*/ 0 h 74"/>
                <a:gd name="T56" fmla="*/ 1 w 172"/>
                <a:gd name="T57" fmla="*/ 0 h 74"/>
                <a:gd name="T58" fmla="*/ 1 w 172"/>
                <a:gd name="T59" fmla="*/ 0 h 74"/>
                <a:gd name="T60" fmla="*/ 1 w 172"/>
                <a:gd name="T61" fmla="*/ 0 h 74"/>
                <a:gd name="T62" fmla="*/ 1 w 172"/>
                <a:gd name="T63" fmla="*/ 0 h 74"/>
                <a:gd name="T64" fmla="*/ 1 w 172"/>
                <a:gd name="T65" fmla="*/ 0 h 74"/>
                <a:gd name="T66" fmla="*/ 1 w 172"/>
                <a:gd name="T67" fmla="*/ 0 h 74"/>
                <a:gd name="T68" fmla="*/ 2 w 172"/>
                <a:gd name="T69" fmla="*/ 0 h 74"/>
                <a:gd name="T70" fmla="*/ 2 w 172"/>
                <a:gd name="T71" fmla="*/ 0 h 74"/>
                <a:gd name="T72" fmla="*/ 2 w 172"/>
                <a:gd name="T73" fmla="*/ 0 h 74"/>
                <a:gd name="T74" fmla="*/ 2 w 172"/>
                <a:gd name="T75" fmla="*/ 1 h 74"/>
                <a:gd name="T76" fmla="*/ 2 w 172"/>
                <a:gd name="T77" fmla="*/ 1 h 74"/>
                <a:gd name="T78" fmla="*/ 2 w 172"/>
                <a:gd name="T79" fmla="*/ 1 h 74"/>
                <a:gd name="T80" fmla="*/ 2 w 172"/>
                <a:gd name="T81" fmla="*/ 1 h 74"/>
                <a:gd name="T82" fmla="*/ 2 w 172"/>
                <a:gd name="T83" fmla="*/ 1 h 74"/>
                <a:gd name="T84" fmla="*/ 2 w 172"/>
                <a:gd name="T85" fmla="*/ 1 h 74"/>
                <a:gd name="T86" fmla="*/ 2 w 172"/>
                <a:gd name="T87" fmla="*/ 1 h 74"/>
                <a:gd name="T88" fmla="*/ 2 w 172"/>
                <a:gd name="T89" fmla="*/ 1 h 74"/>
                <a:gd name="T90" fmla="*/ 1 w 172"/>
                <a:gd name="T91" fmla="*/ 1 h 74"/>
                <a:gd name="T92" fmla="*/ 1 w 172"/>
                <a:gd name="T93" fmla="*/ 1 h 74"/>
                <a:gd name="T94" fmla="*/ 1 w 172"/>
                <a:gd name="T95" fmla="*/ 1 h 74"/>
                <a:gd name="T96" fmla="*/ 1 w 172"/>
                <a:gd name="T97" fmla="*/ 1 h 74"/>
                <a:gd name="T98" fmla="*/ 1 w 172"/>
                <a:gd name="T99" fmla="*/ 1 h 74"/>
                <a:gd name="T100" fmla="*/ 1 w 172"/>
                <a:gd name="T101" fmla="*/ 1 h 74"/>
                <a:gd name="T102" fmla="*/ 1 w 172"/>
                <a:gd name="T103" fmla="*/ 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8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0 w 120"/>
                <a:gd name="T1" fmla="*/ 1 h 49"/>
                <a:gd name="T2" fmla="*/ 1 w 120"/>
                <a:gd name="T3" fmla="*/ 1 h 49"/>
                <a:gd name="T4" fmla="*/ 1 w 120"/>
                <a:gd name="T5" fmla="*/ 1 h 49"/>
                <a:gd name="T6" fmla="*/ 1 w 120"/>
                <a:gd name="T7" fmla="*/ 1 h 49"/>
                <a:gd name="T8" fmla="*/ 1 w 120"/>
                <a:gd name="T9" fmla="*/ 1 h 49"/>
                <a:gd name="T10" fmla="*/ 1 w 120"/>
                <a:gd name="T11" fmla="*/ 1 h 49"/>
                <a:gd name="T12" fmla="*/ 1 w 120"/>
                <a:gd name="T13" fmla="*/ 1 h 49"/>
                <a:gd name="T14" fmla="*/ 1 w 120"/>
                <a:gd name="T15" fmla="*/ 0 h 49"/>
                <a:gd name="T16" fmla="*/ 1 w 120"/>
                <a:gd name="T17" fmla="*/ 0 h 49"/>
                <a:gd name="T18" fmla="*/ 1 w 120"/>
                <a:gd name="T19" fmla="*/ 0 h 49"/>
                <a:gd name="T20" fmla="*/ 1 w 120"/>
                <a:gd name="T21" fmla="*/ 0 h 49"/>
                <a:gd name="T22" fmla="*/ 1 w 120"/>
                <a:gd name="T23" fmla="*/ 0 h 49"/>
                <a:gd name="T24" fmla="*/ 1 w 120"/>
                <a:gd name="T25" fmla="*/ 0 h 49"/>
                <a:gd name="T26" fmla="*/ 1 w 120"/>
                <a:gd name="T27" fmla="*/ 0 h 49"/>
                <a:gd name="T28" fmla="*/ 1 w 120"/>
                <a:gd name="T29" fmla="*/ 0 h 49"/>
                <a:gd name="T30" fmla="*/ 0 w 120"/>
                <a:gd name="T31" fmla="*/ 0 h 49"/>
                <a:gd name="T32" fmla="*/ 0 w 120"/>
                <a:gd name="T33" fmla="*/ 0 h 49"/>
                <a:gd name="T34" fmla="*/ 0 w 120"/>
                <a:gd name="T35" fmla="*/ 0 h 49"/>
                <a:gd name="T36" fmla="*/ 0 w 120"/>
                <a:gd name="T37" fmla="*/ 0 h 49"/>
                <a:gd name="T38" fmla="*/ 0 w 120"/>
                <a:gd name="T39" fmla="*/ 0 h 49"/>
                <a:gd name="T40" fmla="*/ 0 w 120"/>
                <a:gd name="T41" fmla="*/ 0 h 49"/>
                <a:gd name="T42" fmla="*/ 0 w 120"/>
                <a:gd name="T43" fmla="*/ 1 h 49"/>
                <a:gd name="T44" fmla="*/ 0 w 120"/>
                <a:gd name="T45" fmla="*/ 1 h 49"/>
                <a:gd name="T46" fmla="*/ 0 w 120"/>
                <a:gd name="T47" fmla="*/ 1 h 49"/>
                <a:gd name="T48" fmla="*/ 0 w 120"/>
                <a:gd name="T49" fmla="*/ 1 h 49"/>
                <a:gd name="T50" fmla="*/ 0 w 120"/>
                <a:gd name="T51" fmla="*/ 1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9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0 w 85"/>
                <a:gd name="T1" fmla="*/ 0 h 61"/>
                <a:gd name="T2" fmla="*/ 0 w 85"/>
                <a:gd name="T3" fmla="*/ 0 h 61"/>
                <a:gd name="T4" fmla="*/ 0 w 85"/>
                <a:gd name="T5" fmla="*/ 0 h 61"/>
                <a:gd name="T6" fmla="*/ 0 w 85"/>
                <a:gd name="T7" fmla="*/ 0 h 61"/>
                <a:gd name="T8" fmla="*/ 0 w 85"/>
                <a:gd name="T9" fmla="*/ 0 h 61"/>
                <a:gd name="T10" fmla="*/ 0 w 85"/>
                <a:gd name="T11" fmla="*/ 0 h 61"/>
                <a:gd name="T12" fmla="*/ 0 w 85"/>
                <a:gd name="T13" fmla="*/ 0 h 61"/>
                <a:gd name="T14" fmla="*/ 0 w 85"/>
                <a:gd name="T15" fmla="*/ 0 h 61"/>
                <a:gd name="T16" fmla="*/ 0 w 85"/>
                <a:gd name="T17" fmla="*/ 0 h 61"/>
                <a:gd name="T18" fmla="*/ 0 w 85"/>
                <a:gd name="T19" fmla="*/ 0 h 61"/>
                <a:gd name="T20" fmla="*/ 0 w 85"/>
                <a:gd name="T21" fmla="*/ 0 h 61"/>
                <a:gd name="T22" fmla="*/ 0 w 85"/>
                <a:gd name="T23" fmla="*/ 1 h 61"/>
                <a:gd name="T24" fmla="*/ 0 w 85"/>
                <a:gd name="T25" fmla="*/ 1 h 61"/>
                <a:gd name="T26" fmla="*/ 0 w 85"/>
                <a:gd name="T27" fmla="*/ 1 h 61"/>
                <a:gd name="T28" fmla="*/ 0 w 85"/>
                <a:gd name="T29" fmla="*/ 1 h 61"/>
                <a:gd name="T30" fmla="*/ 0 w 85"/>
                <a:gd name="T31" fmla="*/ 1 h 61"/>
                <a:gd name="T32" fmla="*/ 1 w 85"/>
                <a:gd name="T33" fmla="*/ 1 h 61"/>
                <a:gd name="T34" fmla="*/ 1 w 85"/>
                <a:gd name="T35" fmla="*/ 1 h 61"/>
                <a:gd name="T36" fmla="*/ 1 w 85"/>
                <a:gd name="T37" fmla="*/ 1 h 61"/>
                <a:gd name="T38" fmla="*/ 1 w 85"/>
                <a:gd name="T39" fmla="*/ 1 h 61"/>
                <a:gd name="T40" fmla="*/ 1 w 85"/>
                <a:gd name="T41" fmla="*/ 1 h 61"/>
                <a:gd name="T42" fmla="*/ 1 w 85"/>
                <a:gd name="T43" fmla="*/ 1 h 61"/>
                <a:gd name="T44" fmla="*/ 1 w 85"/>
                <a:gd name="T45" fmla="*/ 1 h 61"/>
                <a:gd name="T46" fmla="*/ 1 w 85"/>
                <a:gd name="T47" fmla="*/ 0 h 61"/>
                <a:gd name="T48" fmla="*/ 1 w 85"/>
                <a:gd name="T49" fmla="*/ 0 h 61"/>
                <a:gd name="T50" fmla="*/ 1 w 85"/>
                <a:gd name="T51" fmla="*/ 0 h 61"/>
                <a:gd name="T52" fmla="*/ 1 w 85"/>
                <a:gd name="T53" fmla="*/ 0 h 61"/>
                <a:gd name="T54" fmla="*/ 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0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0 h 19"/>
                <a:gd name="T2" fmla="*/ 0 w 100"/>
                <a:gd name="T3" fmla="*/ 0 h 19"/>
                <a:gd name="T4" fmla="*/ 0 w 100"/>
                <a:gd name="T5" fmla="*/ 0 h 19"/>
                <a:gd name="T6" fmla="*/ 0 w 100"/>
                <a:gd name="T7" fmla="*/ 0 h 19"/>
                <a:gd name="T8" fmla="*/ 0 w 100"/>
                <a:gd name="T9" fmla="*/ 0 h 19"/>
                <a:gd name="T10" fmla="*/ 1 w 100"/>
                <a:gd name="T11" fmla="*/ 0 h 19"/>
                <a:gd name="T12" fmla="*/ 1 w 100"/>
                <a:gd name="T13" fmla="*/ 0 h 19"/>
                <a:gd name="T14" fmla="*/ 1 w 100"/>
                <a:gd name="T15" fmla="*/ 0 h 19"/>
                <a:gd name="T16" fmla="*/ 0 w 100"/>
                <a:gd name="T17" fmla="*/ 0 h 19"/>
                <a:gd name="T18" fmla="*/ 0 w 100"/>
                <a:gd name="T19" fmla="*/ 0 h 19"/>
                <a:gd name="T20" fmla="*/ 0 w 100"/>
                <a:gd name="T21" fmla="*/ 0 h 19"/>
                <a:gd name="T22" fmla="*/ 0 w 100"/>
                <a:gd name="T23" fmla="*/ 0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1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0 h 45"/>
                <a:gd name="T2" fmla="*/ 0 w 166"/>
                <a:gd name="T3" fmla="*/ 0 h 45"/>
                <a:gd name="T4" fmla="*/ 0 w 166"/>
                <a:gd name="T5" fmla="*/ 0 h 45"/>
                <a:gd name="T6" fmla="*/ 0 w 166"/>
                <a:gd name="T7" fmla="*/ 0 h 45"/>
                <a:gd name="T8" fmla="*/ 0 w 166"/>
                <a:gd name="T9" fmla="*/ 0 h 45"/>
                <a:gd name="T10" fmla="*/ 0 w 166"/>
                <a:gd name="T11" fmla="*/ 0 h 45"/>
                <a:gd name="T12" fmla="*/ 0 w 166"/>
                <a:gd name="T13" fmla="*/ 1 h 45"/>
                <a:gd name="T14" fmla="*/ 1 w 166"/>
                <a:gd name="T15" fmla="*/ 1 h 45"/>
                <a:gd name="T16" fmla="*/ 1 w 166"/>
                <a:gd name="T17" fmla="*/ 1 h 45"/>
                <a:gd name="T18" fmla="*/ 2 w 166"/>
                <a:gd name="T19" fmla="*/ 0 h 45"/>
                <a:gd name="T20" fmla="*/ 2 w 166"/>
                <a:gd name="T21" fmla="*/ 0 h 45"/>
                <a:gd name="T22" fmla="*/ 1 w 166"/>
                <a:gd name="T23" fmla="*/ 0 h 45"/>
                <a:gd name="T24" fmla="*/ 1 w 166"/>
                <a:gd name="T25" fmla="*/ 0 h 45"/>
                <a:gd name="T26" fmla="*/ 1 w 166"/>
                <a:gd name="T27" fmla="*/ 0 h 45"/>
                <a:gd name="T28" fmla="*/ 1 w 166"/>
                <a:gd name="T29" fmla="*/ 0 h 45"/>
                <a:gd name="T30" fmla="*/ 1 w 166"/>
                <a:gd name="T31" fmla="*/ 0 h 45"/>
                <a:gd name="T32" fmla="*/ 0 w 166"/>
                <a:gd name="T33" fmla="*/ 0 h 45"/>
                <a:gd name="T34" fmla="*/ 0 w 166"/>
                <a:gd name="T35" fmla="*/ 0 h 45"/>
                <a:gd name="T36" fmla="*/ 0 w 166"/>
                <a:gd name="T37" fmla="*/ 0 h 45"/>
                <a:gd name="T38" fmla="*/ 0 w 166"/>
                <a:gd name="T39" fmla="*/ 0 h 45"/>
                <a:gd name="T40" fmla="*/ 0 w 166"/>
                <a:gd name="T41" fmla="*/ 0 h 45"/>
                <a:gd name="T42" fmla="*/ 0 w 166"/>
                <a:gd name="T43" fmla="*/ 0 h 45"/>
                <a:gd name="T44" fmla="*/ 0 w 166"/>
                <a:gd name="T45" fmla="*/ 0 h 45"/>
                <a:gd name="T46" fmla="*/ 0 w 166"/>
                <a:gd name="T47" fmla="*/ 0 h 45"/>
                <a:gd name="T48" fmla="*/ 0 w 166"/>
                <a:gd name="T49" fmla="*/ 0 h 45"/>
                <a:gd name="T50" fmla="*/ 0 w 166"/>
                <a:gd name="T51" fmla="*/ 0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2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0 h 25"/>
                <a:gd name="T4" fmla="*/ 0 w 33"/>
                <a:gd name="T5" fmla="*/ 0 h 25"/>
                <a:gd name="T6" fmla="*/ 0 w 33"/>
                <a:gd name="T7" fmla="*/ 0 h 25"/>
                <a:gd name="T8" fmla="*/ 0 w 33"/>
                <a:gd name="T9" fmla="*/ 0 h 25"/>
                <a:gd name="T10" fmla="*/ 0 w 33"/>
                <a:gd name="T11" fmla="*/ 0 h 25"/>
                <a:gd name="T12" fmla="*/ 0 w 33"/>
                <a:gd name="T13" fmla="*/ 0 h 25"/>
                <a:gd name="T14" fmla="*/ 0 w 33"/>
                <a:gd name="T15" fmla="*/ 0 h 25"/>
                <a:gd name="T16" fmla="*/ 0 w 33"/>
                <a:gd name="T17" fmla="*/ 0 h 25"/>
                <a:gd name="T18" fmla="*/ 0 w 33"/>
                <a:gd name="T19" fmla="*/ 0 h 25"/>
                <a:gd name="T20" fmla="*/ 0 w 33"/>
                <a:gd name="T21" fmla="*/ 0 h 25"/>
                <a:gd name="T22" fmla="*/ 0 w 33"/>
                <a:gd name="T23" fmla="*/ 0 h 25"/>
                <a:gd name="T24" fmla="*/ 0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3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1 h 62"/>
                <a:gd name="T2" fmla="*/ 0 w 48"/>
                <a:gd name="T3" fmla="*/ 1 h 62"/>
                <a:gd name="T4" fmla="*/ 0 w 48"/>
                <a:gd name="T5" fmla="*/ 1 h 62"/>
                <a:gd name="T6" fmla="*/ 0 w 48"/>
                <a:gd name="T7" fmla="*/ 1 h 62"/>
                <a:gd name="T8" fmla="*/ 0 w 48"/>
                <a:gd name="T9" fmla="*/ 0 h 62"/>
                <a:gd name="T10" fmla="*/ 1 w 48"/>
                <a:gd name="T11" fmla="*/ 0 h 62"/>
                <a:gd name="T12" fmla="*/ 1 w 48"/>
                <a:gd name="T13" fmla="*/ 0 h 62"/>
                <a:gd name="T14" fmla="*/ 1 w 48"/>
                <a:gd name="T15" fmla="*/ 0 h 62"/>
                <a:gd name="T16" fmla="*/ 1 w 48"/>
                <a:gd name="T17" fmla="*/ 0 h 62"/>
                <a:gd name="T18" fmla="*/ 0 w 48"/>
                <a:gd name="T19" fmla="*/ 0 h 62"/>
                <a:gd name="T20" fmla="*/ 0 w 48"/>
                <a:gd name="T21" fmla="*/ 0 h 62"/>
                <a:gd name="T22" fmla="*/ 0 w 48"/>
                <a:gd name="T23" fmla="*/ 0 h 62"/>
                <a:gd name="T24" fmla="*/ 0 w 48"/>
                <a:gd name="T25" fmla="*/ 0 h 62"/>
                <a:gd name="T26" fmla="*/ 0 w 48"/>
                <a:gd name="T27" fmla="*/ 0 h 62"/>
                <a:gd name="T28" fmla="*/ 0 w 48"/>
                <a:gd name="T29" fmla="*/ 0 h 62"/>
                <a:gd name="T30" fmla="*/ 0 w 48"/>
                <a:gd name="T31" fmla="*/ 0 h 62"/>
                <a:gd name="T32" fmla="*/ 0 w 48"/>
                <a:gd name="T33" fmla="*/ 0 h 62"/>
                <a:gd name="T34" fmla="*/ 0 w 48"/>
                <a:gd name="T35" fmla="*/ 0 h 62"/>
                <a:gd name="T36" fmla="*/ 0 w 48"/>
                <a:gd name="T37" fmla="*/ 1 h 62"/>
                <a:gd name="T38" fmla="*/ 0 w 48"/>
                <a:gd name="T39" fmla="*/ 1 h 62"/>
                <a:gd name="T40" fmla="*/ 0 w 48"/>
                <a:gd name="T41" fmla="*/ 1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4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 w 113"/>
                <a:gd name="T1" fmla="*/ 0 h 62"/>
                <a:gd name="T2" fmla="*/ 0 w 113"/>
                <a:gd name="T3" fmla="*/ 0 h 62"/>
                <a:gd name="T4" fmla="*/ 0 w 113"/>
                <a:gd name="T5" fmla="*/ 0 h 62"/>
                <a:gd name="T6" fmla="*/ 0 w 113"/>
                <a:gd name="T7" fmla="*/ 0 h 62"/>
                <a:gd name="T8" fmla="*/ 0 w 113"/>
                <a:gd name="T9" fmla="*/ 0 h 62"/>
                <a:gd name="T10" fmla="*/ 0 w 113"/>
                <a:gd name="T11" fmla="*/ 1 h 62"/>
                <a:gd name="T12" fmla="*/ 0 w 113"/>
                <a:gd name="T13" fmla="*/ 1 h 62"/>
                <a:gd name="T14" fmla="*/ 1 w 113"/>
                <a:gd name="T15" fmla="*/ 1 h 62"/>
                <a:gd name="T16" fmla="*/ 1 w 113"/>
                <a:gd name="T17" fmla="*/ 1 h 62"/>
                <a:gd name="T18" fmla="*/ 1 w 113"/>
                <a:gd name="T19" fmla="*/ 1 h 62"/>
                <a:gd name="T20" fmla="*/ 1 w 113"/>
                <a:gd name="T21" fmla="*/ 1 h 62"/>
                <a:gd name="T22" fmla="*/ 1 w 113"/>
                <a:gd name="T23" fmla="*/ 1 h 62"/>
                <a:gd name="T24" fmla="*/ 1 w 113"/>
                <a:gd name="T25" fmla="*/ 1 h 62"/>
                <a:gd name="T26" fmla="*/ 1 w 113"/>
                <a:gd name="T27" fmla="*/ 1 h 62"/>
                <a:gd name="T28" fmla="*/ 1 w 113"/>
                <a:gd name="T29" fmla="*/ 1 h 62"/>
                <a:gd name="T30" fmla="*/ 1 w 113"/>
                <a:gd name="T31" fmla="*/ 1 h 62"/>
                <a:gd name="T32" fmla="*/ 1 w 113"/>
                <a:gd name="T33" fmla="*/ 1 h 62"/>
                <a:gd name="T34" fmla="*/ 1 w 113"/>
                <a:gd name="T35" fmla="*/ 0 h 62"/>
                <a:gd name="T36" fmla="*/ 1 w 113"/>
                <a:gd name="T37" fmla="*/ 0 h 62"/>
                <a:gd name="T38" fmla="*/ 1 w 113"/>
                <a:gd name="T39" fmla="*/ 0 h 62"/>
                <a:gd name="T40" fmla="*/ 1 w 113"/>
                <a:gd name="T41" fmla="*/ 0 h 62"/>
                <a:gd name="T42" fmla="*/ 1 w 113"/>
                <a:gd name="T43" fmla="*/ 0 h 62"/>
                <a:gd name="T44" fmla="*/ 1 w 113"/>
                <a:gd name="T45" fmla="*/ 0 h 62"/>
                <a:gd name="T46" fmla="*/ 1 w 113"/>
                <a:gd name="T47" fmla="*/ 0 h 62"/>
                <a:gd name="T48" fmla="*/ 1 w 113"/>
                <a:gd name="T49" fmla="*/ 0 h 62"/>
                <a:gd name="T50" fmla="*/ 1 w 113"/>
                <a:gd name="T51" fmla="*/ 0 h 62"/>
                <a:gd name="T52" fmla="*/ 1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5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0 w 93"/>
                <a:gd name="T3" fmla="*/ 0 h 50"/>
                <a:gd name="T4" fmla="*/ 0 w 93"/>
                <a:gd name="T5" fmla="*/ 0 h 50"/>
                <a:gd name="T6" fmla="*/ 0 w 93"/>
                <a:gd name="T7" fmla="*/ 0 h 50"/>
                <a:gd name="T8" fmla="*/ 1 w 93"/>
                <a:gd name="T9" fmla="*/ 0 h 50"/>
                <a:gd name="T10" fmla="*/ 1 w 93"/>
                <a:gd name="T11" fmla="*/ 0 h 50"/>
                <a:gd name="T12" fmla="*/ 1 w 93"/>
                <a:gd name="T13" fmla="*/ 0 h 50"/>
                <a:gd name="T14" fmla="*/ 1 w 93"/>
                <a:gd name="T15" fmla="*/ 0 h 50"/>
                <a:gd name="T16" fmla="*/ 1 w 93"/>
                <a:gd name="T17" fmla="*/ 0 h 50"/>
                <a:gd name="T18" fmla="*/ 1 w 93"/>
                <a:gd name="T19" fmla="*/ 0 h 50"/>
                <a:gd name="T20" fmla="*/ 1 w 93"/>
                <a:gd name="T21" fmla="*/ 0 h 50"/>
                <a:gd name="T22" fmla="*/ 1 w 93"/>
                <a:gd name="T23" fmla="*/ 0 h 50"/>
                <a:gd name="T24" fmla="*/ 1 w 93"/>
                <a:gd name="T25" fmla="*/ 0 h 50"/>
                <a:gd name="T26" fmla="*/ 1 w 93"/>
                <a:gd name="T27" fmla="*/ 0 h 50"/>
                <a:gd name="T28" fmla="*/ 1 w 93"/>
                <a:gd name="T29" fmla="*/ 0 h 50"/>
                <a:gd name="T30" fmla="*/ 1 w 93"/>
                <a:gd name="T31" fmla="*/ 0 h 50"/>
                <a:gd name="T32" fmla="*/ 1 w 93"/>
                <a:gd name="T33" fmla="*/ 0 h 50"/>
                <a:gd name="T34" fmla="*/ 0 w 93"/>
                <a:gd name="T35" fmla="*/ 0 h 50"/>
                <a:gd name="T36" fmla="*/ 0 w 93"/>
                <a:gd name="T37" fmla="*/ 1 h 50"/>
                <a:gd name="T38" fmla="*/ 0 w 93"/>
                <a:gd name="T39" fmla="*/ 1 h 50"/>
                <a:gd name="T40" fmla="*/ 0 w 93"/>
                <a:gd name="T41" fmla="*/ 0 h 50"/>
                <a:gd name="T42" fmla="*/ 0 w 93"/>
                <a:gd name="T43" fmla="*/ 0 h 50"/>
                <a:gd name="T44" fmla="*/ 0 w 93"/>
                <a:gd name="T45" fmla="*/ 0 h 50"/>
                <a:gd name="T46" fmla="*/ 0 w 93"/>
                <a:gd name="T47" fmla="*/ 0 h 50"/>
                <a:gd name="T48" fmla="*/ 0 w 93"/>
                <a:gd name="T49" fmla="*/ 0 h 50"/>
                <a:gd name="T50" fmla="*/ 0 w 93"/>
                <a:gd name="T51" fmla="*/ 0 h 50"/>
                <a:gd name="T52" fmla="*/ 0 w 93"/>
                <a:gd name="T53" fmla="*/ 0 h 50"/>
                <a:gd name="T54" fmla="*/ 0 w 93"/>
                <a:gd name="T55" fmla="*/ 0 h 50"/>
                <a:gd name="T56" fmla="*/ 0 w 93"/>
                <a:gd name="T57" fmla="*/ 0 h 50"/>
                <a:gd name="T58" fmla="*/ 0 w 93"/>
                <a:gd name="T59" fmla="*/ 0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6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0 w 1029"/>
                <a:gd name="T1" fmla="*/ 1 h 604"/>
                <a:gd name="T2" fmla="*/ 1 w 1029"/>
                <a:gd name="T3" fmla="*/ 1 h 604"/>
                <a:gd name="T4" fmla="*/ 3 w 1029"/>
                <a:gd name="T5" fmla="*/ 0 h 604"/>
                <a:gd name="T6" fmla="*/ 2 w 1029"/>
                <a:gd name="T7" fmla="*/ 1 h 604"/>
                <a:gd name="T8" fmla="*/ 2 w 1029"/>
                <a:gd name="T9" fmla="*/ 1 h 604"/>
                <a:gd name="T10" fmla="*/ 3 w 1029"/>
                <a:gd name="T11" fmla="*/ 1 h 604"/>
                <a:gd name="T12" fmla="*/ 4 w 1029"/>
                <a:gd name="T13" fmla="*/ 0 h 604"/>
                <a:gd name="T14" fmla="*/ 5 w 1029"/>
                <a:gd name="T15" fmla="*/ 0 h 604"/>
                <a:gd name="T16" fmla="*/ 5 w 1029"/>
                <a:gd name="T17" fmla="*/ 1 h 604"/>
                <a:gd name="T18" fmla="*/ 6 w 1029"/>
                <a:gd name="T19" fmla="*/ 1 h 604"/>
                <a:gd name="T20" fmla="*/ 7 w 1029"/>
                <a:gd name="T21" fmla="*/ 1 h 604"/>
                <a:gd name="T22" fmla="*/ 8 w 1029"/>
                <a:gd name="T23" fmla="*/ 1 h 604"/>
                <a:gd name="T24" fmla="*/ 8 w 1029"/>
                <a:gd name="T25" fmla="*/ 2 h 604"/>
                <a:gd name="T26" fmla="*/ 8 w 1029"/>
                <a:gd name="T27" fmla="*/ 2 h 604"/>
                <a:gd name="T28" fmla="*/ 9 w 1029"/>
                <a:gd name="T29" fmla="*/ 2 h 604"/>
                <a:gd name="T30" fmla="*/ 9 w 1029"/>
                <a:gd name="T31" fmla="*/ 2 h 604"/>
                <a:gd name="T32" fmla="*/ 9 w 1029"/>
                <a:gd name="T33" fmla="*/ 3 h 604"/>
                <a:gd name="T34" fmla="*/ 8 w 1029"/>
                <a:gd name="T35" fmla="*/ 3 h 604"/>
                <a:gd name="T36" fmla="*/ 9 w 1029"/>
                <a:gd name="T37" fmla="*/ 3 h 604"/>
                <a:gd name="T38" fmla="*/ 10 w 1029"/>
                <a:gd name="T39" fmla="*/ 4 h 604"/>
                <a:gd name="T40" fmla="*/ 10 w 1029"/>
                <a:gd name="T41" fmla="*/ 4 h 604"/>
                <a:gd name="T42" fmla="*/ 11 w 1029"/>
                <a:gd name="T43" fmla="*/ 4 h 604"/>
                <a:gd name="T44" fmla="*/ 10 w 1029"/>
                <a:gd name="T45" fmla="*/ 5 h 604"/>
                <a:gd name="T46" fmla="*/ 10 w 1029"/>
                <a:gd name="T47" fmla="*/ 5 h 604"/>
                <a:gd name="T48" fmla="*/ 9 w 1029"/>
                <a:gd name="T49" fmla="*/ 5 h 604"/>
                <a:gd name="T50" fmla="*/ 9 w 1029"/>
                <a:gd name="T51" fmla="*/ 5 h 604"/>
                <a:gd name="T52" fmla="*/ 9 w 1029"/>
                <a:gd name="T53" fmla="*/ 5 h 604"/>
                <a:gd name="T54" fmla="*/ 8 w 1029"/>
                <a:gd name="T55" fmla="*/ 4 h 604"/>
                <a:gd name="T56" fmla="*/ 8 w 1029"/>
                <a:gd name="T57" fmla="*/ 4 h 604"/>
                <a:gd name="T58" fmla="*/ 8 w 1029"/>
                <a:gd name="T59" fmla="*/ 5 h 604"/>
                <a:gd name="T60" fmla="*/ 8 w 1029"/>
                <a:gd name="T61" fmla="*/ 5 h 604"/>
                <a:gd name="T62" fmla="*/ 8 w 1029"/>
                <a:gd name="T63" fmla="*/ 6 h 604"/>
                <a:gd name="T64" fmla="*/ 8 w 1029"/>
                <a:gd name="T65" fmla="*/ 6 h 604"/>
                <a:gd name="T66" fmla="*/ 7 w 1029"/>
                <a:gd name="T67" fmla="*/ 7 h 604"/>
                <a:gd name="T68" fmla="*/ 7 w 1029"/>
                <a:gd name="T69" fmla="*/ 6 h 604"/>
                <a:gd name="T70" fmla="*/ 7 w 1029"/>
                <a:gd name="T71" fmla="*/ 7 h 604"/>
                <a:gd name="T72" fmla="*/ 7 w 1029"/>
                <a:gd name="T73" fmla="*/ 7 h 604"/>
                <a:gd name="T74" fmla="*/ 5 w 1029"/>
                <a:gd name="T75" fmla="*/ 7 h 604"/>
                <a:gd name="T76" fmla="*/ 5 w 1029"/>
                <a:gd name="T77" fmla="*/ 6 h 604"/>
                <a:gd name="T78" fmla="*/ 5 w 1029"/>
                <a:gd name="T79" fmla="*/ 6 h 604"/>
                <a:gd name="T80" fmla="*/ 4 w 1029"/>
                <a:gd name="T81" fmla="*/ 5 h 604"/>
                <a:gd name="T82" fmla="*/ 4 w 1029"/>
                <a:gd name="T83" fmla="*/ 5 h 604"/>
                <a:gd name="T84" fmla="*/ 5 w 1029"/>
                <a:gd name="T85" fmla="*/ 5 h 604"/>
                <a:gd name="T86" fmla="*/ 5 w 1029"/>
                <a:gd name="T87" fmla="*/ 4 h 604"/>
                <a:gd name="T88" fmla="*/ 6 w 1029"/>
                <a:gd name="T89" fmla="*/ 4 h 604"/>
                <a:gd name="T90" fmla="*/ 7 w 1029"/>
                <a:gd name="T91" fmla="*/ 5 h 604"/>
                <a:gd name="T92" fmla="*/ 7 w 1029"/>
                <a:gd name="T93" fmla="*/ 5 h 604"/>
                <a:gd name="T94" fmla="*/ 6 w 1029"/>
                <a:gd name="T95" fmla="*/ 4 h 604"/>
                <a:gd name="T96" fmla="*/ 6 w 1029"/>
                <a:gd name="T97" fmla="*/ 4 h 604"/>
                <a:gd name="T98" fmla="*/ 6 w 1029"/>
                <a:gd name="T99" fmla="*/ 4 h 604"/>
                <a:gd name="T100" fmla="*/ 6 w 1029"/>
                <a:gd name="T101" fmla="*/ 4 h 604"/>
                <a:gd name="T102" fmla="*/ 6 w 1029"/>
                <a:gd name="T103" fmla="*/ 3 h 604"/>
                <a:gd name="T104" fmla="*/ 5 w 1029"/>
                <a:gd name="T105" fmla="*/ 3 h 604"/>
                <a:gd name="T106" fmla="*/ 5 w 1029"/>
                <a:gd name="T107" fmla="*/ 2 h 604"/>
                <a:gd name="T108" fmla="*/ 5 w 1029"/>
                <a:gd name="T109" fmla="*/ 2 h 604"/>
                <a:gd name="T110" fmla="*/ 5 w 1029"/>
                <a:gd name="T111" fmla="*/ 2 h 604"/>
                <a:gd name="T112" fmla="*/ 4 w 1029"/>
                <a:gd name="T113" fmla="*/ 2 h 604"/>
                <a:gd name="T114" fmla="*/ 2 w 1029"/>
                <a:gd name="T115" fmla="*/ 2 h 604"/>
                <a:gd name="T116" fmla="*/ 1 w 1029"/>
                <a:gd name="T117" fmla="*/ 2 h 604"/>
                <a:gd name="T118" fmla="*/ 1 w 1029"/>
                <a:gd name="T119" fmla="*/ 2 h 604"/>
                <a:gd name="T120" fmla="*/ 0 w 1029"/>
                <a:gd name="T121" fmla="*/ 2 h 604"/>
                <a:gd name="T122" fmla="*/ 0 w 1029"/>
                <a:gd name="T123" fmla="*/ 2 h 604"/>
                <a:gd name="T124" fmla="*/ 1 w 1029"/>
                <a:gd name="T125" fmla="*/ 2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7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9 w 1268"/>
                <a:gd name="T1" fmla="*/ 0 h 321"/>
                <a:gd name="T2" fmla="*/ 9 w 1268"/>
                <a:gd name="T3" fmla="*/ 0 h 321"/>
                <a:gd name="T4" fmla="*/ 9 w 1268"/>
                <a:gd name="T5" fmla="*/ 0 h 321"/>
                <a:gd name="T6" fmla="*/ 9 w 1268"/>
                <a:gd name="T7" fmla="*/ 0 h 321"/>
                <a:gd name="T8" fmla="*/ 10 w 1268"/>
                <a:gd name="T9" fmla="*/ 0 h 321"/>
                <a:gd name="T10" fmla="*/ 11 w 1268"/>
                <a:gd name="T11" fmla="*/ 0 h 321"/>
                <a:gd name="T12" fmla="*/ 12 w 1268"/>
                <a:gd name="T13" fmla="*/ 0 h 321"/>
                <a:gd name="T14" fmla="*/ 12 w 1268"/>
                <a:gd name="T15" fmla="*/ 0 h 321"/>
                <a:gd name="T16" fmla="*/ 14 w 1268"/>
                <a:gd name="T17" fmla="*/ 0 h 321"/>
                <a:gd name="T18" fmla="*/ 14 w 1268"/>
                <a:gd name="T19" fmla="*/ 1 h 321"/>
                <a:gd name="T20" fmla="*/ 13 w 1268"/>
                <a:gd name="T21" fmla="*/ 1 h 321"/>
                <a:gd name="T22" fmla="*/ 11 w 1268"/>
                <a:gd name="T23" fmla="*/ 1 h 321"/>
                <a:gd name="T24" fmla="*/ 11 w 1268"/>
                <a:gd name="T25" fmla="*/ 1 h 321"/>
                <a:gd name="T26" fmla="*/ 11 w 1268"/>
                <a:gd name="T27" fmla="*/ 1 h 321"/>
                <a:gd name="T28" fmla="*/ 10 w 1268"/>
                <a:gd name="T29" fmla="*/ 1 h 321"/>
                <a:gd name="T30" fmla="*/ 10 w 1268"/>
                <a:gd name="T31" fmla="*/ 1 h 321"/>
                <a:gd name="T32" fmla="*/ 8 w 1268"/>
                <a:gd name="T33" fmla="*/ 2 h 321"/>
                <a:gd name="T34" fmla="*/ 7 w 1268"/>
                <a:gd name="T35" fmla="*/ 2 h 321"/>
                <a:gd name="T36" fmla="*/ 7 w 1268"/>
                <a:gd name="T37" fmla="*/ 2 h 321"/>
                <a:gd name="T38" fmla="*/ 6 w 1268"/>
                <a:gd name="T39" fmla="*/ 2 h 321"/>
                <a:gd name="T40" fmla="*/ 6 w 1268"/>
                <a:gd name="T41" fmla="*/ 2 h 321"/>
                <a:gd name="T42" fmla="*/ 6 w 1268"/>
                <a:gd name="T43" fmla="*/ 2 h 321"/>
                <a:gd name="T44" fmla="*/ 6 w 1268"/>
                <a:gd name="T45" fmla="*/ 3 h 321"/>
                <a:gd name="T46" fmla="*/ 5 w 1268"/>
                <a:gd name="T47" fmla="*/ 3 h 321"/>
                <a:gd name="T48" fmla="*/ 5 w 1268"/>
                <a:gd name="T49" fmla="*/ 3 h 321"/>
                <a:gd name="T50" fmla="*/ 5 w 1268"/>
                <a:gd name="T51" fmla="*/ 3 h 321"/>
                <a:gd name="T52" fmla="*/ 4 w 1268"/>
                <a:gd name="T53" fmla="*/ 3 h 321"/>
                <a:gd name="T54" fmla="*/ 4 w 1268"/>
                <a:gd name="T55" fmla="*/ 4 h 321"/>
                <a:gd name="T56" fmla="*/ 3 w 1268"/>
                <a:gd name="T57" fmla="*/ 3 h 321"/>
                <a:gd name="T58" fmla="*/ 3 w 1268"/>
                <a:gd name="T59" fmla="*/ 3 h 321"/>
                <a:gd name="T60" fmla="*/ 1 w 1268"/>
                <a:gd name="T61" fmla="*/ 3 h 321"/>
                <a:gd name="T62" fmla="*/ 0 w 1268"/>
                <a:gd name="T63" fmla="*/ 3 h 321"/>
                <a:gd name="T64" fmla="*/ 0 w 1268"/>
                <a:gd name="T65" fmla="*/ 3 h 321"/>
                <a:gd name="T66" fmla="*/ 1 w 1268"/>
                <a:gd name="T67" fmla="*/ 3 h 321"/>
                <a:gd name="T68" fmla="*/ 2 w 1268"/>
                <a:gd name="T69" fmla="*/ 3 h 321"/>
                <a:gd name="T70" fmla="*/ 2 w 1268"/>
                <a:gd name="T71" fmla="*/ 3 h 321"/>
                <a:gd name="T72" fmla="*/ 2 w 1268"/>
                <a:gd name="T73" fmla="*/ 3 h 321"/>
                <a:gd name="T74" fmla="*/ 2 w 1268"/>
                <a:gd name="T75" fmla="*/ 3 h 321"/>
                <a:gd name="T76" fmla="*/ 3 w 1268"/>
                <a:gd name="T77" fmla="*/ 3 h 321"/>
                <a:gd name="T78" fmla="*/ 2 w 1268"/>
                <a:gd name="T79" fmla="*/ 2 h 321"/>
                <a:gd name="T80" fmla="*/ 2 w 1268"/>
                <a:gd name="T81" fmla="*/ 2 h 321"/>
                <a:gd name="T82" fmla="*/ 2 w 1268"/>
                <a:gd name="T83" fmla="*/ 2 h 321"/>
                <a:gd name="T84" fmla="*/ 3 w 1268"/>
                <a:gd name="T85" fmla="*/ 2 h 321"/>
                <a:gd name="T86" fmla="*/ 4 w 1268"/>
                <a:gd name="T87" fmla="*/ 2 h 321"/>
                <a:gd name="T88" fmla="*/ 5 w 1268"/>
                <a:gd name="T89" fmla="*/ 2 h 321"/>
                <a:gd name="T90" fmla="*/ 4 w 1268"/>
                <a:gd name="T91" fmla="*/ 2 h 321"/>
                <a:gd name="T92" fmla="*/ 3 w 1268"/>
                <a:gd name="T93" fmla="*/ 2 h 321"/>
                <a:gd name="T94" fmla="*/ 4 w 1268"/>
                <a:gd name="T95" fmla="*/ 2 h 321"/>
                <a:gd name="T96" fmla="*/ 5 w 1268"/>
                <a:gd name="T97" fmla="*/ 2 h 321"/>
                <a:gd name="T98" fmla="*/ 5 w 1268"/>
                <a:gd name="T99" fmla="*/ 1 h 321"/>
                <a:gd name="T100" fmla="*/ 7 w 1268"/>
                <a:gd name="T101" fmla="*/ 1 h 321"/>
                <a:gd name="T102" fmla="*/ 6 w 1268"/>
                <a:gd name="T103" fmla="*/ 1 h 321"/>
                <a:gd name="T104" fmla="*/ 5 w 1268"/>
                <a:gd name="T105" fmla="*/ 1 h 321"/>
                <a:gd name="T106" fmla="*/ 4 w 1268"/>
                <a:gd name="T107" fmla="*/ 1 h 321"/>
                <a:gd name="T108" fmla="*/ 3 w 1268"/>
                <a:gd name="T109" fmla="*/ 1 h 321"/>
                <a:gd name="T110" fmla="*/ 2 w 1268"/>
                <a:gd name="T111" fmla="*/ 1 h 321"/>
                <a:gd name="T112" fmla="*/ 3 w 1268"/>
                <a:gd name="T113" fmla="*/ 1 h 321"/>
                <a:gd name="T114" fmla="*/ 5 w 1268"/>
                <a:gd name="T115" fmla="*/ 1 h 321"/>
                <a:gd name="T116" fmla="*/ 7 w 1268"/>
                <a:gd name="T117" fmla="*/ 0 h 321"/>
                <a:gd name="T118" fmla="*/ 7 w 1268"/>
                <a:gd name="T119" fmla="*/ 0 h 321"/>
                <a:gd name="T120" fmla="*/ 8 w 1268"/>
                <a:gd name="T121" fmla="*/ 0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8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0 h 117"/>
                <a:gd name="T4" fmla="*/ 0 w 160"/>
                <a:gd name="T5" fmla="*/ 0 h 117"/>
                <a:gd name="T6" fmla="*/ 0 w 160"/>
                <a:gd name="T7" fmla="*/ 0 h 117"/>
                <a:gd name="T8" fmla="*/ 0 w 160"/>
                <a:gd name="T9" fmla="*/ 0 h 117"/>
                <a:gd name="T10" fmla="*/ 0 w 160"/>
                <a:gd name="T11" fmla="*/ 1 h 117"/>
                <a:gd name="T12" fmla="*/ 0 w 160"/>
                <a:gd name="T13" fmla="*/ 1 h 117"/>
                <a:gd name="T14" fmla="*/ 0 w 160"/>
                <a:gd name="T15" fmla="*/ 1 h 117"/>
                <a:gd name="T16" fmla="*/ 1 w 160"/>
                <a:gd name="T17" fmla="*/ 1 h 117"/>
                <a:gd name="T18" fmla="*/ 1 w 160"/>
                <a:gd name="T19" fmla="*/ 1 h 117"/>
                <a:gd name="T20" fmla="*/ 1 w 160"/>
                <a:gd name="T21" fmla="*/ 1 h 117"/>
                <a:gd name="T22" fmla="*/ 1 w 160"/>
                <a:gd name="T23" fmla="*/ 1 h 117"/>
                <a:gd name="T24" fmla="*/ 1 w 160"/>
                <a:gd name="T25" fmla="*/ 1 h 117"/>
                <a:gd name="T26" fmla="*/ 1 w 160"/>
                <a:gd name="T27" fmla="*/ 1 h 117"/>
                <a:gd name="T28" fmla="*/ 1 w 160"/>
                <a:gd name="T29" fmla="*/ 1 h 117"/>
                <a:gd name="T30" fmla="*/ 1 w 160"/>
                <a:gd name="T31" fmla="*/ 1 h 117"/>
                <a:gd name="T32" fmla="*/ 1 w 160"/>
                <a:gd name="T33" fmla="*/ 1 h 117"/>
                <a:gd name="T34" fmla="*/ 1 w 160"/>
                <a:gd name="T35" fmla="*/ 1 h 117"/>
                <a:gd name="T36" fmla="*/ 2 w 160"/>
                <a:gd name="T37" fmla="*/ 1 h 117"/>
                <a:gd name="T38" fmla="*/ 2 w 160"/>
                <a:gd name="T39" fmla="*/ 1 h 117"/>
                <a:gd name="T40" fmla="*/ 2 w 160"/>
                <a:gd name="T41" fmla="*/ 1 h 117"/>
                <a:gd name="T42" fmla="*/ 2 w 160"/>
                <a:gd name="T43" fmla="*/ 1 h 117"/>
                <a:gd name="T44" fmla="*/ 1 w 160"/>
                <a:gd name="T45" fmla="*/ 1 h 117"/>
                <a:gd name="T46" fmla="*/ 1 w 160"/>
                <a:gd name="T47" fmla="*/ 1 h 117"/>
                <a:gd name="T48" fmla="*/ 1 w 160"/>
                <a:gd name="T49" fmla="*/ 1 h 117"/>
                <a:gd name="T50" fmla="*/ 1 w 160"/>
                <a:gd name="T51" fmla="*/ 1 h 117"/>
                <a:gd name="T52" fmla="*/ 1 w 160"/>
                <a:gd name="T53" fmla="*/ 1 h 117"/>
                <a:gd name="T54" fmla="*/ 1 w 160"/>
                <a:gd name="T55" fmla="*/ 1 h 117"/>
                <a:gd name="T56" fmla="*/ 1 w 160"/>
                <a:gd name="T57" fmla="*/ 1 h 117"/>
                <a:gd name="T58" fmla="*/ 1 w 160"/>
                <a:gd name="T59" fmla="*/ 0 h 117"/>
                <a:gd name="T60" fmla="*/ 1 w 160"/>
                <a:gd name="T61" fmla="*/ 0 h 117"/>
                <a:gd name="T62" fmla="*/ 1 w 160"/>
                <a:gd name="T63" fmla="*/ 0 h 117"/>
                <a:gd name="T64" fmla="*/ 1 w 160"/>
                <a:gd name="T65" fmla="*/ 0 h 117"/>
                <a:gd name="T66" fmla="*/ 1 w 160"/>
                <a:gd name="T67" fmla="*/ 0 h 117"/>
                <a:gd name="T68" fmla="*/ 1 w 160"/>
                <a:gd name="T69" fmla="*/ 0 h 117"/>
                <a:gd name="T70" fmla="*/ 1 w 160"/>
                <a:gd name="T71" fmla="*/ 0 h 117"/>
                <a:gd name="T72" fmla="*/ 1 w 160"/>
                <a:gd name="T73" fmla="*/ 0 h 117"/>
                <a:gd name="T74" fmla="*/ 1 w 160"/>
                <a:gd name="T75" fmla="*/ 0 h 117"/>
                <a:gd name="T76" fmla="*/ 1 w 160"/>
                <a:gd name="T77" fmla="*/ 0 h 117"/>
                <a:gd name="T78" fmla="*/ 0 w 160"/>
                <a:gd name="T79" fmla="*/ 0 h 117"/>
                <a:gd name="T80" fmla="*/ 0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9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0 w 80"/>
                <a:gd name="T1" fmla="*/ 1 h 141"/>
                <a:gd name="T2" fmla="*/ 1 w 80"/>
                <a:gd name="T3" fmla="*/ 0 h 141"/>
                <a:gd name="T4" fmla="*/ 1 w 80"/>
                <a:gd name="T5" fmla="*/ 0 h 141"/>
                <a:gd name="T6" fmla="*/ 1 w 80"/>
                <a:gd name="T7" fmla="*/ 0 h 141"/>
                <a:gd name="T8" fmla="*/ 1 w 80"/>
                <a:gd name="T9" fmla="*/ 0 h 141"/>
                <a:gd name="T10" fmla="*/ 1 w 80"/>
                <a:gd name="T11" fmla="*/ 0 h 141"/>
                <a:gd name="T12" fmla="*/ 1 w 80"/>
                <a:gd name="T13" fmla="*/ 0 h 141"/>
                <a:gd name="T14" fmla="*/ 1 w 80"/>
                <a:gd name="T15" fmla="*/ 0 h 141"/>
                <a:gd name="T16" fmla="*/ 1 w 80"/>
                <a:gd name="T17" fmla="*/ 0 h 141"/>
                <a:gd name="T18" fmla="*/ 0 w 80"/>
                <a:gd name="T19" fmla="*/ 0 h 141"/>
                <a:gd name="T20" fmla="*/ 0 w 80"/>
                <a:gd name="T21" fmla="*/ 0 h 141"/>
                <a:gd name="T22" fmla="*/ 0 w 80"/>
                <a:gd name="T23" fmla="*/ 0 h 141"/>
                <a:gd name="T24" fmla="*/ 0 w 80"/>
                <a:gd name="T25" fmla="*/ 0 h 141"/>
                <a:gd name="T26" fmla="*/ 0 w 80"/>
                <a:gd name="T27" fmla="*/ 0 h 141"/>
                <a:gd name="T28" fmla="*/ 0 w 80"/>
                <a:gd name="T29" fmla="*/ 1 h 141"/>
                <a:gd name="T30" fmla="*/ 0 w 80"/>
                <a:gd name="T31" fmla="*/ 1 h 141"/>
                <a:gd name="T32" fmla="*/ 0 w 80"/>
                <a:gd name="T33" fmla="*/ 1 h 141"/>
                <a:gd name="T34" fmla="*/ 0 w 80"/>
                <a:gd name="T35" fmla="*/ 1 h 141"/>
                <a:gd name="T36" fmla="*/ 0 w 80"/>
                <a:gd name="T37" fmla="*/ 1 h 141"/>
                <a:gd name="T38" fmla="*/ 0 w 80"/>
                <a:gd name="T39" fmla="*/ 1 h 141"/>
                <a:gd name="T40" fmla="*/ 0 w 80"/>
                <a:gd name="T41" fmla="*/ 1 h 141"/>
                <a:gd name="T42" fmla="*/ 0 w 80"/>
                <a:gd name="T43" fmla="*/ 2 h 141"/>
                <a:gd name="T44" fmla="*/ 0 w 80"/>
                <a:gd name="T45" fmla="*/ 2 h 141"/>
                <a:gd name="T46" fmla="*/ 0 w 80"/>
                <a:gd name="T47" fmla="*/ 2 h 141"/>
                <a:gd name="T48" fmla="*/ 0 w 80"/>
                <a:gd name="T49" fmla="*/ 1 h 141"/>
                <a:gd name="T50" fmla="*/ 0 w 80"/>
                <a:gd name="T51" fmla="*/ 1 h 141"/>
                <a:gd name="T52" fmla="*/ 0 w 80"/>
                <a:gd name="T53" fmla="*/ 1 h 141"/>
                <a:gd name="T54" fmla="*/ 0 w 80"/>
                <a:gd name="T55" fmla="*/ 1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0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1 h 124"/>
                <a:gd name="T2" fmla="*/ 0 w 259"/>
                <a:gd name="T3" fmla="*/ 1 h 124"/>
                <a:gd name="T4" fmla="*/ 0 w 259"/>
                <a:gd name="T5" fmla="*/ 1 h 124"/>
                <a:gd name="T6" fmla="*/ 0 w 259"/>
                <a:gd name="T7" fmla="*/ 1 h 124"/>
                <a:gd name="T8" fmla="*/ 0 w 259"/>
                <a:gd name="T9" fmla="*/ 1 h 124"/>
                <a:gd name="T10" fmla="*/ 0 w 259"/>
                <a:gd name="T11" fmla="*/ 1 h 124"/>
                <a:gd name="T12" fmla="*/ 0 w 259"/>
                <a:gd name="T13" fmla="*/ 1 h 124"/>
                <a:gd name="T14" fmla="*/ 0 w 259"/>
                <a:gd name="T15" fmla="*/ 1 h 124"/>
                <a:gd name="T16" fmla="*/ 0 w 259"/>
                <a:gd name="T17" fmla="*/ 1 h 124"/>
                <a:gd name="T18" fmla="*/ 1 w 259"/>
                <a:gd name="T19" fmla="*/ 2 h 124"/>
                <a:gd name="T20" fmla="*/ 1 w 259"/>
                <a:gd name="T21" fmla="*/ 2 h 124"/>
                <a:gd name="T22" fmla="*/ 1 w 259"/>
                <a:gd name="T23" fmla="*/ 2 h 124"/>
                <a:gd name="T24" fmla="*/ 1 w 259"/>
                <a:gd name="T25" fmla="*/ 2 h 124"/>
                <a:gd name="T26" fmla="*/ 1 w 259"/>
                <a:gd name="T27" fmla="*/ 1 h 124"/>
                <a:gd name="T28" fmla="*/ 1 w 259"/>
                <a:gd name="T29" fmla="*/ 1 h 124"/>
                <a:gd name="T30" fmla="*/ 1 w 259"/>
                <a:gd name="T31" fmla="*/ 1 h 124"/>
                <a:gd name="T32" fmla="*/ 1 w 259"/>
                <a:gd name="T33" fmla="*/ 1 h 124"/>
                <a:gd name="T34" fmla="*/ 1 w 259"/>
                <a:gd name="T35" fmla="*/ 1 h 124"/>
                <a:gd name="T36" fmla="*/ 1 w 259"/>
                <a:gd name="T37" fmla="*/ 1 h 124"/>
                <a:gd name="T38" fmla="*/ 1 w 259"/>
                <a:gd name="T39" fmla="*/ 1 h 124"/>
                <a:gd name="T40" fmla="*/ 1 w 259"/>
                <a:gd name="T41" fmla="*/ 1 h 124"/>
                <a:gd name="T42" fmla="*/ 2 w 259"/>
                <a:gd name="T43" fmla="*/ 1 h 124"/>
                <a:gd name="T44" fmla="*/ 2 w 259"/>
                <a:gd name="T45" fmla="*/ 1 h 124"/>
                <a:gd name="T46" fmla="*/ 2 w 259"/>
                <a:gd name="T47" fmla="*/ 1 h 124"/>
                <a:gd name="T48" fmla="*/ 2 w 259"/>
                <a:gd name="T49" fmla="*/ 1 h 124"/>
                <a:gd name="T50" fmla="*/ 2 w 259"/>
                <a:gd name="T51" fmla="*/ 1 h 124"/>
                <a:gd name="T52" fmla="*/ 2 w 259"/>
                <a:gd name="T53" fmla="*/ 1 h 124"/>
                <a:gd name="T54" fmla="*/ 2 w 259"/>
                <a:gd name="T55" fmla="*/ 1 h 124"/>
                <a:gd name="T56" fmla="*/ 2 w 259"/>
                <a:gd name="T57" fmla="*/ 1 h 124"/>
                <a:gd name="T58" fmla="*/ 3 w 259"/>
                <a:gd name="T59" fmla="*/ 1 h 124"/>
                <a:gd name="T60" fmla="*/ 3 w 259"/>
                <a:gd name="T61" fmla="*/ 1 h 124"/>
                <a:gd name="T62" fmla="*/ 3 w 259"/>
                <a:gd name="T63" fmla="*/ 1 h 124"/>
                <a:gd name="T64" fmla="*/ 3 w 259"/>
                <a:gd name="T65" fmla="*/ 1 h 124"/>
                <a:gd name="T66" fmla="*/ 3 w 259"/>
                <a:gd name="T67" fmla="*/ 1 h 124"/>
                <a:gd name="T68" fmla="*/ 2 w 259"/>
                <a:gd name="T69" fmla="*/ 1 h 124"/>
                <a:gd name="T70" fmla="*/ 3 w 259"/>
                <a:gd name="T71" fmla="*/ 1 h 124"/>
                <a:gd name="T72" fmla="*/ 3 w 259"/>
                <a:gd name="T73" fmla="*/ 1 h 124"/>
                <a:gd name="T74" fmla="*/ 3 w 259"/>
                <a:gd name="T75" fmla="*/ 1 h 124"/>
                <a:gd name="T76" fmla="*/ 3 w 259"/>
                <a:gd name="T77" fmla="*/ 1 h 124"/>
                <a:gd name="T78" fmla="*/ 3 w 259"/>
                <a:gd name="T79" fmla="*/ 1 h 124"/>
                <a:gd name="T80" fmla="*/ 3 w 259"/>
                <a:gd name="T81" fmla="*/ 1 h 124"/>
                <a:gd name="T82" fmla="*/ 2 w 259"/>
                <a:gd name="T83" fmla="*/ 1 h 124"/>
                <a:gd name="T84" fmla="*/ 2 w 259"/>
                <a:gd name="T85" fmla="*/ 1 h 124"/>
                <a:gd name="T86" fmla="*/ 2 w 259"/>
                <a:gd name="T87" fmla="*/ 0 h 124"/>
                <a:gd name="T88" fmla="*/ 2 w 259"/>
                <a:gd name="T89" fmla="*/ 0 h 124"/>
                <a:gd name="T90" fmla="*/ 2 w 259"/>
                <a:gd name="T91" fmla="*/ 0 h 124"/>
                <a:gd name="T92" fmla="*/ 2 w 259"/>
                <a:gd name="T93" fmla="*/ 0 h 124"/>
                <a:gd name="T94" fmla="*/ 2 w 259"/>
                <a:gd name="T95" fmla="*/ 0 h 124"/>
                <a:gd name="T96" fmla="*/ 1 w 259"/>
                <a:gd name="T97" fmla="*/ 0 h 124"/>
                <a:gd name="T98" fmla="*/ 1 w 259"/>
                <a:gd name="T99" fmla="*/ 0 h 124"/>
                <a:gd name="T100" fmla="*/ 1 w 259"/>
                <a:gd name="T101" fmla="*/ 0 h 124"/>
                <a:gd name="T102" fmla="*/ 1 w 259"/>
                <a:gd name="T103" fmla="*/ 0 h 124"/>
                <a:gd name="T104" fmla="*/ 1 w 259"/>
                <a:gd name="T105" fmla="*/ 0 h 124"/>
                <a:gd name="T106" fmla="*/ 1 w 259"/>
                <a:gd name="T107" fmla="*/ 0 h 124"/>
                <a:gd name="T108" fmla="*/ 1 w 259"/>
                <a:gd name="T109" fmla="*/ 0 h 124"/>
                <a:gd name="T110" fmla="*/ 1 w 259"/>
                <a:gd name="T111" fmla="*/ 0 h 124"/>
                <a:gd name="T112" fmla="*/ 1 w 259"/>
                <a:gd name="T113" fmla="*/ 1 h 124"/>
                <a:gd name="T114" fmla="*/ 0 w 259"/>
                <a:gd name="T115" fmla="*/ 1 h 124"/>
                <a:gd name="T116" fmla="*/ 0 w 259"/>
                <a:gd name="T117" fmla="*/ 1 h 124"/>
                <a:gd name="T118" fmla="*/ 0 w 259"/>
                <a:gd name="T119" fmla="*/ 1 h 124"/>
                <a:gd name="T120" fmla="*/ 0 w 259"/>
                <a:gd name="T121" fmla="*/ 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1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0 h 57"/>
                <a:gd name="T2" fmla="*/ 0 w 119"/>
                <a:gd name="T3" fmla="*/ 0 h 57"/>
                <a:gd name="T4" fmla="*/ 0 w 119"/>
                <a:gd name="T5" fmla="*/ 0 h 57"/>
                <a:gd name="T6" fmla="*/ 0 w 119"/>
                <a:gd name="T7" fmla="*/ 1 h 57"/>
                <a:gd name="T8" fmla="*/ 0 w 119"/>
                <a:gd name="T9" fmla="*/ 1 h 57"/>
                <a:gd name="T10" fmla="*/ 0 w 119"/>
                <a:gd name="T11" fmla="*/ 1 h 57"/>
                <a:gd name="T12" fmla="*/ 0 w 119"/>
                <a:gd name="T13" fmla="*/ 1 h 57"/>
                <a:gd name="T14" fmla="*/ 0 w 119"/>
                <a:gd name="T15" fmla="*/ 1 h 57"/>
                <a:gd name="T16" fmla="*/ 1 w 119"/>
                <a:gd name="T17" fmla="*/ 1 h 57"/>
                <a:gd name="T18" fmla="*/ 1 w 119"/>
                <a:gd name="T19" fmla="*/ 1 h 57"/>
                <a:gd name="T20" fmla="*/ 1 w 119"/>
                <a:gd name="T21" fmla="*/ 1 h 57"/>
                <a:gd name="T22" fmla="*/ 1 w 119"/>
                <a:gd name="T23" fmla="*/ 1 h 57"/>
                <a:gd name="T24" fmla="*/ 1 w 119"/>
                <a:gd name="T25" fmla="*/ 1 h 57"/>
                <a:gd name="T26" fmla="*/ 1 w 119"/>
                <a:gd name="T27" fmla="*/ 1 h 57"/>
                <a:gd name="T28" fmla="*/ 1 w 119"/>
                <a:gd name="T29" fmla="*/ 1 h 57"/>
                <a:gd name="T30" fmla="*/ 1 w 119"/>
                <a:gd name="T31" fmla="*/ 1 h 57"/>
                <a:gd name="T32" fmla="*/ 1 w 119"/>
                <a:gd name="T33" fmla="*/ 0 h 57"/>
                <a:gd name="T34" fmla="*/ 1 w 119"/>
                <a:gd name="T35" fmla="*/ 0 h 57"/>
                <a:gd name="T36" fmla="*/ 1 w 119"/>
                <a:gd name="T37" fmla="*/ 0 h 57"/>
                <a:gd name="T38" fmla="*/ 1 w 119"/>
                <a:gd name="T39" fmla="*/ 0 h 57"/>
                <a:gd name="T40" fmla="*/ 1 w 119"/>
                <a:gd name="T41" fmla="*/ 0 h 57"/>
                <a:gd name="T42" fmla="*/ 1 w 119"/>
                <a:gd name="T43" fmla="*/ 0 h 57"/>
                <a:gd name="T44" fmla="*/ 1 w 119"/>
                <a:gd name="T45" fmla="*/ 0 h 57"/>
                <a:gd name="T46" fmla="*/ 1 w 119"/>
                <a:gd name="T47" fmla="*/ 0 h 57"/>
                <a:gd name="T48" fmla="*/ 0 w 119"/>
                <a:gd name="T49" fmla="*/ 0 h 57"/>
                <a:gd name="T50" fmla="*/ 0 w 119"/>
                <a:gd name="T51" fmla="*/ 0 h 57"/>
                <a:gd name="T52" fmla="*/ 0 w 119"/>
                <a:gd name="T53" fmla="*/ 0 h 57"/>
                <a:gd name="T54" fmla="*/ 0 w 119"/>
                <a:gd name="T55" fmla="*/ 0 h 57"/>
                <a:gd name="T56" fmla="*/ 0 w 119"/>
                <a:gd name="T57" fmla="*/ 0 h 57"/>
                <a:gd name="T58" fmla="*/ 0 w 119"/>
                <a:gd name="T59" fmla="*/ 0 h 57"/>
                <a:gd name="T60" fmla="*/ 0 w 119"/>
                <a:gd name="T61" fmla="*/ 0 h 57"/>
                <a:gd name="T62" fmla="*/ 0 w 119"/>
                <a:gd name="T63" fmla="*/ 0 h 57"/>
                <a:gd name="T64" fmla="*/ 0 w 119"/>
                <a:gd name="T65" fmla="*/ 0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2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 h 52"/>
                <a:gd name="T2" fmla="*/ 0 w 107"/>
                <a:gd name="T3" fmla="*/ 1 h 52"/>
                <a:gd name="T4" fmla="*/ 0 w 107"/>
                <a:gd name="T5" fmla="*/ 1 h 52"/>
                <a:gd name="T6" fmla="*/ 0 w 107"/>
                <a:gd name="T7" fmla="*/ 1 h 52"/>
                <a:gd name="T8" fmla="*/ 0 w 107"/>
                <a:gd name="T9" fmla="*/ 1 h 52"/>
                <a:gd name="T10" fmla="*/ 0 w 107"/>
                <a:gd name="T11" fmla="*/ 1 h 52"/>
                <a:gd name="T12" fmla="*/ 0 w 107"/>
                <a:gd name="T13" fmla="*/ 1 h 52"/>
                <a:gd name="T14" fmla="*/ 0 w 107"/>
                <a:gd name="T15" fmla="*/ 1 h 52"/>
                <a:gd name="T16" fmla="*/ 1 w 107"/>
                <a:gd name="T17" fmla="*/ 1 h 52"/>
                <a:gd name="T18" fmla="*/ 1 w 107"/>
                <a:gd name="T19" fmla="*/ 1 h 52"/>
                <a:gd name="T20" fmla="*/ 1 w 107"/>
                <a:gd name="T21" fmla="*/ 1 h 52"/>
                <a:gd name="T22" fmla="*/ 1 w 107"/>
                <a:gd name="T23" fmla="*/ 0 h 52"/>
                <a:gd name="T24" fmla="*/ 1 w 107"/>
                <a:gd name="T25" fmla="*/ 0 h 52"/>
                <a:gd name="T26" fmla="*/ 1 w 107"/>
                <a:gd name="T27" fmla="*/ 0 h 52"/>
                <a:gd name="T28" fmla="*/ 1 w 107"/>
                <a:gd name="T29" fmla="*/ 0 h 52"/>
                <a:gd name="T30" fmla="*/ 1 w 107"/>
                <a:gd name="T31" fmla="*/ 0 h 52"/>
                <a:gd name="T32" fmla="*/ 1 w 107"/>
                <a:gd name="T33" fmla="*/ 0 h 52"/>
                <a:gd name="T34" fmla="*/ 1 w 107"/>
                <a:gd name="T35" fmla="*/ 0 h 52"/>
                <a:gd name="T36" fmla="*/ 1 w 107"/>
                <a:gd name="T37" fmla="*/ 0 h 52"/>
                <a:gd name="T38" fmla="*/ 1 w 107"/>
                <a:gd name="T39" fmla="*/ 0 h 52"/>
                <a:gd name="T40" fmla="*/ 0 w 107"/>
                <a:gd name="T41" fmla="*/ 0 h 52"/>
                <a:gd name="T42" fmla="*/ 0 w 107"/>
                <a:gd name="T43" fmla="*/ 0 h 52"/>
                <a:gd name="T44" fmla="*/ 0 w 107"/>
                <a:gd name="T45" fmla="*/ 0 h 52"/>
                <a:gd name="T46" fmla="*/ 0 w 107"/>
                <a:gd name="T47" fmla="*/ 0 h 52"/>
                <a:gd name="T48" fmla="*/ 0 w 107"/>
                <a:gd name="T49" fmla="*/ 1 h 52"/>
                <a:gd name="T50" fmla="*/ 0 w 107"/>
                <a:gd name="T51" fmla="*/ 1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3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0 w 246"/>
                <a:gd name="T1" fmla="*/ 1 h 99"/>
                <a:gd name="T2" fmla="*/ 0 w 246"/>
                <a:gd name="T3" fmla="*/ 1 h 99"/>
                <a:gd name="T4" fmla="*/ 0 w 246"/>
                <a:gd name="T5" fmla="*/ 1 h 99"/>
                <a:gd name="T6" fmla="*/ 0 w 246"/>
                <a:gd name="T7" fmla="*/ 1 h 99"/>
                <a:gd name="T8" fmla="*/ 0 w 246"/>
                <a:gd name="T9" fmla="*/ 1 h 99"/>
                <a:gd name="T10" fmla="*/ 0 w 246"/>
                <a:gd name="T11" fmla="*/ 1 h 99"/>
                <a:gd name="T12" fmla="*/ 0 w 246"/>
                <a:gd name="T13" fmla="*/ 1 h 99"/>
                <a:gd name="T14" fmla="*/ 0 w 246"/>
                <a:gd name="T15" fmla="*/ 1 h 99"/>
                <a:gd name="T16" fmla="*/ 0 w 246"/>
                <a:gd name="T17" fmla="*/ 1 h 99"/>
                <a:gd name="T18" fmla="*/ 0 w 246"/>
                <a:gd name="T19" fmla="*/ 1 h 99"/>
                <a:gd name="T20" fmla="*/ 0 w 246"/>
                <a:gd name="T21" fmla="*/ 1 h 99"/>
                <a:gd name="T22" fmla="*/ 0 w 246"/>
                <a:gd name="T23" fmla="*/ 1 h 99"/>
                <a:gd name="T24" fmla="*/ 0 w 246"/>
                <a:gd name="T25" fmla="*/ 1 h 99"/>
                <a:gd name="T26" fmla="*/ 0 w 246"/>
                <a:gd name="T27" fmla="*/ 1 h 99"/>
                <a:gd name="T28" fmla="*/ 0 w 246"/>
                <a:gd name="T29" fmla="*/ 0 h 99"/>
                <a:gd name="T30" fmla="*/ 0 w 246"/>
                <a:gd name="T31" fmla="*/ 0 h 99"/>
                <a:gd name="T32" fmla="*/ 0 w 246"/>
                <a:gd name="T33" fmla="*/ 0 h 99"/>
                <a:gd name="T34" fmla="*/ 1 w 246"/>
                <a:gd name="T35" fmla="*/ 0 h 99"/>
                <a:gd name="T36" fmla="*/ 1 w 246"/>
                <a:gd name="T37" fmla="*/ 0 h 99"/>
                <a:gd name="T38" fmla="*/ 1 w 246"/>
                <a:gd name="T39" fmla="*/ 0 h 99"/>
                <a:gd name="T40" fmla="*/ 1 w 246"/>
                <a:gd name="T41" fmla="*/ 0 h 99"/>
                <a:gd name="T42" fmla="*/ 1 w 246"/>
                <a:gd name="T43" fmla="*/ 0 h 99"/>
                <a:gd name="T44" fmla="*/ 1 w 246"/>
                <a:gd name="T45" fmla="*/ 0 h 99"/>
                <a:gd name="T46" fmla="*/ 1 w 246"/>
                <a:gd name="T47" fmla="*/ 0 h 99"/>
                <a:gd name="T48" fmla="*/ 1 w 246"/>
                <a:gd name="T49" fmla="*/ 0 h 99"/>
                <a:gd name="T50" fmla="*/ 2 w 246"/>
                <a:gd name="T51" fmla="*/ 0 h 99"/>
                <a:gd name="T52" fmla="*/ 2 w 246"/>
                <a:gd name="T53" fmla="*/ 0 h 99"/>
                <a:gd name="T54" fmla="*/ 2 w 246"/>
                <a:gd name="T55" fmla="*/ 0 h 99"/>
                <a:gd name="T56" fmla="*/ 3 w 246"/>
                <a:gd name="T57" fmla="*/ 0 h 99"/>
                <a:gd name="T58" fmla="*/ 3 w 246"/>
                <a:gd name="T59" fmla="*/ 0 h 99"/>
                <a:gd name="T60" fmla="*/ 3 w 246"/>
                <a:gd name="T61" fmla="*/ 0 h 99"/>
                <a:gd name="T62" fmla="*/ 3 w 246"/>
                <a:gd name="T63" fmla="*/ 0 h 99"/>
                <a:gd name="T64" fmla="*/ 3 w 246"/>
                <a:gd name="T65" fmla="*/ 0 h 99"/>
                <a:gd name="T66" fmla="*/ 2 w 246"/>
                <a:gd name="T67" fmla="*/ 0 h 99"/>
                <a:gd name="T68" fmla="*/ 2 w 246"/>
                <a:gd name="T69" fmla="*/ 1 h 99"/>
                <a:gd name="T70" fmla="*/ 2 w 246"/>
                <a:gd name="T71" fmla="*/ 1 h 99"/>
                <a:gd name="T72" fmla="*/ 2 w 246"/>
                <a:gd name="T73" fmla="*/ 1 h 99"/>
                <a:gd name="T74" fmla="*/ 2 w 246"/>
                <a:gd name="T75" fmla="*/ 1 h 99"/>
                <a:gd name="T76" fmla="*/ 2 w 246"/>
                <a:gd name="T77" fmla="*/ 1 h 99"/>
                <a:gd name="T78" fmla="*/ 1 w 246"/>
                <a:gd name="T79" fmla="*/ 1 h 99"/>
                <a:gd name="T80" fmla="*/ 1 w 246"/>
                <a:gd name="T81" fmla="*/ 1 h 99"/>
                <a:gd name="T82" fmla="*/ 1 w 246"/>
                <a:gd name="T83" fmla="*/ 1 h 99"/>
                <a:gd name="T84" fmla="*/ 1 w 246"/>
                <a:gd name="T85" fmla="*/ 1 h 99"/>
                <a:gd name="T86" fmla="*/ 1 w 246"/>
                <a:gd name="T87" fmla="*/ 1 h 99"/>
                <a:gd name="T88" fmla="*/ 1 w 246"/>
                <a:gd name="T89" fmla="*/ 1 h 99"/>
                <a:gd name="T90" fmla="*/ 1 w 246"/>
                <a:gd name="T91" fmla="*/ 1 h 99"/>
                <a:gd name="T92" fmla="*/ 1 w 246"/>
                <a:gd name="T93" fmla="*/ 1 h 99"/>
                <a:gd name="T94" fmla="*/ 1 w 246"/>
                <a:gd name="T95" fmla="*/ 1 h 99"/>
                <a:gd name="T96" fmla="*/ 1 w 246"/>
                <a:gd name="T97" fmla="*/ 1 h 99"/>
                <a:gd name="T98" fmla="*/ 1 w 246"/>
                <a:gd name="T99" fmla="*/ 1 h 99"/>
                <a:gd name="T100" fmla="*/ 0 w 246"/>
                <a:gd name="T101" fmla="*/ 1 h 99"/>
                <a:gd name="T102" fmla="*/ 0 w 246"/>
                <a:gd name="T103" fmla="*/ 1 h 99"/>
                <a:gd name="T104" fmla="*/ 0 w 246"/>
                <a:gd name="T105" fmla="*/ 1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4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0 w 233"/>
                <a:gd name="T1" fmla="*/ 1 h 123"/>
                <a:gd name="T2" fmla="*/ 0 w 233"/>
                <a:gd name="T3" fmla="*/ 1 h 123"/>
                <a:gd name="T4" fmla="*/ 0 w 233"/>
                <a:gd name="T5" fmla="*/ 1 h 123"/>
                <a:gd name="T6" fmla="*/ 0 w 233"/>
                <a:gd name="T7" fmla="*/ 0 h 123"/>
                <a:gd name="T8" fmla="*/ 0 w 233"/>
                <a:gd name="T9" fmla="*/ 0 h 123"/>
                <a:gd name="T10" fmla="*/ 1 w 233"/>
                <a:gd name="T11" fmla="*/ 0 h 123"/>
                <a:gd name="T12" fmla="*/ 1 w 233"/>
                <a:gd name="T13" fmla="*/ 0 h 123"/>
                <a:gd name="T14" fmla="*/ 1 w 233"/>
                <a:gd name="T15" fmla="*/ 0 h 123"/>
                <a:gd name="T16" fmla="*/ 1 w 233"/>
                <a:gd name="T17" fmla="*/ 0 h 123"/>
                <a:gd name="T18" fmla="*/ 1 w 233"/>
                <a:gd name="T19" fmla="*/ 0 h 123"/>
                <a:gd name="T20" fmla="*/ 2 w 233"/>
                <a:gd name="T21" fmla="*/ 0 h 123"/>
                <a:gd name="T22" fmla="*/ 2 w 233"/>
                <a:gd name="T23" fmla="*/ 0 h 123"/>
                <a:gd name="T24" fmla="*/ 2 w 233"/>
                <a:gd name="T25" fmla="*/ 0 h 123"/>
                <a:gd name="T26" fmla="*/ 2 w 233"/>
                <a:gd name="T27" fmla="*/ 0 h 123"/>
                <a:gd name="T28" fmla="*/ 2 w 233"/>
                <a:gd name="T29" fmla="*/ 0 h 123"/>
                <a:gd name="T30" fmla="*/ 3 w 233"/>
                <a:gd name="T31" fmla="*/ 0 h 123"/>
                <a:gd name="T32" fmla="*/ 3 w 233"/>
                <a:gd name="T33" fmla="*/ 0 h 123"/>
                <a:gd name="T34" fmla="*/ 3 w 233"/>
                <a:gd name="T35" fmla="*/ 0 h 123"/>
                <a:gd name="T36" fmla="*/ 3 w 233"/>
                <a:gd name="T37" fmla="*/ 0 h 123"/>
                <a:gd name="T38" fmla="*/ 2 w 233"/>
                <a:gd name="T39" fmla="*/ 0 h 123"/>
                <a:gd name="T40" fmla="*/ 2 w 233"/>
                <a:gd name="T41" fmla="*/ 1 h 123"/>
                <a:gd name="T42" fmla="*/ 2 w 233"/>
                <a:gd name="T43" fmla="*/ 1 h 123"/>
                <a:gd name="T44" fmla="*/ 2 w 233"/>
                <a:gd name="T45" fmla="*/ 1 h 123"/>
                <a:gd name="T46" fmla="*/ 2 w 233"/>
                <a:gd name="T47" fmla="*/ 1 h 123"/>
                <a:gd name="T48" fmla="*/ 2 w 233"/>
                <a:gd name="T49" fmla="*/ 1 h 123"/>
                <a:gd name="T50" fmla="*/ 1 w 233"/>
                <a:gd name="T51" fmla="*/ 1 h 123"/>
                <a:gd name="T52" fmla="*/ 1 w 233"/>
                <a:gd name="T53" fmla="*/ 1 h 123"/>
                <a:gd name="T54" fmla="*/ 1 w 233"/>
                <a:gd name="T55" fmla="*/ 1 h 123"/>
                <a:gd name="T56" fmla="*/ 1 w 233"/>
                <a:gd name="T57" fmla="*/ 1 h 123"/>
                <a:gd name="T58" fmla="*/ 1 w 233"/>
                <a:gd name="T59" fmla="*/ 1 h 123"/>
                <a:gd name="T60" fmla="*/ 1 w 233"/>
                <a:gd name="T61" fmla="*/ 1 h 123"/>
                <a:gd name="T62" fmla="*/ 1 w 233"/>
                <a:gd name="T63" fmla="*/ 1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5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2 h 172"/>
                <a:gd name="T2" fmla="*/ 0 w 484"/>
                <a:gd name="T3" fmla="*/ 2 h 172"/>
                <a:gd name="T4" fmla="*/ 0 w 484"/>
                <a:gd name="T5" fmla="*/ 2 h 172"/>
                <a:gd name="T6" fmla="*/ 0 w 484"/>
                <a:gd name="T7" fmla="*/ 2 h 172"/>
                <a:gd name="T8" fmla="*/ 0 w 484"/>
                <a:gd name="T9" fmla="*/ 2 h 172"/>
                <a:gd name="T10" fmla="*/ 1 w 484"/>
                <a:gd name="T11" fmla="*/ 2 h 172"/>
                <a:gd name="T12" fmla="*/ 1 w 484"/>
                <a:gd name="T13" fmla="*/ 2 h 172"/>
                <a:gd name="T14" fmla="*/ 1 w 484"/>
                <a:gd name="T15" fmla="*/ 2 h 172"/>
                <a:gd name="T16" fmla="*/ 2 w 484"/>
                <a:gd name="T17" fmla="*/ 2 h 172"/>
                <a:gd name="T18" fmla="*/ 2 w 484"/>
                <a:gd name="T19" fmla="*/ 2 h 172"/>
                <a:gd name="T20" fmla="*/ 3 w 484"/>
                <a:gd name="T21" fmla="*/ 1 h 172"/>
                <a:gd name="T22" fmla="*/ 3 w 484"/>
                <a:gd name="T23" fmla="*/ 1 h 172"/>
                <a:gd name="T24" fmla="*/ 4 w 484"/>
                <a:gd name="T25" fmla="*/ 1 h 172"/>
                <a:gd name="T26" fmla="*/ 5 w 484"/>
                <a:gd name="T27" fmla="*/ 1 h 172"/>
                <a:gd name="T28" fmla="*/ 5 w 484"/>
                <a:gd name="T29" fmla="*/ 1 h 172"/>
                <a:gd name="T30" fmla="*/ 5 w 484"/>
                <a:gd name="T31" fmla="*/ 1 h 172"/>
                <a:gd name="T32" fmla="*/ 5 w 484"/>
                <a:gd name="T33" fmla="*/ 1 h 172"/>
                <a:gd name="T34" fmla="*/ 6 w 484"/>
                <a:gd name="T35" fmla="*/ 0 h 172"/>
                <a:gd name="T36" fmla="*/ 5 w 484"/>
                <a:gd name="T37" fmla="*/ 0 h 172"/>
                <a:gd name="T38" fmla="*/ 4 w 484"/>
                <a:gd name="T39" fmla="*/ 0 h 172"/>
                <a:gd name="T40" fmla="*/ 4 w 484"/>
                <a:gd name="T41" fmla="*/ 0 h 172"/>
                <a:gd name="T42" fmla="*/ 3 w 484"/>
                <a:gd name="T43" fmla="*/ 0 h 172"/>
                <a:gd name="T44" fmla="*/ 3 w 484"/>
                <a:gd name="T45" fmla="*/ 0 h 172"/>
                <a:gd name="T46" fmla="*/ 2 w 484"/>
                <a:gd name="T47" fmla="*/ 0 h 172"/>
                <a:gd name="T48" fmla="*/ 2 w 484"/>
                <a:gd name="T49" fmla="*/ 0 h 172"/>
                <a:gd name="T50" fmla="*/ 2 w 484"/>
                <a:gd name="T51" fmla="*/ 0 h 172"/>
                <a:gd name="T52" fmla="*/ 2 w 484"/>
                <a:gd name="T53" fmla="*/ 0 h 172"/>
                <a:gd name="T54" fmla="*/ 2 w 484"/>
                <a:gd name="T55" fmla="*/ 0 h 172"/>
                <a:gd name="T56" fmla="*/ 2 w 484"/>
                <a:gd name="T57" fmla="*/ 0 h 172"/>
                <a:gd name="T58" fmla="*/ 2 w 484"/>
                <a:gd name="T59" fmla="*/ 0 h 172"/>
                <a:gd name="T60" fmla="*/ 2 w 484"/>
                <a:gd name="T61" fmla="*/ 1 h 172"/>
                <a:gd name="T62" fmla="*/ 1 w 484"/>
                <a:gd name="T63" fmla="*/ 1 h 172"/>
                <a:gd name="T64" fmla="*/ 1 w 484"/>
                <a:gd name="T65" fmla="*/ 1 h 172"/>
                <a:gd name="T66" fmla="*/ 1 w 484"/>
                <a:gd name="T67" fmla="*/ 1 h 172"/>
                <a:gd name="T68" fmla="*/ 0 w 484"/>
                <a:gd name="T69" fmla="*/ 1 h 172"/>
                <a:gd name="T70" fmla="*/ 0 w 484"/>
                <a:gd name="T71" fmla="*/ 1 h 172"/>
                <a:gd name="T72" fmla="*/ 0 w 484"/>
                <a:gd name="T73" fmla="*/ 1 h 172"/>
                <a:gd name="T74" fmla="*/ 0 w 484"/>
                <a:gd name="T75" fmla="*/ 1 h 172"/>
                <a:gd name="T76" fmla="*/ 0 w 484"/>
                <a:gd name="T77" fmla="*/ 2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6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4 w 684"/>
                <a:gd name="T1" fmla="*/ 0 h 240"/>
                <a:gd name="T2" fmla="*/ 3 w 684"/>
                <a:gd name="T3" fmla="*/ 0 h 240"/>
                <a:gd name="T4" fmla="*/ 3 w 684"/>
                <a:gd name="T5" fmla="*/ 0 h 240"/>
                <a:gd name="T6" fmla="*/ 3 w 684"/>
                <a:gd name="T7" fmla="*/ 1 h 240"/>
                <a:gd name="T8" fmla="*/ 4 w 684"/>
                <a:gd name="T9" fmla="*/ 0 h 240"/>
                <a:gd name="T10" fmla="*/ 4 w 684"/>
                <a:gd name="T11" fmla="*/ 0 h 240"/>
                <a:gd name="T12" fmla="*/ 4 w 684"/>
                <a:gd name="T13" fmla="*/ 0 h 240"/>
                <a:gd name="T14" fmla="*/ 4 w 684"/>
                <a:gd name="T15" fmla="*/ 1 h 240"/>
                <a:gd name="T16" fmla="*/ 5 w 684"/>
                <a:gd name="T17" fmla="*/ 1 h 240"/>
                <a:gd name="T18" fmla="*/ 5 w 684"/>
                <a:gd name="T19" fmla="*/ 1 h 240"/>
                <a:gd name="T20" fmla="*/ 5 w 684"/>
                <a:gd name="T21" fmla="*/ 1 h 240"/>
                <a:gd name="T22" fmla="*/ 6 w 684"/>
                <a:gd name="T23" fmla="*/ 1 h 240"/>
                <a:gd name="T24" fmla="*/ 6 w 684"/>
                <a:gd name="T25" fmla="*/ 1 h 240"/>
                <a:gd name="T26" fmla="*/ 6 w 684"/>
                <a:gd name="T27" fmla="*/ 0 h 240"/>
                <a:gd name="T28" fmla="*/ 6 w 684"/>
                <a:gd name="T29" fmla="*/ 0 h 240"/>
                <a:gd name="T30" fmla="*/ 6 w 684"/>
                <a:gd name="T31" fmla="*/ 0 h 240"/>
                <a:gd name="T32" fmla="*/ 7 w 684"/>
                <a:gd name="T33" fmla="*/ 0 h 240"/>
                <a:gd name="T34" fmla="*/ 7 w 684"/>
                <a:gd name="T35" fmla="*/ 0 h 240"/>
                <a:gd name="T36" fmla="*/ 7 w 684"/>
                <a:gd name="T37" fmla="*/ 0 h 240"/>
                <a:gd name="T38" fmla="*/ 7 w 684"/>
                <a:gd name="T39" fmla="*/ 1 h 240"/>
                <a:gd name="T40" fmla="*/ 7 w 684"/>
                <a:gd name="T41" fmla="*/ 1 h 240"/>
                <a:gd name="T42" fmla="*/ 7 w 684"/>
                <a:gd name="T43" fmla="*/ 1 h 240"/>
                <a:gd name="T44" fmla="*/ 7 w 684"/>
                <a:gd name="T45" fmla="*/ 2 h 240"/>
                <a:gd name="T46" fmla="*/ 7 w 684"/>
                <a:gd name="T47" fmla="*/ 2 h 240"/>
                <a:gd name="T48" fmla="*/ 7 w 684"/>
                <a:gd name="T49" fmla="*/ 2 h 240"/>
                <a:gd name="T50" fmla="*/ 7 w 684"/>
                <a:gd name="T51" fmla="*/ 2 h 240"/>
                <a:gd name="T52" fmla="*/ 6 w 684"/>
                <a:gd name="T53" fmla="*/ 2 h 240"/>
                <a:gd name="T54" fmla="*/ 6 w 684"/>
                <a:gd name="T55" fmla="*/ 2 h 240"/>
                <a:gd name="T56" fmla="*/ 6 w 684"/>
                <a:gd name="T57" fmla="*/ 2 h 240"/>
                <a:gd name="T58" fmla="*/ 6 w 684"/>
                <a:gd name="T59" fmla="*/ 2 h 240"/>
                <a:gd name="T60" fmla="*/ 6 w 684"/>
                <a:gd name="T61" fmla="*/ 3 h 240"/>
                <a:gd name="T62" fmla="*/ 5 w 684"/>
                <a:gd name="T63" fmla="*/ 3 h 240"/>
                <a:gd name="T64" fmla="*/ 5 w 684"/>
                <a:gd name="T65" fmla="*/ 2 h 240"/>
                <a:gd name="T66" fmla="*/ 5 w 684"/>
                <a:gd name="T67" fmla="*/ 2 h 240"/>
                <a:gd name="T68" fmla="*/ 4 w 684"/>
                <a:gd name="T69" fmla="*/ 3 h 240"/>
                <a:gd name="T70" fmla="*/ 3 w 684"/>
                <a:gd name="T71" fmla="*/ 3 h 240"/>
                <a:gd name="T72" fmla="*/ 2 w 684"/>
                <a:gd name="T73" fmla="*/ 3 h 240"/>
                <a:gd name="T74" fmla="*/ 1 w 684"/>
                <a:gd name="T75" fmla="*/ 3 h 240"/>
                <a:gd name="T76" fmla="*/ 1 w 684"/>
                <a:gd name="T77" fmla="*/ 3 h 240"/>
                <a:gd name="T78" fmla="*/ 1 w 684"/>
                <a:gd name="T79" fmla="*/ 2 h 240"/>
                <a:gd name="T80" fmla="*/ 0 w 684"/>
                <a:gd name="T81" fmla="*/ 2 h 240"/>
                <a:gd name="T82" fmla="*/ 0 w 684"/>
                <a:gd name="T83" fmla="*/ 2 h 240"/>
                <a:gd name="T84" fmla="*/ 1 w 684"/>
                <a:gd name="T85" fmla="*/ 2 h 240"/>
                <a:gd name="T86" fmla="*/ 1 w 684"/>
                <a:gd name="T87" fmla="*/ 2 h 240"/>
                <a:gd name="T88" fmla="*/ 2 w 684"/>
                <a:gd name="T89" fmla="*/ 2 h 240"/>
                <a:gd name="T90" fmla="*/ 2 w 684"/>
                <a:gd name="T91" fmla="*/ 2 h 240"/>
                <a:gd name="T92" fmla="*/ 2 w 684"/>
                <a:gd name="T93" fmla="*/ 2 h 240"/>
                <a:gd name="T94" fmla="*/ 0 w 684"/>
                <a:gd name="T95" fmla="*/ 2 h 240"/>
                <a:gd name="T96" fmla="*/ 1 w 684"/>
                <a:gd name="T97" fmla="*/ 2 h 240"/>
                <a:gd name="T98" fmla="*/ 1 w 684"/>
                <a:gd name="T99" fmla="*/ 1 h 240"/>
                <a:gd name="T100" fmla="*/ 2 w 684"/>
                <a:gd name="T101" fmla="*/ 1 h 240"/>
                <a:gd name="T102" fmla="*/ 2 w 684"/>
                <a:gd name="T103" fmla="*/ 1 h 240"/>
                <a:gd name="T104" fmla="*/ 2 w 684"/>
                <a:gd name="T105" fmla="*/ 1 h 240"/>
                <a:gd name="T106" fmla="*/ 1 w 684"/>
                <a:gd name="T107" fmla="*/ 1 h 240"/>
                <a:gd name="T108" fmla="*/ 1 w 684"/>
                <a:gd name="T109" fmla="*/ 1 h 240"/>
                <a:gd name="T110" fmla="*/ 1 w 684"/>
                <a:gd name="T111" fmla="*/ 1 h 240"/>
                <a:gd name="T112" fmla="*/ 1 w 684"/>
                <a:gd name="T113" fmla="*/ 1 h 240"/>
                <a:gd name="T114" fmla="*/ 1 w 684"/>
                <a:gd name="T115" fmla="*/ 1 h 240"/>
                <a:gd name="T116" fmla="*/ 1 w 684"/>
                <a:gd name="T117" fmla="*/ 1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7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2 w 332"/>
                <a:gd name="T1" fmla="*/ 0 h 287"/>
                <a:gd name="T2" fmla="*/ 2 w 332"/>
                <a:gd name="T3" fmla="*/ 0 h 287"/>
                <a:gd name="T4" fmla="*/ 3 w 332"/>
                <a:gd name="T5" fmla="*/ 0 h 287"/>
                <a:gd name="T6" fmla="*/ 3 w 332"/>
                <a:gd name="T7" fmla="*/ 0 h 287"/>
                <a:gd name="T8" fmla="*/ 3 w 332"/>
                <a:gd name="T9" fmla="*/ 0 h 287"/>
                <a:gd name="T10" fmla="*/ 3 w 332"/>
                <a:gd name="T11" fmla="*/ 0 h 287"/>
                <a:gd name="T12" fmla="*/ 3 w 332"/>
                <a:gd name="T13" fmla="*/ 0 h 287"/>
                <a:gd name="T14" fmla="*/ 2 w 332"/>
                <a:gd name="T15" fmla="*/ 1 h 287"/>
                <a:gd name="T16" fmla="*/ 2 w 332"/>
                <a:gd name="T17" fmla="*/ 1 h 287"/>
                <a:gd name="T18" fmla="*/ 2 w 332"/>
                <a:gd name="T19" fmla="*/ 1 h 287"/>
                <a:gd name="T20" fmla="*/ 2 w 332"/>
                <a:gd name="T21" fmla="*/ 1 h 287"/>
                <a:gd name="T22" fmla="*/ 2 w 332"/>
                <a:gd name="T23" fmla="*/ 1 h 287"/>
                <a:gd name="T24" fmla="*/ 2 w 332"/>
                <a:gd name="T25" fmla="*/ 1 h 287"/>
                <a:gd name="T26" fmla="*/ 3 w 332"/>
                <a:gd name="T27" fmla="*/ 1 h 287"/>
                <a:gd name="T28" fmla="*/ 2 w 332"/>
                <a:gd name="T29" fmla="*/ 1 h 287"/>
                <a:gd name="T30" fmla="*/ 2 w 332"/>
                <a:gd name="T31" fmla="*/ 1 h 287"/>
                <a:gd name="T32" fmla="*/ 2 w 332"/>
                <a:gd name="T33" fmla="*/ 1 h 287"/>
                <a:gd name="T34" fmla="*/ 3 w 332"/>
                <a:gd name="T35" fmla="*/ 1 h 287"/>
                <a:gd name="T36" fmla="*/ 4 w 332"/>
                <a:gd name="T37" fmla="*/ 1 h 287"/>
                <a:gd name="T38" fmla="*/ 4 w 332"/>
                <a:gd name="T39" fmla="*/ 2 h 287"/>
                <a:gd name="T40" fmla="*/ 4 w 332"/>
                <a:gd name="T41" fmla="*/ 2 h 287"/>
                <a:gd name="T42" fmla="*/ 3 w 332"/>
                <a:gd name="T43" fmla="*/ 2 h 287"/>
                <a:gd name="T44" fmla="*/ 3 w 332"/>
                <a:gd name="T45" fmla="*/ 2 h 287"/>
                <a:gd name="T46" fmla="*/ 3 w 332"/>
                <a:gd name="T47" fmla="*/ 2 h 287"/>
                <a:gd name="T48" fmla="*/ 4 w 332"/>
                <a:gd name="T49" fmla="*/ 2 h 287"/>
                <a:gd name="T50" fmla="*/ 4 w 332"/>
                <a:gd name="T51" fmla="*/ 2 h 287"/>
                <a:gd name="T52" fmla="*/ 4 w 332"/>
                <a:gd name="T53" fmla="*/ 2 h 287"/>
                <a:gd name="T54" fmla="*/ 3 w 332"/>
                <a:gd name="T55" fmla="*/ 2 h 287"/>
                <a:gd name="T56" fmla="*/ 3 w 332"/>
                <a:gd name="T57" fmla="*/ 3 h 287"/>
                <a:gd name="T58" fmla="*/ 2 w 332"/>
                <a:gd name="T59" fmla="*/ 3 h 287"/>
                <a:gd name="T60" fmla="*/ 2 w 332"/>
                <a:gd name="T61" fmla="*/ 3 h 287"/>
                <a:gd name="T62" fmla="*/ 2 w 332"/>
                <a:gd name="T63" fmla="*/ 3 h 287"/>
                <a:gd name="T64" fmla="*/ 2 w 332"/>
                <a:gd name="T65" fmla="*/ 3 h 287"/>
                <a:gd name="T66" fmla="*/ 2 w 332"/>
                <a:gd name="T67" fmla="*/ 3 h 287"/>
                <a:gd name="T68" fmla="*/ 2 w 332"/>
                <a:gd name="T69" fmla="*/ 3 h 287"/>
                <a:gd name="T70" fmla="*/ 1 w 332"/>
                <a:gd name="T71" fmla="*/ 3 h 287"/>
                <a:gd name="T72" fmla="*/ 1 w 332"/>
                <a:gd name="T73" fmla="*/ 3 h 287"/>
                <a:gd name="T74" fmla="*/ 0 w 332"/>
                <a:gd name="T75" fmla="*/ 3 h 287"/>
                <a:gd name="T76" fmla="*/ 0 w 332"/>
                <a:gd name="T77" fmla="*/ 3 h 287"/>
                <a:gd name="T78" fmla="*/ 0 w 332"/>
                <a:gd name="T79" fmla="*/ 2 h 287"/>
                <a:gd name="T80" fmla="*/ 0 w 332"/>
                <a:gd name="T81" fmla="*/ 2 h 287"/>
                <a:gd name="T82" fmla="*/ 0 w 332"/>
                <a:gd name="T83" fmla="*/ 2 h 287"/>
                <a:gd name="T84" fmla="*/ 0 w 332"/>
                <a:gd name="T85" fmla="*/ 2 h 287"/>
                <a:gd name="T86" fmla="*/ 0 w 332"/>
                <a:gd name="T87" fmla="*/ 2 h 287"/>
                <a:gd name="T88" fmla="*/ 1 w 332"/>
                <a:gd name="T89" fmla="*/ 2 h 287"/>
                <a:gd name="T90" fmla="*/ 1 w 332"/>
                <a:gd name="T91" fmla="*/ 2 h 287"/>
                <a:gd name="T92" fmla="*/ 1 w 332"/>
                <a:gd name="T93" fmla="*/ 2 h 287"/>
                <a:gd name="T94" fmla="*/ 1 w 332"/>
                <a:gd name="T95" fmla="*/ 2 h 287"/>
                <a:gd name="T96" fmla="*/ 1 w 332"/>
                <a:gd name="T97" fmla="*/ 1 h 287"/>
                <a:gd name="T98" fmla="*/ 2 w 332"/>
                <a:gd name="T99" fmla="*/ 1 h 287"/>
                <a:gd name="T100" fmla="*/ 2 w 332"/>
                <a:gd name="T101" fmla="*/ 1 h 287"/>
                <a:gd name="T102" fmla="*/ 2 w 332"/>
                <a:gd name="T103" fmla="*/ 1 h 287"/>
                <a:gd name="T104" fmla="*/ 2 w 332"/>
                <a:gd name="T105" fmla="*/ 1 h 287"/>
                <a:gd name="T106" fmla="*/ 2 w 332"/>
                <a:gd name="T107" fmla="*/ 0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8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 w 345"/>
                <a:gd name="T1" fmla="*/ 1 h 86"/>
                <a:gd name="T2" fmla="*/ 1 w 345"/>
                <a:gd name="T3" fmla="*/ 1 h 86"/>
                <a:gd name="T4" fmla="*/ 2 w 345"/>
                <a:gd name="T5" fmla="*/ 1 h 86"/>
                <a:gd name="T6" fmla="*/ 2 w 345"/>
                <a:gd name="T7" fmla="*/ 1 h 86"/>
                <a:gd name="T8" fmla="*/ 2 w 345"/>
                <a:gd name="T9" fmla="*/ 1 h 86"/>
                <a:gd name="T10" fmla="*/ 2 w 345"/>
                <a:gd name="T11" fmla="*/ 1 h 86"/>
                <a:gd name="T12" fmla="*/ 3 w 345"/>
                <a:gd name="T13" fmla="*/ 1 h 86"/>
                <a:gd name="T14" fmla="*/ 3 w 345"/>
                <a:gd name="T15" fmla="*/ 1 h 86"/>
                <a:gd name="T16" fmla="*/ 3 w 345"/>
                <a:gd name="T17" fmla="*/ 1 h 86"/>
                <a:gd name="T18" fmla="*/ 3 w 345"/>
                <a:gd name="T19" fmla="*/ 0 h 86"/>
                <a:gd name="T20" fmla="*/ 3 w 345"/>
                <a:gd name="T21" fmla="*/ 0 h 86"/>
                <a:gd name="T22" fmla="*/ 3 w 345"/>
                <a:gd name="T23" fmla="*/ 0 h 86"/>
                <a:gd name="T24" fmla="*/ 4 w 345"/>
                <a:gd name="T25" fmla="*/ 0 h 86"/>
                <a:gd name="T26" fmla="*/ 4 w 345"/>
                <a:gd name="T27" fmla="*/ 0 h 86"/>
                <a:gd name="T28" fmla="*/ 4 w 345"/>
                <a:gd name="T29" fmla="*/ 0 h 86"/>
                <a:gd name="T30" fmla="*/ 4 w 345"/>
                <a:gd name="T31" fmla="*/ 0 h 86"/>
                <a:gd name="T32" fmla="*/ 4 w 345"/>
                <a:gd name="T33" fmla="*/ 0 h 86"/>
                <a:gd name="T34" fmla="*/ 4 w 345"/>
                <a:gd name="T35" fmla="*/ 0 h 86"/>
                <a:gd name="T36" fmla="*/ 3 w 345"/>
                <a:gd name="T37" fmla="*/ 0 h 86"/>
                <a:gd name="T38" fmla="*/ 3 w 345"/>
                <a:gd name="T39" fmla="*/ 0 h 86"/>
                <a:gd name="T40" fmla="*/ 3 w 345"/>
                <a:gd name="T41" fmla="*/ 0 h 86"/>
                <a:gd name="T42" fmla="*/ 3 w 345"/>
                <a:gd name="T43" fmla="*/ 0 h 86"/>
                <a:gd name="T44" fmla="*/ 3 w 345"/>
                <a:gd name="T45" fmla="*/ 0 h 86"/>
                <a:gd name="T46" fmla="*/ 3 w 345"/>
                <a:gd name="T47" fmla="*/ 0 h 86"/>
                <a:gd name="T48" fmla="*/ 3 w 345"/>
                <a:gd name="T49" fmla="*/ 0 h 86"/>
                <a:gd name="T50" fmla="*/ 2 w 345"/>
                <a:gd name="T51" fmla="*/ 0 h 86"/>
                <a:gd name="T52" fmla="*/ 2 w 345"/>
                <a:gd name="T53" fmla="*/ 0 h 86"/>
                <a:gd name="T54" fmla="*/ 2 w 345"/>
                <a:gd name="T55" fmla="*/ 0 h 86"/>
                <a:gd name="T56" fmla="*/ 1 w 345"/>
                <a:gd name="T57" fmla="*/ 0 h 86"/>
                <a:gd name="T58" fmla="*/ 1 w 345"/>
                <a:gd name="T59" fmla="*/ 0 h 86"/>
                <a:gd name="T60" fmla="*/ 1 w 345"/>
                <a:gd name="T61" fmla="*/ 0 h 86"/>
                <a:gd name="T62" fmla="*/ 1 w 345"/>
                <a:gd name="T63" fmla="*/ 1 h 86"/>
                <a:gd name="T64" fmla="*/ 1 w 345"/>
                <a:gd name="T65" fmla="*/ 1 h 86"/>
                <a:gd name="T66" fmla="*/ 0 w 345"/>
                <a:gd name="T67" fmla="*/ 1 h 86"/>
                <a:gd name="T68" fmla="*/ 0 w 345"/>
                <a:gd name="T69" fmla="*/ 1 h 86"/>
                <a:gd name="T70" fmla="*/ 0 w 345"/>
                <a:gd name="T71" fmla="*/ 1 h 86"/>
                <a:gd name="T72" fmla="*/ 0 w 345"/>
                <a:gd name="T73" fmla="*/ 1 h 86"/>
                <a:gd name="T74" fmla="*/ 1 w 345"/>
                <a:gd name="T75" fmla="*/ 1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9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0 w 464"/>
                <a:gd name="T1" fmla="*/ 1 h 130"/>
                <a:gd name="T2" fmla="*/ 1 w 464"/>
                <a:gd name="T3" fmla="*/ 1 h 130"/>
                <a:gd name="T4" fmla="*/ 1 w 464"/>
                <a:gd name="T5" fmla="*/ 1 h 130"/>
                <a:gd name="T6" fmla="*/ 1 w 464"/>
                <a:gd name="T7" fmla="*/ 1 h 130"/>
                <a:gd name="T8" fmla="*/ 1 w 464"/>
                <a:gd name="T9" fmla="*/ 1 h 130"/>
                <a:gd name="T10" fmla="*/ 1 w 464"/>
                <a:gd name="T11" fmla="*/ 1 h 130"/>
                <a:gd name="T12" fmla="*/ 1 w 464"/>
                <a:gd name="T13" fmla="*/ 1 h 130"/>
                <a:gd name="T14" fmla="*/ 1 w 464"/>
                <a:gd name="T15" fmla="*/ 2 h 130"/>
                <a:gd name="T16" fmla="*/ 1 w 464"/>
                <a:gd name="T17" fmla="*/ 2 h 130"/>
                <a:gd name="T18" fmla="*/ 1 w 464"/>
                <a:gd name="T19" fmla="*/ 2 h 130"/>
                <a:gd name="T20" fmla="*/ 1 w 464"/>
                <a:gd name="T21" fmla="*/ 2 h 130"/>
                <a:gd name="T22" fmla="*/ 2 w 464"/>
                <a:gd name="T23" fmla="*/ 1 h 130"/>
                <a:gd name="T24" fmla="*/ 2 w 464"/>
                <a:gd name="T25" fmla="*/ 1 h 130"/>
                <a:gd name="T26" fmla="*/ 2 w 464"/>
                <a:gd name="T27" fmla="*/ 1 h 130"/>
                <a:gd name="T28" fmla="*/ 3 w 464"/>
                <a:gd name="T29" fmla="*/ 1 h 130"/>
                <a:gd name="T30" fmla="*/ 3 w 464"/>
                <a:gd name="T31" fmla="*/ 1 h 130"/>
                <a:gd name="T32" fmla="*/ 3 w 464"/>
                <a:gd name="T33" fmla="*/ 1 h 130"/>
                <a:gd name="T34" fmla="*/ 4 w 464"/>
                <a:gd name="T35" fmla="*/ 1 h 130"/>
                <a:gd name="T36" fmla="*/ 4 w 464"/>
                <a:gd name="T37" fmla="*/ 1 h 130"/>
                <a:gd name="T38" fmla="*/ 4 w 464"/>
                <a:gd name="T39" fmla="*/ 1 h 130"/>
                <a:gd name="T40" fmla="*/ 5 w 464"/>
                <a:gd name="T41" fmla="*/ 1 h 130"/>
                <a:gd name="T42" fmla="*/ 5 w 464"/>
                <a:gd name="T43" fmla="*/ 1 h 130"/>
                <a:gd name="T44" fmla="*/ 4 w 464"/>
                <a:gd name="T45" fmla="*/ 1 h 130"/>
                <a:gd name="T46" fmla="*/ 4 w 464"/>
                <a:gd name="T47" fmla="*/ 1 h 130"/>
                <a:gd name="T48" fmla="*/ 4 w 464"/>
                <a:gd name="T49" fmla="*/ 1 h 130"/>
                <a:gd name="T50" fmla="*/ 4 w 464"/>
                <a:gd name="T51" fmla="*/ 0 h 130"/>
                <a:gd name="T52" fmla="*/ 4 w 464"/>
                <a:gd name="T53" fmla="*/ 0 h 130"/>
                <a:gd name="T54" fmla="*/ 4 w 464"/>
                <a:gd name="T55" fmla="*/ 0 h 130"/>
                <a:gd name="T56" fmla="*/ 4 w 464"/>
                <a:gd name="T57" fmla="*/ 0 h 130"/>
                <a:gd name="T58" fmla="*/ 4 w 464"/>
                <a:gd name="T59" fmla="*/ 0 h 130"/>
                <a:gd name="T60" fmla="*/ 4 w 464"/>
                <a:gd name="T61" fmla="*/ 1 h 130"/>
                <a:gd name="T62" fmla="*/ 4 w 464"/>
                <a:gd name="T63" fmla="*/ 1 h 130"/>
                <a:gd name="T64" fmla="*/ 3 w 464"/>
                <a:gd name="T65" fmla="*/ 1 h 130"/>
                <a:gd name="T66" fmla="*/ 3 w 464"/>
                <a:gd name="T67" fmla="*/ 1 h 130"/>
                <a:gd name="T68" fmla="*/ 3 w 464"/>
                <a:gd name="T69" fmla="*/ 1 h 130"/>
                <a:gd name="T70" fmla="*/ 3 w 464"/>
                <a:gd name="T71" fmla="*/ 1 h 130"/>
                <a:gd name="T72" fmla="*/ 3 w 464"/>
                <a:gd name="T73" fmla="*/ 1 h 130"/>
                <a:gd name="T74" fmla="*/ 2 w 464"/>
                <a:gd name="T75" fmla="*/ 0 h 130"/>
                <a:gd name="T76" fmla="*/ 2 w 464"/>
                <a:gd name="T77" fmla="*/ 0 h 130"/>
                <a:gd name="T78" fmla="*/ 2 w 464"/>
                <a:gd name="T79" fmla="*/ 0 h 130"/>
                <a:gd name="T80" fmla="*/ 1 w 464"/>
                <a:gd name="T81" fmla="*/ 0 h 130"/>
                <a:gd name="T82" fmla="*/ 1 w 464"/>
                <a:gd name="T83" fmla="*/ 1 h 130"/>
                <a:gd name="T84" fmla="*/ 1 w 464"/>
                <a:gd name="T85" fmla="*/ 1 h 130"/>
                <a:gd name="T86" fmla="*/ 0 w 464"/>
                <a:gd name="T87" fmla="*/ 1 h 130"/>
                <a:gd name="T88" fmla="*/ 0 w 464"/>
                <a:gd name="T89" fmla="*/ 1 h 130"/>
                <a:gd name="T90" fmla="*/ 0 w 464"/>
                <a:gd name="T91" fmla="*/ 1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0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1 w 472"/>
                <a:gd name="T1" fmla="*/ 0 h 92"/>
                <a:gd name="T2" fmla="*/ 1 w 472"/>
                <a:gd name="T3" fmla="*/ 0 h 92"/>
                <a:gd name="T4" fmla="*/ 0 w 472"/>
                <a:gd name="T5" fmla="*/ 0 h 92"/>
                <a:gd name="T6" fmla="*/ 0 w 472"/>
                <a:gd name="T7" fmla="*/ 0 h 92"/>
                <a:gd name="T8" fmla="*/ 0 w 472"/>
                <a:gd name="T9" fmla="*/ 0 h 92"/>
                <a:gd name="T10" fmla="*/ 0 w 472"/>
                <a:gd name="T11" fmla="*/ 0 h 92"/>
                <a:gd name="T12" fmla="*/ 0 w 472"/>
                <a:gd name="T13" fmla="*/ 0 h 92"/>
                <a:gd name="T14" fmla="*/ 0 w 472"/>
                <a:gd name="T15" fmla="*/ 0 h 92"/>
                <a:gd name="T16" fmla="*/ 0 w 472"/>
                <a:gd name="T17" fmla="*/ 1 h 92"/>
                <a:gd name="T18" fmla="*/ 0 w 472"/>
                <a:gd name="T19" fmla="*/ 1 h 92"/>
                <a:gd name="T20" fmla="*/ 0 w 472"/>
                <a:gd name="T21" fmla="*/ 1 h 92"/>
                <a:gd name="T22" fmla="*/ 0 w 472"/>
                <a:gd name="T23" fmla="*/ 1 h 92"/>
                <a:gd name="T24" fmla="*/ 0 w 472"/>
                <a:gd name="T25" fmla="*/ 1 h 92"/>
                <a:gd name="T26" fmla="*/ 1 w 472"/>
                <a:gd name="T27" fmla="*/ 1 h 92"/>
                <a:gd name="T28" fmla="*/ 1 w 472"/>
                <a:gd name="T29" fmla="*/ 1 h 92"/>
                <a:gd name="T30" fmla="*/ 2 w 472"/>
                <a:gd name="T31" fmla="*/ 1 h 92"/>
                <a:gd name="T32" fmla="*/ 4 w 472"/>
                <a:gd name="T33" fmla="*/ 1 h 92"/>
                <a:gd name="T34" fmla="*/ 4 w 472"/>
                <a:gd name="T35" fmla="*/ 1 h 92"/>
                <a:gd name="T36" fmla="*/ 4 w 472"/>
                <a:gd name="T37" fmla="*/ 1 h 92"/>
                <a:gd name="T38" fmla="*/ 5 w 472"/>
                <a:gd name="T39" fmla="*/ 1 h 92"/>
                <a:gd name="T40" fmla="*/ 5 w 472"/>
                <a:gd name="T41" fmla="*/ 1 h 92"/>
                <a:gd name="T42" fmla="*/ 5 w 472"/>
                <a:gd name="T43" fmla="*/ 1 h 92"/>
                <a:gd name="T44" fmla="*/ 5 w 472"/>
                <a:gd name="T45" fmla="*/ 1 h 92"/>
                <a:gd name="T46" fmla="*/ 5 w 472"/>
                <a:gd name="T47" fmla="*/ 1 h 92"/>
                <a:gd name="T48" fmla="*/ 5 w 472"/>
                <a:gd name="T49" fmla="*/ 0 h 92"/>
                <a:gd name="T50" fmla="*/ 5 w 472"/>
                <a:gd name="T51" fmla="*/ 0 h 92"/>
                <a:gd name="T52" fmla="*/ 5 w 472"/>
                <a:gd name="T53" fmla="*/ 0 h 92"/>
                <a:gd name="T54" fmla="*/ 5 w 472"/>
                <a:gd name="T55" fmla="*/ 0 h 92"/>
                <a:gd name="T56" fmla="*/ 5 w 472"/>
                <a:gd name="T57" fmla="*/ 0 h 92"/>
                <a:gd name="T58" fmla="*/ 4 w 472"/>
                <a:gd name="T59" fmla="*/ 0 h 92"/>
                <a:gd name="T60" fmla="*/ 4 w 472"/>
                <a:gd name="T61" fmla="*/ 0 h 92"/>
                <a:gd name="T62" fmla="*/ 4 w 472"/>
                <a:gd name="T63" fmla="*/ 0 h 92"/>
                <a:gd name="T64" fmla="*/ 3 w 472"/>
                <a:gd name="T65" fmla="*/ 0 h 92"/>
                <a:gd name="T66" fmla="*/ 3 w 472"/>
                <a:gd name="T67" fmla="*/ 1 h 92"/>
                <a:gd name="T68" fmla="*/ 3 w 472"/>
                <a:gd name="T69" fmla="*/ 1 h 92"/>
                <a:gd name="T70" fmla="*/ 2 w 472"/>
                <a:gd name="T71" fmla="*/ 1 h 92"/>
                <a:gd name="T72" fmla="*/ 2 w 472"/>
                <a:gd name="T73" fmla="*/ 1 h 92"/>
                <a:gd name="T74" fmla="*/ 1 w 472"/>
                <a:gd name="T75" fmla="*/ 1 h 92"/>
                <a:gd name="T76" fmla="*/ 1 w 472"/>
                <a:gd name="T77" fmla="*/ 1 h 92"/>
                <a:gd name="T78" fmla="*/ 1 w 472"/>
                <a:gd name="T79" fmla="*/ 0 h 92"/>
                <a:gd name="T80" fmla="*/ 1 w 472"/>
                <a:gd name="T81" fmla="*/ 0 h 92"/>
                <a:gd name="T82" fmla="*/ 1 w 472"/>
                <a:gd name="T83" fmla="*/ 0 h 92"/>
                <a:gd name="T84" fmla="*/ 1 w 472"/>
                <a:gd name="T85" fmla="*/ 0 h 92"/>
                <a:gd name="T86" fmla="*/ 1 w 472"/>
                <a:gd name="T87" fmla="*/ 0 h 92"/>
                <a:gd name="T88" fmla="*/ 1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1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2 w 326"/>
                <a:gd name="T1" fmla="*/ 1 h 135"/>
                <a:gd name="T2" fmla="*/ 2 w 326"/>
                <a:gd name="T3" fmla="*/ 1 h 135"/>
                <a:gd name="T4" fmla="*/ 3 w 326"/>
                <a:gd name="T5" fmla="*/ 1 h 135"/>
                <a:gd name="T6" fmla="*/ 3 w 326"/>
                <a:gd name="T7" fmla="*/ 1 h 135"/>
                <a:gd name="T8" fmla="*/ 4 w 326"/>
                <a:gd name="T9" fmla="*/ 1 h 135"/>
                <a:gd name="T10" fmla="*/ 4 w 326"/>
                <a:gd name="T11" fmla="*/ 1 h 135"/>
                <a:gd name="T12" fmla="*/ 4 w 326"/>
                <a:gd name="T13" fmla="*/ 1 h 135"/>
                <a:gd name="T14" fmla="*/ 3 w 326"/>
                <a:gd name="T15" fmla="*/ 1 h 135"/>
                <a:gd name="T16" fmla="*/ 3 w 326"/>
                <a:gd name="T17" fmla="*/ 0 h 135"/>
                <a:gd name="T18" fmla="*/ 3 w 326"/>
                <a:gd name="T19" fmla="*/ 0 h 135"/>
                <a:gd name="T20" fmla="*/ 3 w 326"/>
                <a:gd name="T21" fmla="*/ 0 h 135"/>
                <a:gd name="T22" fmla="*/ 2 w 326"/>
                <a:gd name="T23" fmla="*/ 0 h 135"/>
                <a:gd name="T24" fmla="*/ 2 w 326"/>
                <a:gd name="T25" fmla="*/ 0 h 135"/>
                <a:gd name="T26" fmla="*/ 2 w 326"/>
                <a:gd name="T27" fmla="*/ 0 h 135"/>
                <a:gd name="T28" fmla="*/ 2 w 326"/>
                <a:gd name="T29" fmla="*/ 0 h 135"/>
                <a:gd name="T30" fmla="*/ 2 w 326"/>
                <a:gd name="T31" fmla="*/ 0 h 135"/>
                <a:gd name="T32" fmla="*/ 2 w 326"/>
                <a:gd name="T33" fmla="*/ 0 h 135"/>
                <a:gd name="T34" fmla="*/ 2 w 326"/>
                <a:gd name="T35" fmla="*/ 0 h 135"/>
                <a:gd name="T36" fmla="*/ 1 w 326"/>
                <a:gd name="T37" fmla="*/ 0 h 135"/>
                <a:gd name="T38" fmla="*/ 1 w 326"/>
                <a:gd name="T39" fmla="*/ 0 h 135"/>
                <a:gd name="T40" fmla="*/ 0 w 326"/>
                <a:gd name="T41" fmla="*/ 0 h 135"/>
                <a:gd name="T42" fmla="*/ 0 w 326"/>
                <a:gd name="T43" fmla="*/ 0 h 135"/>
                <a:gd name="T44" fmla="*/ 0 w 326"/>
                <a:gd name="T45" fmla="*/ 1 h 135"/>
                <a:gd name="T46" fmla="*/ 0 w 326"/>
                <a:gd name="T47" fmla="*/ 1 h 135"/>
                <a:gd name="T48" fmla="*/ 0 w 326"/>
                <a:gd name="T49" fmla="*/ 1 h 135"/>
                <a:gd name="T50" fmla="*/ 1 w 326"/>
                <a:gd name="T51" fmla="*/ 1 h 135"/>
                <a:gd name="T52" fmla="*/ 0 w 326"/>
                <a:gd name="T53" fmla="*/ 1 h 135"/>
                <a:gd name="T54" fmla="*/ 0 w 326"/>
                <a:gd name="T55" fmla="*/ 1 h 135"/>
                <a:gd name="T56" fmla="*/ 1 w 326"/>
                <a:gd name="T57" fmla="*/ 1 h 135"/>
                <a:gd name="T58" fmla="*/ 1 w 326"/>
                <a:gd name="T59" fmla="*/ 2 h 135"/>
                <a:gd name="T60" fmla="*/ 1 w 326"/>
                <a:gd name="T61" fmla="*/ 2 h 135"/>
                <a:gd name="T62" fmla="*/ 1 w 326"/>
                <a:gd name="T63" fmla="*/ 2 h 135"/>
                <a:gd name="T64" fmla="*/ 1 w 326"/>
                <a:gd name="T65" fmla="*/ 2 h 135"/>
                <a:gd name="T66" fmla="*/ 1 w 326"/>
                <a:gd name="T67" fmla="*/ 2 h 135"/>
                <a:gd name="T68" fmla="*/ 1 w 326"/>
                <a:gd name="T69" fmla="*/ 2 h 135"/>
                <a:gd name="T70" fmla="*/ 1 w 326"/>
                <a:gd name="T71" fmla="*/ 1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2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 w 159"/>
                <a:gd name="T1" fmla="*/ 1 h 56"/>
                <a:gd name="T2" fmla="*/ 0 w 159"/>
                <a:gd name="T3" fmla="*/ 1 h 56"/>
                <a:gd name="T4" fmla="*/ 0 w 159"/>
                <a:gd name="T5" fmla="*/ 1 h 56"/>
                <a:gd name="T6" fmla="*/ 0 w 159"/>
                <a:gd name="T7" fmla="*/ 1 h 56"/>
                <a:gd name="T8" fmla="*/ 0 w 159"/>
                <a:gd name="T9" fmla="*/ 0 h 56"/>
                <a:gd name="T10" fmla="*/ 0 w 159"/>
                <a:gd name="T11" fmla="*/ 0 h 56"/>
                <a:gd name="T12" fmla="*/ 0 w 159"/>
                <a:gd name="T13" fmla="*/ 0 h 56"/>
                <a:gd name="T14" fmla="*/ 0 w 159"/>
                <a:gd name="T15" fmla="*/ 0 h 56"/>
                <a:gd name="T16" fmla="*/ 0 w 159"/>
                <a:gd name="T17" fmla="*/ 0 h 56"/>
                <a:gd name="T18" fmla="*/ 0 w 159"/>
                <a:gd name="T19" fmla="*/ 0 h 56"/>
                <a:gd name="T20" fmla="*/ 0 w 159"/>
                <a:gd name="T21" fmla="*/ 0 h 56"/>
                <a:gd name="T22" fmla="*/ 0 w 159"/>
                <a:gd name="T23" fmla="*/ 0 h 56"/>
                <a:gd name="T24" fmla="*/ 0 w 159"/>
                <a:gd name="T25" fmla="*/ 0 h 56"/>
                <a:gd name="T26" fmla="*/ 1 w 159"/>
                <a:gd name="T27" fmla="*/ 0 h 56"/>
                <a:gd name="T28" fmla="*/ 1 w 159"/>
                <a:gd name="T29" fmla="*/ 0 h 56"/>
                <a:gd name="T30" fmla="*/ 1 w 159"/>
                <a:gd name="T31" fmla="*/ 0 h 56"/>
                <a:gd name="T32" fmla="*/ 1 w 159"/>
                <a:gd name="T33" fmla="*/ 0 h 56"/>
                <a:gd name="T34" fmla="*/ 1 w 159"/>
                <a:gd name="T35" fmla="*/ 0 h 56"/>
                <a:gd name="T36" fmla="*/ 1 w 159"/>
                <a:gd name="T37" fmla="*/ 0 h 56"/>
                <a:gd name="T38" fmla="*/ 1 w 159"/>
                <a:gd name="T39" fmla="*/ 0 h 56"/>
                <a:gd name="T40" fmla="*/ 2 w 159"/>
                <a:gd name="T41" fmla="*/ 0 h 56"/>
                <a:gd name="T42" fmla="*/ 2 w 159"/>
                <a:gd name="T43" fmla="*/ 0 h 56"/>
                <a:gd name="T44" fmla="*/ 2 w 159"/>
                <a:gd name="T45" fmla="*/ 0 h 56"/>
                <a:gd name="T46" fmla="*/ 2 w 159"/>
                <a:gd name="T47" fmla="*/ 0 h 56"/>
                <a:gd name="T48" fmla="*/ 2 w 159"/>
                <a:gd name="T49" fmla="*/ 0 h 56"/>
                <a:gd name="T50" fmla="*/ 2 w 159"/>
                <a:gd name="T51" fmla="*/ 0 h 56"/>
                <a:gd name="T52" fmla="*/ 2 w 159"/>
                <a:gd name="T53" fmla="*/ 0 h 56"/>
                <a:gd name="T54" fmla="*/ 2 w 159"/>
                <a:gd name="T55" fmla="*/ 1 h 56"/>
                <a:gd name="T56" fmla="*/ 2 w 159"/>
                <a:gd name="T57" fmla="*/ 1 h 56"/>
                <a:gd name="T58" fmla="*/ 1 w 159"/>
                <a:gd name="T59" fmla="*/ 1 h 56"/>
                <a:gd name="T60" fmla="*/ 1 w 159"/>
                <a:gd name="T61" fmla="*/ 1 h 56"/>
                <a:gd name="T62" fmla="*/ 1 w 159"/>
                <a:gd name="T63" fmla="*/ 1 h 56"/>
                <a:gd name="T64" fmla="*/ 1 w 159"/>
                <a:gd name="T65" fmla="*/ 1 h 56"/>
                <a:gd name="T66" fmla="*/ 1 w 159"/>
                <a:gd name="T67" fmla="*/ 1 h 56"/>
                <a:gd name="T68" fmla="*/ 1 w 159"/>
                <a:gd name="T69" fmla="*/ 1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3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32 w 3734"/>
                <a:gd name="T1" fmla="*/ 16 h 1644"/>
                <a:gd name="T2" fmla="*/ 28 w 3734"/>
                <a:gd name="T3" fmla="*/ 18 h 1644"/>
                <a:gd name="T4" fmla="*/ 25 w 3734"/>
                <a:gd name="T5" fmla="*/ 18 h 1644"/>
                <a:gd name="T6" fmla="*/ 25 w 3734"/>
                <a:gd name="T7" fmla="*/ 19 h 1644"/>
                <a:gd name="T8" fmla="*/ 24 w 3734"/>
                <a:gd name="T9" fmla="*/ 19 h 1644"/>
                <a:gd name="T10" fmla="*/ 25 w 3734"/>
                <a:gd name="T11" fmla="*/ 17 h 1644"/>
                <a:gd name="T12" fmla="*/ 24 w 3734"/>
                <a:gd name="T13" fmla="*/ 16 h 1644"/>
                <a:gd name="T14" fmla="*/ 23 w 3734"/>
                <a:gd name="T15" fmla="*/ 15 h 1644"/>
                <a:gd name="T16" fmla="*/ 21 w 3734"/>
                <a:gd name="T17" fmla="*/ 15 h 1644"/>
                <a:gd name="T18" fmla="*/ 19 w 3734"/>
                <a:gd name="T19" fmla="*/ 15 h 1644"/>
                <a:gd name="T20" fmla="*/ 3 w 3734"/>
                <a:gd name="T21" fmla="*/ 14 h 1644"/>
                <a:gd name="T22" fmla="*/ 1 w 3734"/>
                <a:gd name="T23" fmla="*/ 13 h 1644"/>
                <a:gd name="T24" fmla="*/ 2 w 3734"/>
                <a:gd name="T25" fmla="*/ 12 h 1644"/>
                <a:gd name="T26" fmla="*/ 2 w 3734"/>
                <a:gd name="T27" fmla="*/ 11 h 1644"/>
                <a:gd name="T28" fmla="*/ 3 w 3734"/>
                <a:gd name="T29" fmla="*/ 10 h 1644"/>
                <a:gd name="T30" fmla="*/ 3 w 3734"/>
                <a:gd name="T31" fmla="*/ 9 h 1644"/>
                <a:gd name="T32" fmla="*/ 1 w 3734"/>
                <a:gd name="T33" fmla="*/ 8 h 1644"/>
                <a:gd name="T34" fmla="*/ 6 w 3734"/>
                <a:gd name="T35" fmla="*/ 1 h 1644"/>
                <a:gd name="T36" fmla="*/ 12 w 3734"/>
                <a:gd name="T37" fmla="*/ 1 h 1644"/>
                <a:gd name="T38" fmla="*/ 14 w 3734"/>
                <a:gd name="T39" fmla="*/ 1 h 1644"/>
                <a:gd name="T40" fmla="*/ 18 w 3734"/>
                <a:gd name="T41" fmla="*/ 2 h 1644"/>
                <a:gd name="T42" fmla="*/ 19 w 3734"/>
                <a:gd name="T43" fmla="*/ 2 h 1644"/>
                <a:gd name="T44" fmla="*/ 23 w 3734"/>
                <a:gd name="T45" fmla="*/ 2 h 1644"/>
                <a:gd name="T46" fmla="*/ 25 w 3734"/>
                <a:gd name="T47" fmla="*/ 3 h 1644"/>
                <a:gd name="T48" fmla="*/ 25 w 3734"/>
                <a:gd name="T49" fmla="*/ 3 h 1644"/>
                <a:gd name="T50" fmla="*/ 27 w 3734"/>
                <a:gd name="T51" fmla="*/ 1 h 1644"/>
                <a:gd name="T52" fmla="*/ 28 w 3734"/>
                <a:gd name="T53" fmla="*/ 0 h 1644"/>
                <a:gd name="T54" fmla="*/ 29 w 3734"/>
                <a:gd name="T55" fmla="*/ 1 h 1644"/>
                <a:gd name="T56" fmla="*/ 29 w 3734"/>
                <a:gd name="T57" fmla="*/ 2 h 1644"/>
                <a:gd name="T58" fmla="*/ 29 w 3734"/>
                <a:gd name="T59" fmla="*/ 2 h 1644"/>
                <a:gd name="T60" fmla="*/ 31 w 3734"/>
                <a:gd name="T61" fmla="*/ 1 h 1644"/>
                <a:gd name="T62" fmla="*/ 33 w 3734"/>
                <a:gd name="T63" fmla="*/ 2 h 1644"/>
                <a:gd name="T64" fmla="*/ 31 w 3734"/>
                <a:gd name="T65" fmla="*/ 3 h 1644"/>
                <a:gd name="T66" fmla="*/ 30 w 3734"/>
                <a:gd name="T67" fmla="*/ 3 h 1644"/>
                <a:gd name="T68" fmla="*/ 28 w 3734"/>
                <a:gd name="T69" fmla="*/ 4 h 1644"/>
                <a:gd name="T70" fmla="*/ 27 w 3734"/>
                <a:gd name="T71" fmla="*/ 5 h 1644"/>
                <a:gd name="T72" fmla="*/ 25 w 3734"/>
                <a:gd name="T73" fmla="*/ 5 h 1644"/>
                <a:gd name="T74" fmla="*/ 23 w 3734"/>
                <a:gd name="T75" fmla="*/ 7 h 1644"/>
                <a:gd name="T76" fmla="*/ 23 w 3734"/>
                <a:gd name="T77" fmla="*/ 9 h 1644"/>
                <a:gd name="T78" fmla="*/ 25 w 3734"/>
                <a:gd name="T79" fmla="*/ 10 h 1644"/>
                <a:gd name="T80" fmla="*/ 26 w 3734"/>
                <a:gd name="T81" fmla="*/ 12 h 1644"/>
                <a:gd name="T82" fmla="*/ 28 w 3734"/>
                <a:gd name="T83" fmla="*/ 11 h 1644"/>
                <a:gd name="T84" fmla="*/ 31 w 3734"/>
                <a:gd name="T85" fmla="*/ 9 h 1644"/>
                <a:gd name="T86" fmla="*/ 31 w 3734"/>
                <a:gd name="T87" fmla="*/ 7 h 1644"/>
                <a:gd name="T88" fmla="*/ 34 w 3734"/>
                <a:gd name="T89" fmla="*/ 6 h 1644"/>
                <a:gd name="T90" fmla="*/ 35 w 3734"/>
                <a:gd name="T91" fmla="*/ 7 h 1644"/>
                <a:gd name="T92" fmla="*/ 35 w 3734"/>
                <a:gd name="T93" fmla="*/ 9 h 1644"/>
                <a:gd name="T94" fmla="*/ 38 w 3734"/>
                <a:gd name="T95" fmla="*/ 7 h 1644"/>
                <a:gd name="T96" fmla="*/ 38 w 3734"/>
                <a:gd name="T97" fmla="*/ 9 h 1644"/>
                <a:gd name="T98" fmla="*/ 40 w 3734"/>
                <a:gd name="T99" fmla="*/ 10 h 1644"/>
                <a:gd name="T100" fmla="*/ 39 w 3734"/>
                <a:gd name="T101" fmla="*/ 11 h 1644"/>
                <a:gd name="T102" fmla="*/ 40 w 3734"/>
                <a:gd name="T103" fmla="*/ 12 h 1644"/>
                <a:gd name="T104" fmla="*/ 38 w 3734"/>
                <a:gd name="T105" fmla="*/ 13 h 1644"/>
                <a:gd name="T106" fmla="*/ 34 w 3734"/>
                <a:gd name="T107" fmla="*/ 13 h 1644"/>
                <a:gd name="T108" fmla="*/ 31 w 3734"/>
                <a:gd name="T109" fmla="*/ 15 h 1644"/>
                <a:gd name="T110" fmla="*/ 31 w 3734"/>
                <a:gd name="T111" fmla="*/ 15 h 1644"/>
                <a:gd name="T112" fmla="*/ 35 w 3734"/>
                <a:gd name="T113" fmla="*/ 14 h 1644"/>
                <a:gd name="T114" fmla="*/ 33 w 3734"/>
                <a:gd name="T115" fmla="*/ 15 h 1644"/>
                <a:gd name="T116" fmla="*/ 34 w 3734"/>
                <a:gd name="T117" fmla="*/ 16 h 1644"/>
                <a:gd name="T118" fmla="*/ 35 w 3734"/>
                <a:gd name="T119" fmla="*/ 17 h 1644"/>
                <a:gd name="T120" fmla="*/ 33 w 3734"/>
                <a:gd name="T121" fmla="*/ 18 h 1644"/>
                <a:gd name="T122" fmla="*/ 35 w 3734"/>
                <a:gd name="T123" fmla="*/ 17 h 1644"/>
                <a:gd name="T124" fmla="*/ 33 w 3734"/>
                <a:gd name="T125" fmla="*/ 1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24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925878" y="4504953"/>
            <a:ext cx="127000" cy="158750"/>
          </a:xfrm>
          <a:custGeom>
            <a:avLst/>
            <a:gdLst>
              <a:gd name="T0" fmla="*/ 2147483647 w 292"/>
              <a:gd name="T1" fmla="*/ 2147483647 h 308"/>
              <a:gd name="T2" fmla="*/ 2147483647 w 292"/>
              <a:gd name="T3" fmla="*/ 2147483647 h 308"/>
              <a:gd name="T4" fmla="*/ 2147483647 w 292"/>
              <a:gd name="T5" fmla="*/ 2147483647 h 308"/>
              <a:gd name="T6" fmla="*/ 2147483647 w 292"/>
              <a:gd name="T7" fmla="*/ 2147483647 h 308"/>
              <a:gd name="T8" fmla="*/ 2147483647 w 292"/>
              <a:gd name="T9" fmla="*/ 2147483647 h 308"/>
              <a:gd name="T10" fmla="*/ 2147483647 w 292"/>
              <a:gd name="T11" fmla="*/ 2147483647 h 308"/>
              <a:gd name="T12" fmla="*/ 2147483647 w 292"/>
              <a:gd name="T13" fmla="*/ 2147483647 h 308"/>
              <a:gd name="T14" fmla="*/ 2147483647 w 292"/>
              <a:gd name="T15" fmla="*/ 2147483647 h 308"/>
              <a:gd name="T16" fmla="*/ 2147483647 w 292"/>
              <a:gd name="T17" fmla="*/ 2147483647 h 308"/>
              <a:gd name="T18" fmla="*/ 2147483647 w 292"/>
              <a:gd name="T19" fmla="*/ 2147483647 h 308"/>
              <a:gd name="T20" fmla="*/ 2147483647 w 292"/>
              <a:gd name="T21" fmla="*/ 2147483647 h 308"/>
              <a:gd name="T22" fmla="*/ 2147483647 w 292"/>
              <a:gd name="T23" fmla="*/ 2147483647 h 308"/>
              <a:gd name="T24" fmla="*/ 2147483647 w 292"/>
              <a:gd name="T25" fmla="*/ 2147483647 h 308"/>
              <a:gd name="T26" fmla="*/ 2147483647 w 292"/>
              <a:gd name="T27" fmla="*/ 2147483647 h 308"/>
              <a:gd name="T28" fmla="*/ 2147483647 w 292"/>
              <a:gd name="T29" fmla="*/ 2147483647 h 308"/>
              <a:gd name="T30" fmla="*/ 2147483647 w 292"/>
              <a:gd name="T31" fmla="*/ 2147483647 h 308"/>
              <a:gd name="T32" fmla="*/ 2147483647 w 292"/>
              <a:gd name="T33" fmla="*/ 2147483647 h 308"/>
              <a:gd name="T34" fmla="*/ 0 w 292"/>
              <a:gd name="T35" fmla="*/ 2147483647 h 308"/>
              <a:gd name="T36" fmla="*/ 2147483647 w 292"/>
              <a:gd name="T37" fmla="*/ 2147483647 h 308"/>
              <a:gd name="T38" fmla="*/ 2147483647 w 292"/>
              <a:gd name="T39" fmla="*/ 2147483647 h 308"/>
              <a:gd name="T40" fmla="*/ 2147483647 w 292"/>
              <a:gd name="T41" fmla="*/ 2147483647 h 308"/>
              <a:gd name="T42" fmla="*/ 2147483647 w 292"/>
              <a:gd name="T43" fmla="*/ 2147483647 h 308"/>
              <a:gd name="T44" fmla="*/ 2147483647 w 292"/>
              <a:gd name="T45" fmla="*/ 2147483647 h 308"/>
              <a:gd name="T46" fmla="*/ 2147483647 w 292"/>
              <a:gd name="T47" fmla="*/ 2147483647 h 308"/>
              <a:gd name="T48" fmla="*/ 2147483647 w 292"/>
              <a:gd name="T49" fmla="*/ 2147483647 h 308"/>
              <a:gd name="T50" fmla="*/ 2147483647 w 292"/>
              <a:gd name="T51" fmla="*/ 2147483647 h 308"/>
              <a:gd name="T52" fmla="*/ 2147483647 w 292"/>
              <a:gd name="T53" fmla="*/ 2147483647 h 308"/>
              <a:gd name="T54" fmla="*/ 2147483647 w 292"/>
              <a:gd name="T55" fmla="*/ 2147483647 h 308"/>
              <a:gd name="T56" fmla="*/ 2147483647 w 292"/>
              <a:gd name="T57" fmla="*/ 2147483647 h 308"/>
              <a:gd name="T58" fmla="*/ 2147483647 w 292"/>
              <a:gd name="T59" fmla="*/ 2147483647 h 308"/>
              <a:gd name="T60" fmla="*/ 2147483647 w 292"/>
              <a:gd name="T61" fmla="*/ 2147483647 h 308"/>
              <a:gd name="T62" fmla="*/ 2147483647 w 292"/>
              <a:gd name="T63" fmla="*/ 2147483647 h 308"/>
              <a:gd name="T64" fmla="*/ 2147483647 w 292"/>
              <a:gd name="T65" fmla="*/ 2147483647 h 308"/>
              <a:gd name="T66" fmla="*/ 2147483647 w 292"/>
              <a:gd name="T67" fmla="*/ 2147483647 h 308"/>
              <a:gd name="T68" fmla="*/ 2147483647 w 292"/>
              <a:gd name="T69" fmla="*/ 2147483647 h 308"/>
              <a:gd name="T70" fmla="*/ 2147483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5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5032240" y="4655765"/>
            <a:ext cx="6350" cy="57150"/>
          </a:xfrm>
          <a:custGeom>
            <a:avLst/>
            <a:gdLst>
              <a:gd name="T0" fmla="*/ 2147483647 w 14"/>
              <a:gd name="T1" fmla="*/ 0 h 7"/>
              <a:gd name="T2" fmla="*/ 2147483647 w 14"/>
              <a:gd name="T3" fmla="*/ 2147483647 h 7"/>
              <a:gd name="T4" fmla="*/ 2147483647 w 14"/>
              <a:gd name="T5" fmla="*/ 2147483647 h 7"/>
              <a:gd name="T6" fmla="*/ 0 w 14"/>
              <a:gd name="T7" fmla="*/ 2147483647 h 7"/>
              <a:gd name="T8" fmla="*/ 2147483647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6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522653" y="3892178"/>
            <a:ext cx="249237" cy="500062"/>
          </a:xfrm>
          <a:custGeom>
            <a:avLst/>
            <a:gdLst>
              <a:gd name="T0" fmla="*/ 2147483647 w 581"/>
              <a:gd name="T1" fmla="*/ 2147483647 h 955"/>
              <a:gd name="T2" fmla="*/ 2147483647 w 581"/>
              <a:gd name="T3" fmla="*/ 2147483647 h 955"/>
              <a:gd name="T4" fmla="*/ 2147483647 w 581"/>
              <a:gd name="T5" fmla="*/ 2147483647 h 955"/>
              <a:gd name="T6" fmla="*/ 2147483647 w 581"/>
              <a:gd name="T7" fmla="*/ 2147483647 h 955"/>
              <a:gd name="T8" fmla="*/ 2147483647 w 581"/>
              <a:gd name="T9" fmla="*/ 2147483647 h 955"/>
              <a:gd name="T10" fmla="*/ 2147483647 w 581"/>
              <a:gd name="T11" fmla="*/ 2147483647 h 955"/>
              <a:gd name="T12" fmla="*/ 2147483647 w 581"/>
              <a:gd name="T13" fmla="*/ 2147483647 h 955"/>
              <a:gd name="T14" fmla="*/ 2147483647 w 581"/>
              <a:gd name="T15" fmla="*/ 2147483647 h 955"/>
              <a:gd name="T16" fmla="*/ 2147483647 w 581"/>
              <a:gd name="T17" fmla="*/ 2147483647 h 955"/>
              <a:gd name="T18" fmla="*/ 2147483647 w 581"/>
              <a:gd name="T19" fmla="*/ 2147483647 h 955"/>
              <a:gd name="T20" fmla="*/ 2147483647 w 581"/>
              <a:gd name="T21" fmla="*/ 2147483647 h 955"/>
              <a:gd name="T22" fmla="*/ 2147483647 w 581"/>
              <a:gd name="T23" fmla="*/ 2147483647 h 955"/>
              <a:gd name="T24" fmla="*/ 2147483647 w 581"/>
              <a:gd name="T25" fmla="*/ 2147483647 h 955"/>
              <a:gd name="T26" fmla="*/ 2147483647 w 581"/>
              <a:gd name="T27" fmla="*/ 2147483647 h 955"/>
              <a:gd name="T28" fmla="*/ 2147483647 w 581"/>
              <a:gd name="T29" fmla="*/ 2147483647 h 955"/>
              <a:gd name="T30" fmla="*/ 2147483647 w 581"/>
              <a:gd name="T31" fmla="*/ 2147483647 h 955"/>
              <a:gd name="T32" fmla="*/ 2147483647 w 581"/>
              <a:gd name="T33" fmla="*/ 2147483647 h 955"/>
              <a:gd name="T34" fmla="*/ 2147483647 w 581"/>
              <a:gd name="T35" fmla="*/ 2147483647 h 955"/>
              <a:gd name="T36" fmla="*/ 2147483647 w 581"/>
              <a:gd name="T37" fmla="*/ 2147483647 h 955"/>
              <a:gd name="T38" fmla="*/ 2147483647 w 581"/>
              <a:gd name="T39" fmla="*/ 2147483647 h 955"/>
              <a:gd name="T40" fmla="*/ 2147483647 w 581"/>
              <a:gd name="T41" fmla="*/ 2147483647 h 955"/>
              <a:gd name="T42" fmla="*/ 2147483647 w 581"/>
              <a:gd name="T43" fmla="*/ 2147483647 h 955"/>
              <a:gd name="T44" fmla="*/ 2147483647 w 581"/>
              <a:gd name="T45" fmla="*/ 2147483647 h 955"/>
              <a:gd name="T46" fmla="*/ 2147483647 w 581"/>
              <a:gd name="T47" fmla="*/ 2147483647 h 955"/>
              <a:gd name="T48" fmla="*/ 2147483647 w 581"/>
              <a:gd name="T49" fmla="*/ 2147483647 h 955"/>
              <a:gd name="T50" fmla="*/ 2147483647 w 581"/>
              <a:gd name="T51" fmla="*/ 2147483647 h 955"/>
              <a:gd name="T52" fmla="*/ 2147483647 w 581"/>
              <a:gd name="T53" fmla="*/ 2147483647 h 955"/>
              <a:gd name="T54" fmla="*/ 2147483647 w 581"/>
              <a:gd name="T55" fmla="*/ 2147483647 h 955"/>
              <a:gd name="T56" fmla="*/ 2147483647 w 581"/>
              <a:gd name="T57" fmla="*/ 2147483647 h 955"/>
              <a:gd name="T58" fmla="*/ 2147483647 w 581"/>
              <a:gd name="T59" fmla="*/ 2147483647 h 955"/>
              <a:gd name="T60" fmla="*/ 2147483647 w 581"/>
              <a:gd name="T61" fmla="*/ 2147483647 h 955"/>
              <a:gd name="T62" fmla="*/ 2147483647 w 581"/>
              <a:gd name="T63" fmla="*/ 2147483647 h 955"/>
              <a:gd name="T64" fmla="*/ 2147483647 w 581"/>
              <a:gd name="T65" fmla="*/ 2147483647 h 955"/>
              <a:gd name="T66" fmla="*/ 2147483647 w 581"/>
              <a:gd name="T67" fmla="*/ 2147483647 h 955"/>
              <a:gd name="T68" fmla="*/ 2147483647 w 581"/>
              <a:gd name="T69" fmla="*/ 2147483647 h 955"/>
              <a:gd name="T70" fmla="*/ 2147483647 w 581"/>
              <a:gd name="T71" fmla="*/ 2147483647 h 955"/>
              <a:gd name="T72" fmla="*/ 2147483647 w 581"/>
              <a:gd name="T73" fmla="*/ 2147483647 h 955"/>
              <a:gd name="T74" fmla="*/ 2147483647 w 581"/>
              <a:gd name="T75" fmla="*/ 2147483647 h 955"/>
              <a:gd name="T76" fmla="*/ 2147483647 w 581"/>
              <a:gd name="T77" fmla="*/ 2147483647 h 955"/>
              <a:gd name="T78" fmla="*/ 2147483647 w 581"/>
              <a:gd name="T79" fmla="*/ 2147483647 h 955"/>
              <a:gd name="T80" fmla="*/ 2147483647 w 581"/>
              <a:gd name="T81" fmla="*/ 2147483647 h 955"/>
              <a:gd name="T82" fmla="*/ 2147483647 w 581"/>
              <a:gd name="T83" fmla="*/ 2147483647 h 955"/>
              <a:gd name="T84" fmla="*/ 2147483647 w 581"/>
              <a:gd name="T85" fmla="*/ 2147483647 h 955"/>
              <a:gd name="T86" fmla="*/ 2147483647 w 581"/>
              <a:gd name="T87" fmla="*/ 2147483647 h 955"/>
              <a:gd name="T88" fmla="*/ 2147483647 w 581"/>
              <a:gd name="T89" fmla="*/ 2147483647 h 955"/>
              <a:gd name="T90" fmla="*/ 2147483647 w 581"/>
              <a:gd name="T91" fmla="*/ 2147483647 h 955"/>
              <a:gd name="T92" fmla="*/ 2147483647 w 581"/>
              <a:gd name="T93" fmla="*/ 2147483647 h 955"/>
              <a:gd name="T94" fmla="*/ 2147483647 w 581"/>
              <a:gd name="T95" fmla="*/ 2147483647 h 955"/>
              <a:gd name="T96" fmla="*/ 2147483647 w 581"/>
              <a:gd name="T97" fmla="*/ 2147483647 h 955"/>
              <a:gd name="T98" fmla="*/ 2147483647 w 581"/>
              <a:gd name="T99" fmla="*/ 2147483647 h 955"/>
              <a:gd name="T100" fmla="*/ 2147483647 w 581"/>
              <a:gd name="T101" fmla="*/ 0 h 955"/>
              <a:gd name="T102" fmla="*/ 2147483647 w 581"/>
              <a:gd name="T103" fmla="*/ 2147483647 h 955"/>
              <a:gd name="T104" fmla="*/ 2147483647 w 581"/>
              <a:gd name="T105" fmla="*/ 214748364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7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198803" y="3274640"/>
            <a:ext cx="15875" cy="57150"/>
          </a:xfrm>
          <a:custGeom>
            <a:avLst/>
            <a:gdLst>
              <a:gd name="T0" fmla="*/ 2147483647 w 45"/>
              <a:gd name="T1" fmla="*/ 0 h 36"/>
              <a:gd name="T2" fmla="*/ 0 w 45"/>
              <a:gd name="T3" fmla="*/ 2147483647 h 36"/>
              <a:gd name="T4" fmla="*/ 2147483647 w 45"/>
              <a:gd name="T5" fmla="*/ 2147483647 h 36"/>
              <a:gd name="T6" fmla="*/ 2147483647 w 45"/>
              <a:gd name="T7" fmla="*/ 2147483647 h 36"/>
              <a:gd name="T8" fmla="*/ 2147483647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grpSp>
        <p:nvGrpSpPr>
          <p:cNvPr id="2328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498590" y="5335215"/>
            <a:ext cx="384175" cy="1031875"/>
            <a:chOff x="1589" y="3126"/>
            <a:chExt cx="290" cy="657"/>
          </a:xfrm>
          <a:solidFill>
            <a:schemeClr val="bg1">
              <a:lumMod val="75000"/>
            </a:schemeClr>
          </a:solidFill>
        </p:grpSpPr>
        <p:sp>
          <p:nvSpPr>
            <p:cNvPr id="2449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 w 46"/>
                <a:gd name="T1" fmla="*/ 0 h 51"/>
                <a:gd name="T2" fmla="*/ 0 w 46"/>
                <a:gd name="T3" fmla="*/ 0 h 51"/>
                <a:gd name="T4" fmla="*/ 0 w 46"/>
                <a:gd name="T5" fmla="*/ 0 h 51"/>
                <a:gd name="T6" fmla="*/ 0 w 46"/>
                <a:gd name="T7" fmla="*/ 0 h 51"/>
                <a:gd name="T8" fmla="*/ 0 w 46"/>
                <a:gd name="T9" fmla="*/ 0 h 51"/>
                <a:gd name="T10" fmla="*/ 0 w 46"/>
                <a:gd name="T11" fmla="*/ 0 h 51"/>
                <a:gd name="T12" fmla="*/ 0 w 46"/>
                <a:gd name="T13" fmla="*/ 0 h 51"/>
                <a:gd name="T14" fmla="*/ 0 w 46"/>
                <a:gd name="T15" fmla="*/ 0 h 51"/>
                <a:gd name="T16" fmla="*/ 0 w 46"/>
                <a:gd name="T17" fmla="*/ 0 h 51"/>
                <a:gd name="T18" fmla="*/ 0 w 46"/>
                <a:gd name="T19" fmla="*/ 0 h 51"/>
                <a:gd name="T20" fmla="*/ 0 w 46"/>
                <a:gd name="T21" fmla="*/ 0 h 51"/>
                <a:gd name="T22" fmla="*/ 0 w 46"/>
                <a:gd name="T23" fmla="*/ 1 h 51"/>
                <a:gd name="T24" fmla="*/ 0 w 46"/>
                <a:gd name="T25" fmla="*/ 1 h 51"/>
                <a:gd name="T26" fmla="*/ 0 w 46"/>
                <a:gd name="T27" fmla="*/ 1 h 51"/>
                <a:gd name="T28" fmla="*/ 0 w 46"/>
                <a:gd name="T29" fmla="*/ 1 h 51"/>
                <a:gd name="T30" fmla="*/ 0 w 46"/>
                <a:gd name="T31" fmla="*/ 1 h 51"/>
                <a:gd name="T32" fmla="*/ 0 w 46"/>
                <a:gd name="T33" fmla="*/ 1 h 51"/>
                <a:gd name="T34" fmla="*/ 0 w 46"/>
                <a:gd name="T35" fmla="*/ 1 h 51"/>
                <a:gd name="T36" fmla="*/ 0 w 46"/>
                <a:gd name="T37" fmla="*/ 1 h 51"/>
                <a:gd name="T38" fmla="*/ 1 w 46"/>
                <a:gd name="T39" fmla="*/ 1 h 51"/>
                <a:gd name="T40" fmla="*/ 1 w 46"/>
                <a:gd name="T41" fmla="*/ 0 h 51"/>
                <a:gd name="T42" fmla="*/ 1 w 46"/>
                <a:gd name="T43" fmla="*/ 0 h 51"/>
                <a:gd name="T44" fmla="*/ 1 w 46"/>
                <a:gd name="T45" fmla="*/ 0 h 51"/>
                <a:gd name="T46" fmla="*/ 1 w 46"/>
                <a:gd name="T47" fmla="*/ 0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50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0 h 158"/>
                <a:gd name="T4" fmla="*/ 0 w 192"/>
                <a:gd name="T5" fmla="*/ 0 h 158"/>
                <a:gd name="T6" fmla="*/ 0 w 192"/>
                <a:gd name="T7" fmla="*/ 0 h 158"/>
                <a:gd name="T8" fmla="*/ 0 w 192"/>
                <a:gd name="T9" fmla="*/ 1 h 158"/>
                <a:gd name="T10" fmla="*/ 0 w 192"/>
                <a:gd name="T11" fmla="*/ 1 h 158"/>
                <a:gd name="T12" fmla="*/ 0 w 192"/>
                <a:gd name="T13" fmla="*/ 1 h 158"/>
                <a:gd name="T14" fmla="*/ 0 w 192"/>
                <a:gd name="T15" fmla="*/ 1 h 158"/>
                <a:gd name="T16" fmla="*/ 0 w 192"/>
                <a:gd name="T17" fmla="*/ 1 h 158"/>
                <a:gd name="T18" fmla="*/ 1 w 192"/>
                <a:gd name="T19" fmla="*/ 2 h 158"/>
                <a:gd name="T20" fmla="*/ 1 w 192"/>
                <a:gd name="T21" fmla="*/ 2 h 158"/>
                <a:gd name="T22" fmla="*/ 1 w 192"/>
                <a:gd name="T23" fmla="*/ 2 h 158"/>
                <a:gd name="T24" fmla="*/ 1 w 192"/>
                <a:gd name="T25" fmla="*/ 2 h 158"/>
                <a:gd name="T26" fmla="*/ 1 w 192"/>
                <a:gd name="T27" fmla="*/ 2 h 158"/>
                <a:gd name="T28" fmla="*/ 1 w 192"/>
                <a:gd name="T29" fmla="*/ 2 h 158"/>
                <a:gd name="T30" fmla="*/ 1 w 192"/>
                <a:gd name="T31" fmla="*/ 2 h 158"/>
                <a:gd name="T32" fmla="*/ 1 w 192"/>
                <a:gd name="T33" fmla="*/ 2 h 158"/>
                <a:gd name="T34" fmla="*/ 2 w 192"/>
                <a:gd name="T35" fmla="*/ 2 h 158"/>
                <a:gd name="T36" fmla="*/ 2 w 192"/>
                <a:gd name="T37" fmla="*/ 2 h 158"/>
                <a:gd name="T38" fmla="*/ 2 w 192"/>
                <a:gd name="T39" fmla="*/ 2 h 158"/>
                <a:gd name="T40" fmla="*/ 2 w 192"/>
                <a:gd name="T41" fmla="*/ 2 h 158"/>
                <a:gd name="T42" fmla="*/ 2 w 192"/>
                <a:gd name="T43" fmla="*/ 2 h 158"/>
                <a:gd name="T44" fmla="*/ 2 w 192"/>
                <a:gd name="T45" fmla="*/ 2 h 158"/>
                <a:gd name="T46" fmla="*/ 2 w 192"/>
                <a:gd name="T47" fmla="*/ 2 h 158"/>
                <a:gd name="T48" fmla="*/ 2 w 192"/>
                <a:gd name="T49" fmla="*/ 2 h 158"/>
                <a:gd name="T50" fmla="*/ 1 w 192"/>
                <a:gd name="T51" fmla="*/ 2 h 158"/>
                <a:gd name="T52" fmla="*/ 1 w 192"/>
                <a:gd name="T53" fmla="*/ 1 h 158"/>
                <a:gd name="T54" fmla="*/ 1 w 192"/>
                <a:gd name="T55" fmla="*/ 1 h 158"/>
                <a:gd name="T56" fmla="*/ 1 w 192"/>
                <a:gd name="T57" fmla="*/ 1 h 158"/>
                <a:gd name="T58" fmla="*/ 1 w 192"/>
                <a:gd name="T59" fmla="*/ 1 h 158"/>
                <a:gd name="T60" fmla="*/ 1 w 192"/>
                <a:gd name="T61" fmla="*/ 1 h 158"/>
                <a:gd name="T62" fmla="*/ 1 w 192"/>
                <a:gd name="T63" fmla="*/ 1 h 158"/>
                <a:gd name="T64" fmla="*/ 0 w 192"/>
                <a:gd name="T65" fmla="*/ 1 h 158"/>
                <a:gd name="T66" fmla="*/ 0 w 192"/>
                <a:gd name="T67" fmla="*/ 0 h 158"/>
                <a:gd name="T68" fmla="*/ 0 w 192"/>
                <a:gd name="T69" fmla="*/ 0 h 158"/>
                <a:gd name="T70" fmla="*/ 0 w 192"/>
                <a:gd name="T71" fmla="*/ 0 h 158"/>
                <a:gd name="T72" fmla="*/ 0 w 192"/>
                <a:gd name="T73" fmla="*/ 0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51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9 w 884"/>
                <a:gd name="T1" fmla="*/ 5 h 1818"/>
                <a:gd name="T2" fmla="*/ 10 w 884"/>
                <a:gd name="T3" fmla="*/ 4 h 1818"/>
                <a:gd name="T4" fmla="*/ 10 w 884"/>
                <a:gd name="T5" fmla="*/ 3 h 1818"/>
                <a:gd name="T6" fmla="*/ 10 w 884"/>
                <a:gd name="T7" fmla="*/ 2 h 1818"/>
                <a:gd name="T8" fmla="*/ 10 w 884"/>
                <a:gd name="T9" fmla="*/ 3 h 1818"/>
                <a:gd name="T10" fmla="*/ 9 w 884"/>
                <a:gd name="T11" fmla="*/ 4 h 1818"/>
                <a:gd name="T12" fmla="*/ 8 w 884"/>
                <a:gd name="T13" fmla="*/ 4 h 1818"/>
                <a:gd name="T14" fmla="*/ 7 w 884"/>
                <a:gd name="T15" fmla="*/ 4 h 1818"/>
                <a:gd name="T16" fmla="*/ 8 w 884"/>
                <a:gd name="T17" fmla="*/ 3 h 1818"/>
                <a:gd name="T18" fmla="*/ 6 w 884"/>
                <a:gd name="T19" fmla="*/ 2 h 1818"/>
                <a:gd name="T20" fmla="*/ 5 w 884"/>
                <a:gd name="T21" fmla="*/ 1 h 1818"/>
                <a:gd name="T22" fmla="*/ 4 w 884"/>
                <a:gd name="T23" fmla="*/ 0 h 1818"/>
                <a:gd name="T24" fmla="*/ 3 w 884"/>
                <a:gd name="T25" fmla="*/ 0 h 1818"/>
                <a:gd name="T26" fmla="*/ 3 w 884"/>
                <a:gd name="T27" fmla="*/ 0 h 1818"/>
                <a:gd name="T28" fmla="*/ 2 w 884"/>
                <a:gd name="T29" fmla="*/ 0 h 1818"/>
                <a:gd name="T30" fmla="*/ 1 w 884"/>
                <a:gd name="T31" fmla="*/ 1 h 1818"/>
                <a:gd name="T32" fmla="*/ 1 w 884"/>
                <a:gd name="T33" fmla="*/ 1 h 1818"/>
                <a:gd name="T34" fmla="*/ 0 w 884"/>
                <a:gd name="T35" fmla="*/ 2 h 1818"/>
                <a:gd name="T36" fmla="*/ 1 w 884"/>
                <a:gd name="T37" fmla="*/ 3 h 1818"/>
                <a:gd name="T38" fmla="*/ 1 w 884"/>
                <a:gd name="T39" fmla="*/ 4 h 1818"/>
                <a:gd name="T40" fmla="*/ 0 w 884"/>
                <a:gd name="T41" fmla="*/ 5 h 1818"/>
                <a:gd name="T42" fmla="*/ 0 w 884"/>
                <a:gd name="T43" fmla="*/ 8 h 1818"/>
                <a:gd name="T44" fmla="*/ 1 w 884"/>
                <a:gd name="T45" fmla="*/ 9 h 1818"/>
                <a:gd name="T46" fmla="*/ 1 w 884"/>
                <a:gd name="T47" fmla="*/ 9 h 1818"/>
                <a:gd name="T48" fmla="*/ 1 w 884"/>
                <a:gd name="T49" fmla="*/ 10 h 1818"/>
                <a:gd name="T50" fmla="*/ 1 w 884"/>
                <a:gd name="T51" fmla="*/ 10 h 1818"/>
                <a:gd name="T52" fmla="*/ 1 w 884"/>
                <a:gd name="T53" fmla="*/ 11 h 1818"/>
                <a:gd name="T54" fmla="*/ 1 w 884"/>
                <a:gd name="T55" fmla="*/ 12 h 1818"/>
                <a:gd name="T56" fmla="*/ 1 w 884"/>
                <a:gd name="T57" fmla="*/ 13 h 1818"/>
                <a:gd name="T58" fmla="*/ 1 w 884"/>
                <a:gd name="T59" fmla="*/ 14 h 1818"/>
                <a:gd name="T60" fmla="*/ 2 w 884"/>
                <a:gd name="T61" fmla="*/ 16 h 1818"/>
                <a:gd name="T62" fmla="*/ 2 w 884"/>
                <a:gd name="T63" fmla="*/ 17 h 1818"/>
                <a:gd name="T64" fmla="*/ 3 w 884"/>
                <a:gd name="T65" fmla="*/ 18 h 1818"/>
                <a:gd name="T66" fmla="*/ 3 w 884"/>
                <a:gd name="T67" fmla="*/ 19 h 1818"/>
                <a:gd name="T68" fmla="*/ 3 w 884"/>
                <a:gd name="T69" fmla="*/ 20 h 1818"/>
                <a:gd name="T70" fmla="*/ 2 w 884"/>
                <a:gd name="T71" fmla="*/ 20 h 1818"/>
                <a:gd name="T72" fmla="*/ 3 w 884"/>
                <a:gd name="T73" fmla="*/ 21 h 1818"/>
                <a:gd name="T74" fmla="*/ 4 w 884"/>
                <a:gd name="T75" fmla="*/ 22 h 1818"/>
                <a:gd name="T76" fmla="*/ 5 w 884"/>
                <a:gd name="T77" fmla="*/ 22 h 1818"/>
                <a:gd name="T78" fmla="*/ 5 w 884"/>
                <a:gd name="T79" fmla="*/ 22 h 1818"/>
                <a:gd name="T80" fmla="*/ 5 w 884"/>
                <a:gd name="T81" fmla="*/ 21 h 1818"/>
                <a:gd name="T82" fmla="*/ 6 w 884"/>
                <a:gd name="T83" fmla="*/ 20 h 1818"/>
                <a:gd name="T84" fmla="*/ 6 w 884"/>
                <a:gd name="T85" fmla="*/ 19 h 1818"/>
                <a:gd name="T86" fmla="*/ 5 w 884"/>
                <a:gd name="T87" fmla="*/ 18 h 1818"/>
                <a:gd name="T88" fmla="*/ 5 w 884"/>
                <a:gd name="T89" fmla="*/ 18 h 1818"/>
                <a:gd name="T90" fmla="*/ 5 w 884"/>
                <a:gd name="T91" fmla="*/ 17 h 1818"/>
                <a:gd name="T92" fmla="*/ 6 w 884"/>
                <a:gd name="T93" fmla="*/ 16 h 1818"/>
                <a:gd name="T94" fmla="*/ 5 w 884"/>
                <a:gd name="T95" fmla="*/ 15 h 1818"/>
                <a:gd name="T96" fmla="*/ 5 w 884"/>
                <a:gd name="T97" fmla="*/ 14 h 1818"/>
                <a:gd name="T98" fmla="*/ 6 w 884"/>
                <a:gd name="T99" fmla="*/ 14 h 1818"/>
                <a:gd name="T100" fmla="*/ 7 w 884"/>
                <a:gd name="T101" fmla="*/ 14 h 1818"/>
                <a:gd name="T102" fmla="*/ 7 w 884"/>
                <a:gd name="T103" fmla="*/ 13 h 1818"/>
                <a:gd name="T104" fmla="*/ 7 w 884"/>
                <a:gd name="T105" fmla="*/ 13 h 1818"/>
                <a:gd name="T106" fmla="*/ 8 w 884"/>
                <a:gd name="T107" fmla="*/ 13 h 1818"/>
                <a:gd name="T108" fmla="*/ 9 w 884"/>
                <a:gd name="T109" fmla="*/ 12 h 1818"/>
                <a:gd name="T110" fmla="*/ 10 w 884"/>
                <a:gd name="T111" fmla="*/ 11 h 1818"/>
                <a:gd name="T112" fmla="*/ 9 w 884"/>
                <a:gd name="T113" fmla="*/ 11 h 1818"/>
                <a:gd name="T114" fmla="*/ 9 w 884"/>
                <a:gd name="T115" fmla="*/ 10 h 1818"/>
                <a:gd name="T116" fmla="*/ 8 w 884"/>
                <a:gd name="T117" fmla="*/ 9 h 1818"/>
                <a:gd name="T118" fmla="*/ 8 w 884"/>
                <a:gd name="T119" fmla="*/ 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29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208453" y="3287340"/>
            <a:ext cx="123825" cy="109538"/>
          </a:xfrm>
          <a:custGeom>
            <a:avLst/>
            <a:gdLst>
              <a:gd name="T0" fmla="*/ 2147483647 w 279"/>
              <a:gd name="T1" fmla="*/ 2147483647 h 204"/>
              <a:gd name="T2" fmla="*/ 2147483647 w 279"/>
              <a:gd name="T3" fmla="*/ 2147483647 h 204"/>
              <a:gd name="T4" fmla="*/ 2147483647 w 279"/>
              <a:gd name="T5" fmla="*/ 2147483647 h 204"/>
              <a:gd name="T6" fmla="*/ 2147483647 w 279"/>
              <a:gd name="T7" fmla="*/ 2147483647 h 204"/>
              <a:gd name="T8" fmla="*/ 2147483647 w 279"/>
              <a:gd name="T9" fmla="*/ 2147483647 h 204"/>
              <a:gd name="T10" fmla="*/ 2147483647 w 279"/>
              <a:gd name="T11" fmla="*/ 2147483647 h 204"/>
              <a:gd name="T12" fmla="*/ 2147483647 w 279"/>
              <a:gd name="T13" fmla="*/ 2147483647 h 204"/>
              <a:gd name="T14" fmla="*/ 2147483647 w 279"/>
              <a:gd name="T15" fmla="*/ 2147483647 h 204"/>
              <a:gd name="T16" fmla="*/ 2147483647 w 279"/>
              <a:gd name="T17" fmla="*/ 2147483647 h 204"/>
              <a:gd name="T18" fmla="*/ 2147483647 w 279"/>
              <a:gd name="T19" fmla="*/ 2147483647 h 204"/>
              <a:gd name="T20" fmla="*/ 2147483647 w 279"/>
              <a:gd name="T21" fmla="*/ 2147483647 h 204"/>
              <a:gd name="T22" fmla="*/ 2147483647 w 279"/>
              <a:gd name="T23" fmla="*/ 2147483647 h 204"/>
              <a:gd name="T24" fmla="*/ 2147483647 w 279"/>
              <a:gd name="T25" fmla="*/ 2147483647 h 204"/>
              <a:gd name="T26" fmla="*/ 2147483647 w 279"/>
              <a:gd name="T27" fmla="*/ 2147483647 h 204"/>
              <a:gd name="T28" fmla="*/ 2147483647 w 279"/>
              <a:gd name="T29" fmla="*/ 2147483647 h 204"/>
              <a:gd name="T30" fmla="*/ 2147483647 w 279"/>
              <a:gd name="T31" fmla="*/ 2147483647 h 204"/>
              <a:gd name="T32" fmla="*/ 2147483647 w 279"/>
              <a:gd name="T33" fmla="*/ 2147483647 h 204"/>
              <a:gd name="T34" fmla="*/ 2147483647 w 279"/>
              <a:gd name="T35" fmla="*/ 2147483647 h 204"/>
              <a:gd name="T36" fmla="*/ 2147483647 w 279"/>
              <a:gd name="T37" fmla="*/ 2147483647 h 204"/>
              <a:gd name="T38" fmla="*/ 2147483647 w 279"/>
              <a:gd name="T39" fmla="*/ 2147483647 h 204"/>
              <a:gd name="T40" fmla="*/ 2147483647 w 279"/>
              <a:gd name="T41" fmla="*/ 2147483647 h 204"/>
              <a:gd name="T42" fmla="*/ 2147483647 w 279"/>
              <a:gd name="T43" fmla="*/ 2147483647 h 204"/>
              <a:gd name="T44" fmla="*/ 2147483647 w 279"/>
              <a:gd name="T45" fmla="*/ 2147483647 h 204"/>
              <a:gd name="T46" fmla="*/ 2147483647 w 279"/>
              <a:gd name="T47" fmla="*/ 2147483647 h 204"/>
              <a:gd name="T48" fmla="*/ 2147483647 w 279"/>
              <a:gd name="T49" fmla="*/ 2147483647 h 204"/>
              <a:gd name="T50" fmla="*/ 2147483647 w 279"/>
              <a:gd name="T51" fmla="*/ 2147483647 h 204"/>
              <a:gd name="T52" fmla="*/ 2147483647 w 279"/>
              <a:gd name="T53" fmla="*/ 2147483647 h 204"/>
              <a:gd name="T54" fmla="*/ 2147483647 w 279"/>
              <a:gd name="T55" fmla="*/ 2147483647 h 204"/>
              <a:gd name="T56" fmla="*/ 2147483647 w 279"/>
              <a:gd name="T57" fmla="*/ 2147483647 h 204"/>
              <a:gd name="T58" fmla="*/ 2147483647 w 279"/>
              <a:gd name="T59" fmla="*/ 2147483647 h 204"/>
              <a:gd name="T60" fmla="*/ 2147483647 w 279"/>
              <a:gd name="T61" fmla="*/ 2147483647 h 204"/>
              <a:gd name="T62" fmla="*/ 2147483647 w 279"/>
              <a:gd name="T63" fmla="*/ 2147483647 h 204"/>
              <a:gd name="T64" fmla="*/ 0 w 279"/>
              <a:gd name="T65" fmla="*/ 2147483647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0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675053" y="2860303"/>
            <a:ext cx="209550" cy="150812"/>
          </a:xfrm>
          <a:custGeom>
            <a:avLst/>
            <a:gdLst>
              <a:gd name="T0" fmla="*/ 2147483647 w 485"/>
              <a:gd name="T1" fmla="*/ 2147483647 h 291"/>
              <a:gd name="T2" fmla="*/ 2147483647 w 485"/>
              <a:gd name="T3" fmla="*/ 2147483647 h 291"/>
              <a:gd name="T4" fmla="*/ 2147483647 w 485"/>
              <a:gd name="T5" fmla="*/ 2147483647 h 291"/>
              <a:gd name="T6" fmla="*/ 2147483647 w 485"/>
              <a:gd name="T7" fmla="*/ 2147483647 h 291"/>
              <a:gd name="T8" fmla="*/ 2147483647 w 485"/>
              <a:gd name="T9" fmla="*/ 2147483647 h 291"/>
              <a:gd name="T10" fmla="*/ 2147483647 w 485"/>
              <a:gd name="T11" fmla="*/ 2147483647 h 291"/>
              <a:gd name="T12" fmla="*/ 2147483647 w 485"/>
              <a:gd name="T13" fmla="*/ 2147483647 h 291"/>
              <a:gd name="T14" fmla="*/ 2147483647 w 485"/>
              <a:gd name="T15" fmla="*/ 2147483647 h 291"/>
              <a:gd name="T16" fmla="*/ 2147483647 w 485"/>
              <a:gd name="T17" fmla="*/ 2147483647 h 291"/>
              <a:gd name="T18" fmla="*/ 2147483647 w 485"/>
              <a:gd name="T19" fmla="*/ 2147483647 h 291"/>
              <a:gd name="T20" fmla="*/ 2147483647 w 485"/>
              <a:gd name="T21" fmla="*/ 2147483647 h 291"/>
              <a:gd name="T22" fmla="*/ 2147483647 w 485"/>
              <a:gd name="T23" fmla="*/ 2147483647 h 291"/>
              <a:gd name="T24" fmla="*/ 2147483647 w 485"/>
              <a:gd name="T25" fmla="*/ 2147483647 h 291"/>
              <a:gd name="T26" fmla="*/ 2147483647 w 485"/>
              <a:gd name="T27" fmla="*/ 2147483647 h 291"/>
              <a:gd name="T28" fmla="*/ 2147483647 w 485"/>
              <a:gd name="T29" fmla="*/ 2147483647 h 291"/>
              <a:gd name="T30" fmla="*/ 0 w 485"/>
              <a:gd name="T31" fmla="*/ 2147483647 h 291"/>
              <a:gd name="T32" fmla="*/ 2147483647 w 485"/>
              <a:gd name="T33" fmla="*/ 2147483647 h 291"/>
              <a:gd name="T34" fmla="*/ 2147483647 w 485"/>
              <a:gd name="T35" fmla="*/ 2147483647 h 291"/>
              <a:gd name="T36" fmla="*/ 2147483647 w 485"/>
              <a:gd name="T37" fmla="*/ 2147483647 h 291"/>
              <a:gd name="T38" fmla="*/ 2147483647 w 485"/>
              <a:gd name="T39" fmla="*/ 2147483647 h 291"/>
              <a:gd name="T40" fmla="*/ 2147483647 w 485"/>
              <a:gd name="T41" fmla="*/ 2147483647 h 291"/>
              <a:gd name="T42" fmla="*/ 2147483647 w 485"/>
              <a:gd name="T43" fmla="*/ 2147483647 h 291"/>
              <a:gd name="T44" fmla="*/ 2147483647 w 485"/>
              <a:gd name="T45" fmla="*/ 2147483647 h 291"/>
              <a:gd name="T46" fmla="*/ 2147483647 w 485"/>
              <a:gd name="T47" fmla="*/ 2147483647 h 291"/>
              <a:gd name="T48" fmla="*/ 2147483647 w 485"/>
              <a:gd name="T49" fmla="*/ 2147483647 h 291"/>
              <a:gd name="T50" fmla="*/ 2147483647 w 485"/>
              <a:gd name="T51" fmla="*/ 2147483647 h 291"/>
              <a:gd name="T52" fmla="*/ 2147483647 w 485"/>
              <a:gd name="T53" fmla="*/ 2147483647 h 291"/>
              <a:gd name="T54" fmla="*/ 2147483647 w 485"/>
              <a:gd name="T55" fmla="*/ 2147483647 h 291"/>
              <a:gd name="T56" fmla="*/ 2147483647 w 485"/>
              <a:gd name="T57" fmla="*/ 2147483647 h 291"/>
              <a:gd name="T58" fmla="*/ 2147483647 w 485"/>
              <a:gd name="T59" fmla="*/ 2147483647 h 291"/>
              <a:gd name="T60" fmla="*/ 2147483647 w 485"/>
              <a:gd name="T61" fmla="*/ 2147483647 h 291"/>
              <a:gd name="T62" fmla="*/ 2147483647 w 485"/>
              <a:gd name="T63" fmla="*/ 2147483647 h 291"/>
              <a:gd name="T64" fmla="*/ 2147483647 w 485"/>
              <a:gd name="T65" fmla="*/ 2147483647 h 291"/>
              <a:gd name="T66" fmla="*/ 2147483647 w 485"/>
              <a:gd name="T67" fmla="*/ 2147483647 h 291"/>
              <a:gd name="T68" fmla="*/ 2147483647 w 485"/>
              <a:gd name="T69" fmla="*/ 2147483647 h 291"/>
              <a:gd name="T70" fmla="*/ 2147483647 w 485"/>
              <a:gd name="T71" fmla="*/ 2147483647 h 291"/>
              <a:gd name="T72" fmla="*/ 2147483647 w 485"/>
              <a:gd name="T73" fmla="*/ 2147483647 h 291"/>
              <a:gd name="T74" fmla="*/ 2147483647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1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532178" y="3192090"/>
            <a:ext cx="82550" cy="87313"/>
          </a:xfrm>
          <a:custGeom>
            <a:avLst/>
            <a:gdLst>
              <a:gd name="T0" fmla="*/ 2147483647 w 186"/>
              <a:gd name="T1" fmla="*/ 2147483647 h 166"/>
              <a:gd name="T2" fmla="*/ 2147483647 w 186"/>
              <a:gd name="T3" fmla="*/ 2147483647 h 166"/>
              <a:gd name="T4" fmla="*/ 2147483647 w 186"/>
              <a:gd name="T5" fmla="*/ 2147483647 h 166"/>
              <a:gd name="T6" fmla="*/ 2147483647 w 186"/>
              <a:gd name="T7" fmla="*/ 2147483647 h 166"/>
              <a:gd name="T8" fmla="*/ 2147483647 w 186"/>
              <a:gd name="T9" fmla="*/ 2147483647 h 166"/>
              <a:gd name="T10" fmla="*/ 2147483647 w 186"/>
              <a:gd name="T11" fmla="*/ 2147483647 h 166"/>
              <a:gd name="T12" fmla="*/ 2147483647 w 186"/>
              <a:gd name="T13" fmla="*/ 2147483647 h 166"/>
              <a:gd name="T14" fmla="*/ 2147483647 w 186"/>
              <a:gd name="T15" fmla="*/ 2147483647 h 166"/>
              <a:gd name="T16" fmla="*/ 2147483647 w 186"/>
              <a:gd name="T17" fmla="*/ 2147483647 h 166"/>
              <a:gd name="T18" fmla="*/ 2147483647 w 186"/>
              <a:gd name="T19" fmla="*/ 2147483647 h 166"/>
              <a:gd name="T20" fmla="*/ 0 w 186"/>
              <a:gd name="T21" fmla="*/ 2147483647 h 166"/>
              <a:gd name="T22" fmla="*/ 0 w 186"/>
              <a:gd name="T23" fmla="*/ 0 h 166"/>
              <a:gd name="T24" fmla="*/ 2147483647 w 186"/>
              <a:gd name="T25" fmla="*/ 2147483647 h 166"/>
              <a:gd name="T26" fmla="*/ 2147483647 w 186"/>
              <a:gd name="T27" fmla="*/ 2147483647 h 166"/>
              <a:gd name="T28" fmla="*/ 2147483647 w 186"/>
              <a:gd name="T29" fmla="*/ 2147483647 h 166"/>
              <a:gd name="T30" fmla="*/ 2147483647 w 186"/>
              <a:gd name="T31" fmla="*/ 2147483647 h 166"/>
              <a:gd name="T32" fmla="*/ 2147483647 w 186"/>
              <a:gd name="T33" fmla="*/ 2147483647 h 166"/>
              <a:gd name="T34" fmla="*/ 2147483647 w 186"/>
              <a:gd name="T35" fmla="*/ 2147483647 h 166"/>
              <a:gd name="T36" fmla="*/ 2147483647 w 186"/>
              <a:gd name="T37" fmla="*/ 2147483647 h 166"/>
              <a:gd name="T38" fmla="*/ 2147483647 w 186"/>
              <a:gd name="T39" fmla="*/ 0 h 166"/>
              <a:gd name="T40" fmla="*/ 2147483647 w 186"/>
              <a:gd name="T41" fmla="*/ 2147483647 h 166"/>
              <a:gd name="T42" fmla="*/ 2147483647 w 186"/>
              <a:gd name="T43" fmla="*/ 2147483647 h 166"/>
              <a:gd name="T44" fmla="*/ 2147483647 w 186"/>
              <a:gd name="T45" fmla="*/ 2147483647 h 166"/>
              <a:gd name="T46" fmla="*/ 2147483647 w 186"/>
              <a:gd name="T47" fmla="*/ 2147483647 h 166"/>
              <a:gd name="T48" fmla="*/ 2147483647 w 186"/>
              <a:gd name="T49" fmla="*/ 2147483647 h 166"/>
              <a:gd name="T50" fmla="*/ 2147483647 w 186"/>
              <a:gd name="T51" fmla="*/ 2147483647 h 166"/>
              <a:gd name="T52" fmla="*/ 2147483647 w 186"/>
              <a:gd name="T53" fmla="*/ 2147483647 h 166"/>
              <a:gd name="T54" fmla="*/ 2147483647 w 186"/>
              <a:gd name="T55" fmla="*/ 2147483647 h 166"/>
              <a:gd name="T56" fmla="*/ 2147483647 w 186"/>
              <a:gd name="T57" fmla="*/ 2147483647 h 166"/>
              <a:gd name="T58" fmla="*/ 2147483647 w 186"/>
              <a:gd name="T59" fmla="*/ 2147483647 h 166"/>
              <a:gd name="T60" fmla="*/ 2147483647 w 186"/>
              <a:gd name="T61" fmla="*/ 214748364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2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897053" y="4628778"/>
            <a:ext cx="82550" cy="57150"/>
          </a:xfrm>
          <a:custGeom>
            <a:avLst/>
            <a:gdLst>
              <a:gd name="T0" fmla="*/ 2147483647 w 186"/>
              <a:gd name="T1" fmla="*/ 2147483647 h 104"/>
              <a:gd name="T2" fmla="*/ 2147483647 w 186"/>
              <a:gd name="T3" fmla="*/ 2147483647 h 104"/>
              <a:gd name="T4" fmla="*/ 2147483647 w 186"/>
              <a:gd name="T5" fmla="*/ 2147483647 h 104"/>
              <a:gd name="T6" fmla="*/ 2147483647 w 186"/>
              <a:gd name="T7" fmla="*/ 2147483647 h 104"/>
              <a:gd name="T8" fmla="*/ 2147483647 w 186"/>
              <a:gd name="T9" fmla="*/ 2147483647 h 104"/>
              <a:gd name="T10" fmla="*/ 2147483647 w 186"/>
              <a:gd name="T11" fmla="*/ 2147483647 h 104"/>
              <a:gd name="T12" fmla="*/ 2147483647 w 186"/>
              <a:gd name="T13" fmla="*/ 2147483647 h 104"/>
              <a:gd name="T14" fmla="*/ 2147483647 w 186"/>
              <a:gd name="T15" fmla="*/ 2147483647 h 104"/>
              <a:gd name="T16" fmla="*/ 2147483647 w 186"/>
              <a:gd name="T17" fmla="*/ 2147483647 h 104"/>
              <a:gd name="T18" fmla="*/ 2147483647 w 186"/>
              <a:gd name="T19" fmla="*/ 2147483647 h 104"/>
              <a:gd name="T20" fmla="*/ 2147483647 w 186"/>
              <a:gd name="T21" fmla="*/ 2147483647 h 104"/>
              <a:gd name="T22" fmla="*/ 2147483647 w 186"/>
              <a:gd name="T23" fmla="*/ 2147483647 h 104"/>
              <a:gd name="T24" fmla="*/ 2147483647 w 186"/>
              <a:gd name="T25" fmla="*/ 2147483647 h 104"/>
              <a:gd name="T26" fmla="*/ 2147483647 w 186"/>
              <a:gd name="T27" fmla="*/ 0 h 104"/>
              <a:gd name="T28" fmla="*/ 2147483647 w 186"/>
              <a:gd name="T29" fmla="*/ 0 h 104"/>
              <a:gd name="T30" fmla="*/ 2147483647 w 186"/>
              <a:gd name="T31" fmla="*/ 2147483647 h 104"/>
              <a:gd name="T32" fmla="*/ 2147483647 w 186"/>
              <a:gd name="T33" fmla="*/ 2147483647 h 104"/>
              <a:gd name="T34" fmla="*/ 2147483647 w 186"/>
              <a:gd name="T35" fmla="*/ 2147483647 h 104"/>
              <a:gd name="T36" fmla="*/ 2147483647 w 186"/>
              <a:gd name="T37" fmla="*/ 2147483647 h 104"/>
              <a:gd name="T38" fmla="*/ 2147483647 w 186"/>
              <a:gd name="T39" fmla="*/ 2147483647 h 104"/>
              <a:gd name="T40" fmla="*/ 2147483647 w 186"/>
              <a:gd name="T41" fmla="*/ 2147483647 h 104"/>
              <a:gd name="T42" fmla="*/ 2147483647 w 186"/>
              <a:gd name="T43" fmla="*/ 2147483647 h 104"/>
              <a:gd name="T44" fmla="*/ 2147483647 w 186"/>
              <a:gd name="T45" fmla="*/ 2147483647 h 104"/>
              <a:gd name="T46" fmla="*/ 2147483647 w 186"/>
              <a:gd name="T47" fmla="*/ 2147483647 h 104"/>
              <a:gd name="T48" fmla="*/ 0 w 186"/>
              <a:gd name="T49" fmla="*/ 2147483647 h 104"/>
              <a:gd name="T50" fmla="*/ 2147483647 w 186"/>
              <a:gd name="T51" fmla="*/ 2147483647 h 104"/>
              <a:gd name="T52" fmla="*/ 2147483647 w 186"/>
              <a:gd name="T53" fmla="*/ 2147483647 h 104"/>
              <a:gd name="T54" fmla="*/ 2147483647 w 186"/>
              <a:gd name="T55" fmla="*/ 2147483647 h 104"/>
              <a:gd name="T56" fmla="*/ 2147483647 w 186"/>
              <a:gd name="T57" fmla="*/ 2147483647 h 104"/>
              <a:gd name="T58" fmla="*/ 2147483647 w 186"/>
              <a:gd name="T59" fmla="*/ 2147483647 h 104"/>
              <a:gd name="T60" fmla="*/ 2147483647 w 186"/>
              <a:gd name="T61" fmla="*/ 2147483647 h 104"/>
              <a:gd name="T62" fmla="*/ 2147483647 w 186"/>
              <a:gd name="T63" fmla="*/ 2147483647 h 104"/>
              <a:gd name="T64" fmla="*/ 2147483647 w 186"/>
              <a:gd name="T65" fmla="*/ 2147483647 h 104"/>
              <a:gd name="T66" fmla="*/ 2147483647 w 186"/>
              <a:gd name="T67" fmla="*/ 2147483647 h 104"/>
              <a:gd name="T68" fmla="*/ 2147483647 w 186"/>
              <a:gd name="T69" fmla="*/ 2147483647 h 104"/>
              <a:gd name="T70" fmla="*/ 2147483647 w 186"/>
              <a:gd name="T71" fmla="*/ 2147483647 h 104"/>
              <a:gd name="T72" fmla="*/ 2147483647 w 186"/>
              <a:gd name="T73" fmla="*/ 2147483647 h 104"/>
              <a:gd name="T74" fmla="*/ 2147483647 w 186"/>
              <a:gd name="T75" fmla="*/ 2147483647 h 104"/>
              <a:gd name="T76" fmla="*/ 2147483647 w 186"/>
              <a:gd name="T77" fmla="*/ 2147483647 h 104"/>
              <a:gd name="T78" fmla="*/ 2147483647 w 186"/>
              <a:gd name="T79" fmla="*/ 2147483647 h 104"/>
              <a:gd name="T80" fmla="*/ 2147483647 w 186"/>
              <a:gd name="T81" fmla="*/ 2147483647 h 104"/>
              <a:gd name="T82" fmla="*/ 2147483647 w 186"/>
              <a:gd name="T83" fmla="*/ 2147483647 h 104"/>
              <a:gd name="T84" fmla="*/ 2147483647 w 186"/>
              <a:gd name="T85" fmla="*/ 2147483647 h 104"/>
              <a:gd name="T86" fmla="*/ 2147483647 w 186"/>
              <a:gd name="T87" fmla="*/ 2147483647 h 104"/>
              <a:gd name="T88" fmla="*/ 2147483647 w 186"/>
              <a:gd name="T89" fmla="*/ 2147483647 h 104"/>
              <a:gd name="T90" fmla="*/ 2147483647 w 186"/>
              <a:gd name="T91" fmla="*/ 2147483647 h 104"/>
              <a:gd name="T92" fmla="*/ 2147483647 w 186"/>
              <a:gd name="T93" fmla="*/ 2147483647 h 104"/>
              <a:gd name="T94" fmla="*/ 2147483647 w 186"/>
              <a:gd name="T95" fmla="*/ 2147483647 h 104"/>
              <a:gd name="T96" fmla="*/ 2147483647 w 186"/>
              <a:gd name="T97" fmla="*/ 2147483647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33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690928" y="3227015"/>
            <a:ext cx="133350" cy="96838"/>
          </a:xfrm>
          <a:custGeom>
            <a:avLst/>
            <a:gdLst>
              <a:gd name="T0" fmla="*/ 2147483647 w 311"/>
              <a:gd name="T1" fmla="*/ 2147483647 h 179"/>
              <a:gd name="T2" fmla="*/ 2147483647 w 311"/>
              <a:gd name="T3" fmla="*/ 2147483647 h 179"/>
              <a:gd name="T4" fmla="*/ 2147483647 w 311"/>
              <a:gd name="T5" fmla="*/ 2147483647 h 179"/>
              <a:gd name="T6" fmla="*/ 2147483647 w 311"/>
              <a:gd name="T7" fmla="*/ 2147483647 h 179"/>
              <a:gd name="T8" fmla="*/ 2147483647 w 311"/>
              <a:gd name="T9" fmla="*/ 0 h 179"/>
              <a:gd name="T10" fmla="*/ 2147483647 w 311"/>
              <a:gd name="T11" fmla="*/ 2147483647 h 179"/>
              <a:gd name="T12" fmla="*/ 2147483647 w 311"/>
              <a:gd name="T13" fmla="*/ 2147483647 h 179"/>
              <a:gd name="T14" fmla="*/ 2147483647 w 311"/>
              <a:gd name="T15" fmla="*/ 2147483647 h 179"/>
              <a:gd name="T16" fmla="*/ 2147483647 w 311"/>
              <a:gd name="T17" fmla="*/ 2147483647 h 179"/>
              <a:gd name="T18" fmla="*/ 2147483647 w 311"/>
              <a:gd name="T19" fmla="*/ 2147483647 h 179"/>
              <a:gd name="T20" fmla="*/ 2147483647 w 311"/>
              <a:gd name="T21" fmla="*/ 2147483647 h 179"/>
              <a:gd name="T22" fmla="*/ 2147483647 w 311"/>
              <a:gd name="T23" fmla="*/ 2147483647 h 179"/>
              <a:gd name="T24" fmla="*/ 2147483647 w 311"/>
              <a:gd name="T25" fmla="*/ 2147483647 h 179"/>
              <a:gd name="T26" fmla="*/ 2147483647 w 311"/>
              <a:gd name="T27" fmla="*/ 2147483647 h 179"/>
              <a:gd name="T28" fmla="*/ 2147483647 w 311"/>
              <a:gd name="T29" fmla="*/ 2147483647 h 179"/>
              <a:gd name="T30" fmla="*/ 2147483647 w 311"/>
              <a:gd name="T31" fmla="*/ 2147483647 h 179"/>
              <a:gd name="T32" fmla="*/ 2147483647 w 311"/>
              <a:gd name="T33" fmla="*/ 2147483647 h 179"/>
              <a:gd name="T34" fmla="*/ 2147483647 w 311"/>
              <a:gd name="T35" fmla="*/ 2147483647 h 179"/>
              <a:gd name="T36" fmla="*/ 2147483647 w 311"/>
              <a:gd name="T37" fmla="*/ 2147483647 h 179"/>
              <a:gd name="T38" fmla="*/ 2147483647 w 311"/>
              <a:gd name="T39" fmla="*/ 2147483647 h 179"/>
              <a:gd name="T40" fmla="*/ 2147483647 w 311"/>
              <a:gd name="T41" fmla="*/ 2147483647 h 179"/>
              <a:gd name="T42" fmla="*/ 2147483647 w 311"/>
              <a:gd name="T43" fmla="*/ 2147483647 h 179"/>
              <a:gd name="T44" fmla="*/ 2147483647 w 311"/>
              <a:gd name="T45" fmla="*/ 2147483647 h 179"/>
              <a:gd name="T46" fmla="*/ 2147483647 w 311"/>
              <a:gd name="T47" fmla="*/ 2147483647 h 179"/>
              <a:gd name="T48" fmla="*/ 2147483647 w 311"/>
              <a:gd name="T49" fmla="*/ 2147483647 h 179"/>
              <a:gd name="T50" fmla="*/ 2147483647 w 311"/>
              <a:gd name="T51" fmla="*/ 2147483647 h 179"/>
              <a:gd name="T52" fmla="*/ 2147483647 w 311"/>
              <a:gd name="T53" fmla="*/ 2147483647 h 179"/>
              <a:gd name="T54" fmla="*/ 2147483647 w 311"/>
              <a:gd name="T55" fmla="*/ 2147483647 h 179"/>
              <a:gd name="T56" fmla="*/ 2147483647 w 311"/>
              <a:gd name="T57" fmla="*/ 2147483647 h 179"/>
              <a:gd name="T58" fmla="*/ 2147483647 w 311"/>
              <a:gd name="T59" fmla="*/ 2147483647 h 179"/>
              <a:gd name="T60" fmla="*/ 2147483647 w 311"/>
              <a:gd name="T61" fmla="*/ 2147483647 h 179"/>
              <a:gd name="T62" fmla="*/ 2147483647 w 311"/>
              <a:gd name="T63" fmla="*/ 2147483647 h 179"/>
              <a:gd name="T64" fmla="*/ 2147483647 w 311"/>
              <a:gd name="T65" fmla="*/ 2147483647 h 179"/>
              <a:gd name="T66" fmla="*/ 2147483647 w 311"/>
              <a:gd name="T67" fmla="*/ 2147483647 h 179"/>
              <a:gd name="T68" fmla="*/ 2147483647 w 311"/>
              <a:gd name="T69" fmla="*/ 2147483647 h 179"/>
              <a:gd name="T70" fmla="*/ 2147483647 w 311"/>
              <a:gd name="T71" fmla="*/ 2147483647 h 179"/>
              <a:gd name="T72" fmla="*/ 2147483647 w 311"/>
              <a:gd name="T73" fmla="*/ 2147483647 h 179"/>
              <a:gd name="T74" fmla="*/ 0 w 311"/>
              <a:gd name="T75" fmla="*/ 2147483647 h 179"/>
              <a:gd name="T76" fmla="*/ 0 w 311"/>
              <a:gd name="T77" fmla="*/ 2147483647 h 179"/>
              <a:gd name="T78" fmla="*/ 2147483647 w 311"/>
              <a:gd name="T79" fmla="*/ 2147483647 h 179"/>
              <a:gd name="T80" fmla="*/ 2147483647 w 311"/>
              <a:gd name="T81" fmla="*/ 2147483647 h 179"/>
              <a:gd name="T82" fmla="*/ 2147483647 w 311"/>
              <a:gd name="T83" fmla="*/ 2147483647 h 179"/>
              <a:gd name="T84" fmla="*/ 2147483647 w 311"/>
              <a:gd name="T85" fmla="*/ 2147483647 h 179"/>
              <a:gd name="T86" fmla="*/ 2147483647 w 311"/>
              <a:gd name="T87" fmla="*/ 2147483647 h 179"/>
              <a:gd name="T88" fmla="*/ 2147483647 w 311"/>
              <a:gd name="T89" fmla="*/ 2147483647 h 179"/>
              <a:gd name="T90" fmla="*/ 2147483647 w 311"/>
              <a:gd name="T91" fmla="*/ 2147483647 h 179"/>
              <a:gd name="T92" fmla="*/ 2147483647 w 311"/>
              <a:gd name="T93" fmla="*/ 2147483647 h 179"/>
              <a:gd name="T94" fmla="*/ 2147483647 w 311"/>
              <a:gd name="T95" fmla="*/ 2147483647 h 179"/>
              <a:gd name="T96" fmla="*/ 2147483647 w 311"/>
              <a:gd name="T97" fmla="*/ 2147483647 h 179"/>
              <a:gd name="T98" fmla="*/ 2147483647 w 311"/>
              <a:gd name="T99" fmla="*/ 2147483647 h 179"/>
              <a:gd name="T100" fmla="*/ 0 w 311"/>
              <a:gd name="T101" fmla="*/ 2147483647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334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4046403" y="4154115"/>
            <a:ext cx="177800" cy="165100"/>
          </a:xfrm>
          <a:custGeom>
            <a:avLst/>
            <a:gdLst>
              <a:gd name="T0" fmla="*/ 2147483647 w 405"/>
              <a:gd name="T1" fmla="*/ 2147483647 h 314"/>
              <a:gd name="T2" fmla="*/ 2147483647 w 405"/>
              <a:gd name="T3" fmla="*/ 2147483647 h 314"/>
              <a:gd name="T4" fmla="*/ 2147483647 w 405"/>
              <a:gd name="T5" fmla="*/ 2147483647 h 314"/>
              <a:gd name="T6" fmla="*/ 2147483647 w 405"/>
              <a:gd name="T7" fmla="*/ 2147483647 h 314"/>
              <a:gd name="T8" fmla="*/ 2147483647 w 405"/>
              <a:gd name="T9" fmla="*/ 2147483647 h 314"/>
              <a:gd name="T10" fmla="*/ 2147483647 w 405"/>
              <a:gd name="T11" fmla="*/ 2147483647 h 314"/>
              <a:gd name="T12" fmla="*/ 2147483647 w 405"/>
              <a:gd name="T13" fmla="*/ 2147483647 h 314"/>
              <a:gd name="T14" fmla="*/ 2147483647 w 405"/>
              <a:gd name="T15" fmla="*/ 2147483647 h 314"/>
              <a:gd name="T16" fmla="*/ 2147483647 w 405"/>
              <a:gd name="T17" fmla="*/ 2147483647 h 314"/>
              <a:gd name="T18" fmla="*/ 2147483647 w 405"/>
              <a:gd name="T19" fmla="*/ 2147483647 h 314"/>
              <a:gd name="T20" fmla="*/ 2147483647 w 405"/>
              <a:gd name="T21" fmla="*/ 2147483647 h 314"/>
              <a:gd name="T22" fmla="*/ 2147483647 w 405"/>
              <a:gd name="T23" fmla="*/ 2147483647 h 314"/>
              <a:gd name="T24" fmla="*/ 2147483647 w 405"/>
              <a:gd name="T25" fmla="*/ 2147483647 h 314"/>
              <a:gd name="T26" fmla="*/ 2147483647 w 405"/>
              <a:gd name="T27" fmla="*/ 2147483647 h 314"/>
              <a:gd name="T28" fmla="*/ 2147483647 w 405"/>
              <a:gd name="T29" fmla="*/ 2147483647 h 314"/>
              <a:gd name="T30" fmla="*/ 2147483647 w 405"/>
              <a:gd name="T31" fmla="*/ 2147483647 h 314"/>
              <a:gd name="T32" fmla="*/ 2147483647 w 405"/>
              <a:gd name="T33" fmla="*/ 2147483647 h 314"/>
              <a:gd name="T34" fmla="*/ 2147483647 w 405"/>
              <a:gd name="T35" fmla="*/ 2147483647 h 314"/>
              <a:gd name="T36" fmla="*/ 2147483647 w 405"/>
              <a:gd name="T37" fmla="*/ 2147483647 h 314"/>
              <a:gd name="T38" fmla="*/ 2147483647 w 405"/>
              <a:gd name="T39" fmla="*/ 2147483647 h 314"/>
              <a:gd name="T40" fmla="*/ 2147483647 w 405"/>
              <a:gd name="T41" fmla="*/ 0 h 314"/>
              <a:gd name="T42" fmla="*/ 2147483647 w 405"/>
              <a:gd name="T43" fmla="*/ 2147483647 h 314"/>
              <a:gd name="T44" fmla="*/ 2147483647 w 405"/>
              <a:gd name="T45" fmla="*/ 2147483647 h 314"/>
              <a:gd name="T46" fmla="*/ 2147483647 w 405"/>
              <a:gd name="T47" fmla="*/ 2147483647 h 314"/>
              <a:gd name="T48" fmla="*/ 2147483647 w 405"/>
              <a:gd name="T49" fmla="*/ 2147483647 h 314"/>
              <a:gd name="T50" fmla="*/ 2147483647 w 405"/>
              <a:gd name="T51" fmla="*/ 2147483647 h 314"/>
              <a:gd name="T52" fmla="*/ 2147483647 w 405"/>
              <a:gd name="T53" fmla="*/ 2147483647 h 314"/>
              <a:gd name="T54" fmla="*/ 2147483647 w 405"/>
              <a:gd name="T55" fmla="*/ 2147483647 h 314"/>
              <a:gd name="T56" fmla="*/ 2147483647 w 405"/>
              <a:gd name="T57" fmla="*/ 2147483647 h 314"/>
              <a:gd name="T58" fmla="*/ 2147483647 w 405"/>
              <a:gd name="T59" fmla="*/ 2147483647 h 314"/>
              <a:gd name="T60" fmla="*/ 2147483647 w 405"/>
              <a:gd name="T61" fmla="*/ 2147483647 h 314"/>
              <a:gd name="T62" fmla="*/ 2147483647 w 405"/>
              <a:gd name="T63" fmla="*/ 2147483647 h 314"/>
              <a:gd name="T64" fmla="*/ 2147483647 w 405"/>
              <a:gd name="T65" fmla="*/ 2147483647 h 314"/>
              <a:gd name="T66" fmla="*/ 2147483647 w 405"/>
              <a:gd name="T67" fmla="*/ 2147483647 h 314"/>
              <a:gd name="T68" fmla="*/ 2147483647 w 405"/>
              <a:gd name="T69" fmla="*/ 2147483647 h 314"/>
              <a:gd name="T70" fmla="*/ 2147483647 w 405"/>
              <a:gd name="T71" fmla="*/ 2147483647 h 314"/>
              <a:gd name="T72" fmla="*/ 2147483647 w 405"/>
              <a:gd name="T73" fmla="*/ 2147483647 h 314"/>
              <a:gd name="T74" fmla="*/ 2147483647 w 405"/>
              <a:gd name="T75" fmla="*/ 2147483647 h 314"/>
              <a:gd name="T76" fmla="*/ 2147483647 w 405"/>
              <a:gd name="T77" fmla="*/ 2147483647 h 314"/>
              <a:gd name="T78" fmla="*/ 2147483647 w 405"/>
              <a:gd name="T79" fmla="*/ 2147483647 h 314"/>
              <a:gd name="T80" fmla="*/ 2147483647 w 405"/>
              <a:gd name="T81" fmla="*/ 2147483647 h 314"/>
              <a:gd name="T82" fmla="*/ 2147483647 w 405"/>
              <a:gd name="T83" fmla="*/ 2147483647 h 314"/>
              <a:gd name="T84" fmla="*/ 2147483647 w 405"/>
              <a:gd name="T85" fmla="*/ 2147483647 h 314"/>
              <a:gd name="T86" fmla="*/ 2147483647 w 405"/>
              <a:gd name="T87" fmla="*/ 2147483647 h 314"/>
              <a:gd name="T88" fmla="*/ 2147483647 w 405"/>
              <a:gd name="T89" fmla="*/ 2147483647 h 314"/>
              <a:gd name="T90" fmla="*/ 2147483647 w 405"/>
              <a:gd name="T91" fmla="*/ 2147483647 h 314"/>
              <a:gd name="T92" fmla="*/ 2147483647 w 405"/>
              <a:gd name="T93" fmla="*/ 2147483647 h 314"/>
              <a:gd name="T94" fmla="*/ 2147483647 w 405"/>
              <a:gd name="T95" fmla="*/ 2147483647 h 314"/>
              <a:gd name="T96" fmla="*/ 2147483647 w 405"/>
              <a:gd name="T97" fmla="*/ 2147483647 h 314"/>
              <a:gd name="T98" fmla="*/ 2147483647 w 405"/>
              <a:gd name="T99" fmla="*/ 2147483647 h 314"/>
              <a:gd name="T100" fmla="*/ 2147483647 w 405"/>
              <a:gd name="T101" fmla="*/ 2147483647 h 314"/>
              <a:gd name="T102" fmla="*/ 2147483647 w 405"/>
              <a:gd name="T103" fmla="*/ 2147483647 h 314"/>
              <a:gd name="T104" fmla="*/ 0 w 405"/>
              <a:gd name="T105" fmla="*/ 2147483647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5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394065" y="4222378"/>
            <a:ext cx="193675" cy="349250"/>
          </a:xfrm>
          <a:custGeom>
            <a:avLst/>
            <a:gdLst>
              <a:gd name="T0" fmla="*/ 2147483647 w 453"/>
              <a:gd name="T1" fmla="*/ 2147483647 h 661"/>
              <a:gd name="T2" fmla="*/ 2147483647 w 453"/>
              <a:gd name="T3" fmla="*/ 2147483647 h 661"/>
              <a:gd name="T4" fmla="*/ 2147483647 w 453"/>
              <a:gd name="T5" fmla="*/ 2147483647 h 661"/>
              <a:gd name="T6" fmla="*/ 2147483647 w 453"/>
              <a:gd name="T7" fmla="*/ 2147483647 h 661"/>
              <a:gd name="T8" fmla="*/ 2147483647 w 453"/>
              <a:gd name="T9" fmla="*/ 2147483647 h 661"/>
              <a:gd name="T10" fmla="*/ 2147483647 w 453"/>
              <a:gd name="T11" fmla="*/ 2147483647 h 661"/>
              <a:gd name="T12" fmla="*/ 2147483647 w 453"/>
              <a:gd name="T13" fmla="*/ 2147483647 h 661"/>
              <a:gd name="T14" fmla="*/ 2147483647 w 453"/>
              <a:gd name="T15" fmla="*/ 2147483647 h 661"/>
              <a:gd name="T16" fmla="*/ 2147483647 w 453"/>
              <a:gd name="T17" fmla="*/ 2147483647 h 661"/>
              <a:gd name="T18" fmla="*/ 2147483647 w 453"/>
              <a:gd name="T19" fmla="*/ 2147483647 h 661"/>
              <a:gd name="T20" fmla="*/ 2147483647 w 453"/>
              <a:gd name="T21" fmla="*/ 2147483647 h 661"/>
              <a:gd name="T22" fmla="*/ 2147483647 w 453"/>
              <a:gd name="T23" fmla="*/ 2147483647 h 661"/>
              <a:gd name="T24" fmla="*/ 2147483647 w 453"/>
              <a:gd name="T25" fmla="*/ 2147483647 h 661"/>
              <a:gd name="T26" fmla="*/ 2147483647 w 453"/>
              <a:gd name="T27" fmla="*/ 2147483647 h 661"/>
              <a:gd name="T28" fmla="*/ 2147483647 w 453"/>
              <a:gd name="T29" fmla="*/ 2147483647 h 661"/>
              <a:gd name="T30" fmla="*/ 2147483647 w 453"/>
              <a:gd name="T31" fmla="*/ 2147483647 h 661"/>
              <a:gd name="T32" fmla="*/ 2147483647 w 453"/>
              <a:gd name="T33" fmla="*/ 2147483647 h 661"/>
              <a:gd name="T34" fmla="*/ 2147483647 w 453"/>
              <a:gd name="T35" fmla="*/ 2147483647 h 661"/>
              <a:gd name="T36" fmla="*/ 2147483647 w 453"/>
              <a:gd name="T37" fmla="*/ 2147483647 h 661"/>
              <a:gd name="T38" fmla="*/ 2147483647 w 453"/>
              <a:gd name="T39" fmla="*/ 2147483647 h 661"/>
              <a:gd name="T40" fmla="*/ 2147483647 w 453"/>
              <a:gd name="T41" fmla="*/ 2147483647 h 661"/>
              <a:gd name="T42" fmla="*/ 2147483647 w 453"/>
              <a:gd name="T43" fmla="*/ 2147483647 h 661"/>
              <a:gd name="T44" fmla="*/ 2147483647 w 453"/>
              <a:gd name="T45" fmla="*/ 2147483647 h 661"/>
              <a:gd name="T46" fmla="*/ 2147483647 w 453"/>
              <a:gd name="T47" fmla="*/ 2147483647 h 661"/>
              <a:gd name="T48" fmla="*/ 2147483647 w 453"/>
              <a:gd name="T49" fmla="*/ 2147483647 h 661"/>
              <a:gd name="T50" fmla="*/ 2147483647 w 453"/>
              <a:gd name="T51" fmla="*/ 2147483647 h 661"/>
              <a:gd name="T52" fmla="*/ 2147483647 w 453"/>
              <a:gd name="T53" fmla="*/ 2147483647 h 661"/>
              <a:gd name="T54" fmla="*/ 2147483647 w 453"/>
              <a:gd name="T55" fmla="*/ 2147483647 h 661"/>
              <a:gd name="T56" fmla="*/ 2147483647 w 453"/>
              <a:gd name="T57" fmla="*/ 2147483647 h 661"/>
              <a:gd name="T58" fmla="*/ 2147483647 w 453"/>
              <a:gd name="T59" fmla="*/ 2147483647 h 661"/>
              <a:gd name="T60" fmla="*/ 2147483647 w 453"/>
              <a:gd name="T61" fmla="*/ 2147483647 h 661"/>
              <a:gd name="T62" fmla="*/ 2147483647 w 453"/>
              <a:gd name="T63" fmla="*/ 2147483647 h 661"/>
              <a:gd name="T64" fmla="*/ 2147483647 w 453"/>
              <a:gd name="T65" fmla="*/ 2147483647 h 661"/>
              <a:gd name="T66" fmla="*/ 2147483647 w 453"/>
              <a:gd name="T67" fmla="*/ 2147483647 h 661"/>
              <a:gd name="T68" fmla="*/ 2147483647 w 453"/>
              <a:gd name="T69" fmla="*/ 2147483647 h 661"/>
              <a:gd name="T70" fmla="*/ 2147483647 w 453"/>
              <a:gd name="T71" fmla="*/ 2147483647 h 661"/>
              <a:gd name="T72" fmla="*/ 2147483647 w 453"/>
              <a:gd name="T73" fmla="*/ 2147483647 h 661"/>
              <a:gd name="T74" fmla="*/ 2147483647 w 453"/>
              <a:gd name="T75" fmla="*/ 2147483647 h 661"/>
              <a:gd name="T76" fmla="*/ 2147483647 w 453"/>
              <a:gd name="T77" fmla="*/ 2147483647 h 661"/>
              <a:gd name="T78" fmla="*/ 2147483647 w 453"/>
              <a:gd name="T79" fmla="*/ 2147483647 h 661"/>
              <a:gd name="T80" fmla="*/ 2147483647 w 453"/>
              <a:gd name="T81" fmla="*/ 2147483647 h 661"/>
              <a:gd name="T82" fmla="*/ 2147483647 w 453"/>
              <a:gd name="T83" fmla="*/ 2147483647 h 661"/>
              <a:gd name="T84" fmla="*/ 2147483647 w 453"/>
              <a:gd name="T85" fmla="*/ 2147483647 h 661"/>
              <a:gd name="T86" fmla="*/ 2147483647 w 453"/>
              <a:gd name="T87" fmla="*/ 2147483647 h 661"/>
              <a:gd name="T88" fmla="*/ 2147483647 w 453"/>
              <a:gd name="T89" fmla="*/ 2147483647 h 661"/>
              <a:gd name="T90" fmla="*/ 2147483647 w 453"/>
              <a:gd name="T91" fmla="*/ 2147483647 h 661"/>
              <a:gd name="T92" fmla="*/ 2147483647 w 453"/>
              <a:gd name="T93" fmla="*/ 2147483647 h 661"/>
              <a:gd name="T94" fmla="*/ 2147483647 w 453"/>
              <a:gd name="T95" fmla="*/ 2147483647 h 661"/>
              <a:gd name="T96" fmla="*/ 2147483647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6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845165" y="3981078"/>
            <a:ext cx="55563" cy="57150"/>
          </a:xfrm>
          <a:custGeom>
            <a:avLst/>
            <a:gdLst>
              <a:gd name="T0" fmla="*/ 0 w 126"/>
              <a:gd name="T1" fmla="*/ 2147483647 h 105"/>
              <a:gd name="T2" fmla="*/ 2147483647 w 126"/>
              <a:gd name="T3" fmla="*/ 2147483647 h 105"/>
              <a:gd name="T4" fmla="*/ 2147483647 w 126"/>
              <a:gd name="T5" fmla="*/ 2147483647 h 105"/>
              <a:gd name="T6" fmla="*/ 2147483647 w 126"/>
              <a:gd name="T7" fmla="*/ 2147483647 h 105"/>
              <a:gd name="T8" fmla="*/ 2147483647 w 126"/>
              <a:gd name="T9" fmla="*/ 2147483647 h 105"/>
              <a:gd name="T10" fmla="*/ 2147483647 w 126"/>
              <a:gd name="T11" fmla="*/ 2147483647 h 105"/>
              <a:gd name="T12" fmla="*/ 2147483647 w 126"/>
              <a:gd name="T13" fmla="*/ 0 h 105"/>
              <a:gd name="T14" fmla="*/ 2147483647 w 126"/>
              <a:gd name="T15" fmla="*/ 0 h 105"/>
              <a:gd name="T16" fmla="*/ 2147483647 w 126"/>
              <a:gd name="T17" fmla="*/ 2147483647 h 105"/>
              <a:gd name="T18" fmla="*/ 2147483647 w 126"/>
              <a:gd name="T19" fmla="*/ 2147483647 h 105"/>
              <a:gd name="T20" fmla="*/ 2147483647 w 126"/>
              <a:gd name="T21" fmla="*/ 2147483647 h 105"/>
              <a:gd name="T22" fmla="*/ 2147483647 w 126"/>
              <a:gd name="T23" fmla="*/ 2147483647 h 105"/>
              <a:gd name="T24" fmla="*/ 2147483647 w 126"/>
              <a:gd name="T25" fmla="*/ 2147483647 h 105"/>
              <a:gd name="T26" fmla="*/ 2147483647 w 126"/>
              <a:gd name="T27" fmla="*/ 2147483647 h 105"/>
              <a:gd name="T28" fmla="*/ 2147483647 w 126"/>
              <a:gd name="T29" fmla="*/ 2147483647 h 105"/>
              <a:gd name="T30" fmla="*/ 2147483647 w 126"/>
              <a:gd name="T31" fmla="*/ 2147483647 h 105"/>
              <a:gd name="T32" fmla="*/ 2147483647 w 126"/>
              <a:gd name="T33" fmla="*/ 2147483647 h 105"/>
              <a:gd name="T34" fmla="*/ 2147483647 w 126"/>
              <a:gd name="T35" fmla="*/ 2147483647 h 105"/>
              <a:gd name="T36" fmla="*/ 2147483647 w 126"/>
              <a:gd name="T37" fmla="*/ 2147483647 h 105"/>
              <a:gd name="T38" fmla="*/ 2147483647 w 126"/>
              <a:gd name="T39" fmla="*/ 2147483647 h 105"/>
              <a:gd name="T40" fmla="*/ 2147483647 w 126"/>
              <a:gd name="T41" fmla="*/ 2147483647 h 105"/>
              <a:gd name="T42" fmla="*/ 2147483647 w 126"/>
              <a:gd name="T43" fmla="*/ 2147483647 h 105"/>
              <a:gd name="T44" fmla="*/ 2147483647 w 126"/>
              <a:gd name="T45" fmla="*/ 2147483647 h 105"/>
              <a:gd name="T46" fmla="*/ 2147483647 w 126"/>
              <a:gd name="T47" fmla="*/ 2147483647 h 105"/>
              <a:gd name="T48" fmla="*/ 2147483647 w 126"/>
              <a:gd name="T49" fmla="*/ 2147483647 h 105"/>
              <a:gd name="T50" fmla="*/ 2147483647 w 126"/>
              <a:gd name="T51" fmla="*/ 2147483647 h 105"/>
              <a:gd name="T52" fmla="*/ 2147483647 w 126"/>
              <a:gd name="T53" fmla="*/ 2147483647 h 105"/>
              <a:gd name="T54" fmla="*/ 2147483647 w 126"/>
              <a:gd name="T55" fmla="*/ 2147483647 h 105"/>
              <a:gd name="T56" fmla="*/ 2147483647 w 126"/>
              <a:gd name="T57" fmla="*/ 2147483647 h 105"/>
              <a:gd name="T58" fmla="*/ 2147483647 w 126"/>
              <a:gd name="T59" fmla="*/ 2147483647 h 105"/>
              <a:gd name="T60" fmla="*/ 2147483647 w 126"/>
              <a:gd name="T61" fmla="*/ 2147483647 h 105"/>
              <a:gd name="T62" fmla="*/ 2147483647 w 126"/>
              <a:gd name="T63" fmla="*/ 2147483647 h 105"/>
              <a:gd name="T64" fmla="*/ 2147483647 w 126"/>
              <a:gd name="T65" fmla="*/ 2147483647 h 105"/>
              <a:gd name="T66" fmla="*/ 2147483647 w 126"/>
              <a:gd name="T67" fmla="*/ 2147483647 h 105"/>
              <a:gd name="T68" fmla="*/ 2147483647 w 126"/>
              <a:gd name="T69" fmla="*/ 2147483647 h 105"/>
              <a:gd name="T70" fmla="*/ 2147483647 w 126"/>
              <a:gd name="T71" fmla="*/ 2147483647 h 105"/>
              <a:gd name="T72" fmla="*/ 2147483647 w 126"/>
              <a:gd name="T73" fmla="*/ 2147483647 h 105"/>
              <a:gd name="T74" fmla="*/ 2147483647 w 126"/>
              <a:gd name="T75" fmla="*/ 2147483647 h 105"/>
              <a:gd name="T76" fmla="*/ 0 w 126"/>
              <a:gd name="T77" fmla="*/ 2147483647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7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200140" y="4244603"/>
            <a:ext cx="298450" cy="523875"/>
          </a:xfrm>
          <a:custGeom>
            <a:avLst/>
            <a:gdLst>
              <a:gd name="T0" fmla="*/ 2147483647 w 684"/>
              <a:gd name="T1" fmla="*/ 2147483647 h 998"/>
              <a:gd name="T2" fmla="*/ 2147483647 w 684"/>
              <a:gd name="T3" fmla="*/ 2147483647 h 998"/>
              <a:gd name="T4" fmla="*/ 2147483647 w 684"/>
              <a:gd name="T5" fmla="*/ 2147483647 h 998"/>
              <a:gd name="T6" fmla="*/ 2147483647 w 684"/>
              <a:gd name="T7" fmla="*/ 2147483647 h 998"/>
              <a:gd name="T8" fmla="*/ 2147483647 w 684"/>
              <a:gd name="T9" fmla="*/ 2147483647 h 998"/>
              <a:gd name="T10" fmla="*/ 2147483647 w 684"/>
              <a:gd name="T11" fmla="*/ 2147483647 h 998"/>
              <a:gd name="T12" fmla="*/ 2147483647 w 684"/>
              <a:gd name="T13" fmla="*/ 2147483647 h 998"/>
              <a:gd name="T14" fmla="*/ 2147483647 w 684"/>
              <a:gd name="T15" fmla="*/ 2147483647 h 998"/>
              <a:gd name="T16" fmla="*/ 2147483647 w 684"/>
              <a:gd name="T17" fmla="*/ 2147483647 h 998"/>
              <a:gd name="T18" fmla="*/ 2147483647 w 684"/>
              <a:gd name="T19" fmla="*/ 2147483647 h 998"/>
              <a:gd name="T20" fmla="*/ 2147483647 w 684"/>
              <a:gd name="T21" fmla="*/ 2147483647 h 998"/>
              <a:gd name="T22" fmla="*/ 2147483647 w 684"/>
              <a:gd name="T23" fmla="*/ 2147483647 h 998"/>
              <a:gd name="T24" fmla="*/ 2147483647 w 684"/>
              <a:gd name="T25" fmla="*/ 2147483647 h 998"/>
              <a:gd name="T26" fmla="*/ 2147483647 w 684"/>
              <a:gd name="T27" fmla="*/ 2147483647 h 998"/>
              <a:gd name="T28" fmla="*/ 2147483647 w 684"/>
              <a:gd name="T29" fmla="*/ 2147483647 h 998"/>
              <a:gd name="T30" fmla="*/ 2147483647 w 684"/>
              <a:gd name="T31" fmla="*/ 2147483647 h 998"/>
              <a:gd name="T32" fmla="*/ 2147483647 w 684"/>
              <a:gd name="T33" fmla="*/ 2147483647 h 998"/>
              <a:gd name="T34" fmla="*/ 2147483647 w 684"/>
              <a:gd name="T35" fmla="*/ 2147483647 h 998"/>
              <a:gd name="T36" fmla="*/ 2147483647 w 684"/>
              <a:gd name="T37" fmla="*/ 2147483647 h 998"/>
              <a:gd name="T38" fmla="*/ 2147483647 w 684"/>
              <a:gd name="T39" fmla="*/ 2147483647 h 998"/>
              <a:gd name="T40" fmla="*/ 2147483647 w 684"/>
              <a:gd name="T41" fmla="*/ 2147483647 h 998"/>
              <a:gd name="T42" fmla="*/ 2147483647 w 684"/>
              <a:gd name="T43" fmla="*/ 2147483647 h 998"/>
              <a:gd name="T44" fmla="*/ 2147483647 w 684"/>
              <a:gd name="T45" fmla="*/ 2147483647 h 998"/>
              <a:gd name="T46" fmla="*/ 2147483647 w 684"/>
              <a:gd name="T47" fmla="*/ 2147483647 h 998"/>
              <a:gd name="T48" fmla="*/ 2147483647 w 684"/>
              <a:gd name="T49" fmla="*/ 2147483647 h 998"/>
              <a:gd name="T50" fmla="*/ 2147483647 w 684"/>
              <a:gd name="T51" fmla="*/ 2147483647 h 998"/>
              <a:gd name="T52" fmla="*/ 2147483647 w 684"/>
              <a:gd name="T53" fmla="*/ 2147483647 h 998"/>
              <a:gd name="T54" fmla="*/ 2147483647 w 684"/>
              <a:gd name="T55" fmla="*/ 2147483647 h 998"/>
              <a:gd name="T56" fmla="*/ 2147483647 w 684"/>
              <a:gd name="T57" fmla="*/ 2147483647 h 998"/>
              <a:gd name="T58" fmla="*/ 2147483647 w 684"/>
              <a:gd name="T59" fmla="*/ 2147483647 h 998"/>
              <a:gd name="T60" fmla="*/ 2147483647 w 684"/>
              <a:gd name="T61" fmla="*/ 2147483647 h 998"/>
              <a:gd name="T62" fmla="*/ 2147483647 w 684"/>
              <a:gd name="T63" fmla="*/ 2147483647 h 998"/>
              <a:gd name="T64" fmla="*/ 2147483647 w 684"/>
              <a:gd name="T65" fmla="*/ 2147483647 h 998"/>
              <a:gd name="T66" fmla="*/ 2147483647 w 684"/>
              <a:gd name="T67" fmla="*/ 2147483647 h 998"/>
              <a:gd name="T68" fmla="*/ 2147483647 w 684"/>
              <a:gd name="T69" fmla="*/ 2147483647 h 998"/>
              <a:gd name="T70" fmla="*/ 2147483647 w 684"/>
              <a:gd name="T71" fmla="*/ 2147483647 h 998"/>
              <a:gd name="T72" fmla="*/ 2147483647 w 684"/>
              <a:gd name="T73" fmla="*/ 2147483647 h 998"/>
              <a:gd name="T74" fmla="*/ 2147483647 w 684"/>
              <a:gd name="T75" fmla="*/ 2147483647 h 998"/>
              <a:gd name="T76" fmla="*/ 2147483647 w 684"/>
              <a:gd name="T77" fmla="*/ 2147483647 h 998"/>
              <a:gd name="T78" fmla="*/ 2147483647 w 684"/>
              <a:gd name="T79" fmla="*/ 2147483647 h 998"/>
              <a:gd name="T80" fmla="*/ 2147483647 w 684"/>
              <a:gd name="T81" fmla="*/ 2147483647 h 998"/>
              <a:gd name="T82" fmla="*/ 2147483647 w 684"/>
              <a:gd name="T83" fmla="*/ 2147483647 h 998"/>
              <a:gd name="T84" fmla="*/ 2147483647 w 684"/>
              <a:gd name="T85" fmla="*/ 2147483647 h 998"/>
              <a:gd name="T86" fmla="*/ 2147483647 w 684"/>
              <a:gd name="T87" fmla="*/ 2147483647 h 998"/>
              <a:gd name="T88" fmla="*/ 2147483647 w 684"/>
              <a:gd name="T89" fmla="*/ 2147483647 h 998"/>
              <a:gd name="T90" fmla="*/ 2147483647 w 684"/>
              <a:gd name="T91" fmla="*/ 2147483647 h 998"/>
              <a:gd name="T92" fmla="*/ 2147483647 w 684"/>
              <a:gd name="T93" fmla="*/ 2147483647 h 998"/>
              <a:gd name="T94" fmla="*/ 2147483647 w 684"/>
              <a:gd name="T95" fmla="*/ 2147483647 h 998"/>
              <a:gd name="T96" fmla="*/ 2147483647 w 684"/>
              <a:gd name="T97" fmla="*/ 2147483647 h 998"/>
              <a:gd name="T98" fmla="*/ 2147483647 w 684"/>
              <a:gd name="T99" fmla="*/ 2147483647 h 998"/>
              <a:gd name="T100" fmla="*/ 2147483647 w 684"/>
              <a:gd name="T101" fmla="*/ 2147483647 h 998"/>
              <a:gd name="T102" fmla="*/ 2147483647 w 684"/>
              <a:gd name="T103" fmla="*/ 2147483647 h 998"/>
              <a:gd name="T104" fmla="*/ 2147483647 w 684"/>
              <a:gd name="T105" fmla="*/ 2147483647 h 998"/>
              <a:gd name="T106" fmla="*/ 2147483647 w 684"/>
              <a:gd name="T107" fmla="*/ 2147483647 h 998"/>
              <a:gd name="T108" fmla="*/ 2147483647 w 684"/>
              <a:gd name="T109" fmla="*/ 2147483647 h 998"/>
              <a:gd name="T110" fmla="*/ 2147483647 w 684"/>
              <a:gd name="T111" fmla="*/ 2147483647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8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452803" y="4512890"/>
            <a:ext cx="187325" cy="274638"/>
          </a:xfrm>
          <a:custGeom>
            <a:avLst/>
            <a:gdLst>
              <a:gd name="T0" fmla="*/ 2147483647 w 429"/>
              <a:gd name="T1" fmla="*/ 2147483647 h 524"/>
              <a:gd name="T2" fmla="*/ 2147483647 w 429"/>
              <a:gd name="T3" fmla="*/ 2147483647 h 524"/>
              <a:gd name="T4" fmla="*/ 2147483647 w 429"/>
              <a:gd name="T5" fmla="*/ 2147483647 h 524"/>
              <a:gd name="T6" fmla="*/ 2147483647 w 429"/>
              <a:gd name="T7" fmla="*/ 2147483647 h 524"/>
              <a:gd name="T8" fmla="*/ 2147483647 w 429"/>
              <a:gd name="T9" fmla="*/ 2147483647 h 524"/>
              <a:gd name="T10" fmla="*/ 2147483647 w 429"/>
              <a:gd name="T11" fmla="*/ 2147483647 h 524"/>
              <a:gd name="T12" fmla="*/ 2147483647 w 429"/>
              <a:gd name="T13" fmla="*/ 2147483647 h 524"/>
              <a:gd name="T14" fmla="*/ 2147483647 w 429"/>
              <a:gd name="T15" fmla="*/ 2147483647 h 524"/>
              <a:gd name="T16" fmla="*/ 2147483647 w 429"/>
              <a:gd name="T17" fmla="*/ 2147483647 h 524"/>
              <a:gd name="T18" fmla="*/ 2147483647 w 429"/>
              <a:gd name="T19" fmla="*/ 2147483647 h 524"/>
              <a:gd name="T20" fmla="*/ 2147483647 w 429"/>
              <a:gd name="T21" fmla="*/ 2147483647 h 524"/>
              <a:gd name="T22" fmla="*/ 2147483647 w 429"/>
              <a:gd name="T23" fmla="*/ 2147483647 h 524"/>
              <a:gd name="T24" fmla="*/ 2147483647 w 429"/>
              <a:gd name="T25" fmla="*/ 2147483647 h 524"/>
              <a:gd name="T26" fmla="*/ 2147483647 w 429"/>
              <a:gd name="T27" fmla="*/ 2147483647 h 524"/>
              <a:gd name="T28" fmla="*/ 2147483647 w 429"/>
              <a:gd name="T29" fmla="*/ 2147483647 h 524"/>
              <a:gd name="T30" fmla="*/ 2147483647 w 429"/>
              <a:gd name="T31" fmla="*/ 2147483647 h 524"/>
              <a:gd name="T32" fmla="*/ 2147483647 w 429"/>
              <a:gd name="T33" fmla="*/ 2147483647 h 524"/>
              <a:gd name="T34" fmla="*/ 2147483647 w 429"/>
              <a:gd name="T35" fmla="*/ 2147483647 h 524"/>
              <a:gd name="T36" fmla="*/ 2147483647 w 429"/>
              <a:gd name="T37" fmla="*/ 2147483647 h 524"/>
              <a:gd name="T38" fmla="*/ 2147483647 w 429"/>
              <a:gd name="T39" fmla="*/ 2147483647 h 524"/>
              <a:gd name="T40" fmla="*/ 2147483647 w 429"/>
              <a:gd name="T41" fmla="*/ 2147483647 h 524"/>
              <a:gd name="T42" fmla="*/ 2147483647 w 429"/>
              <a:gd name="T43" fmla="*/ 2147483647 h 524"/>
              <a:gd name="T44" fmla="*/ 2147483647 w 429"/>
              <a:gd name="T45" fmla="*/ 2147483647 h 524"/>
              <a:gd name="T46" fmla="*/ 2147483647 w 429"/>
              <a:gd name="T47" fmla="*/ 2147483647 h 524"/>
              <a:gd name="T48" fmla="*/ 2147483647 w 429"/>
              <a:gd name="T49" fmla="*/ 2147483647 h 524"/>
              <a:gd name="T50" fmla="*/ 2147483647 w 429"/>
              <a:gd name="T51" fmla="*/ 2147483647 h 524"/>
              <a:gd name="T52" fmla="*/ 2147483647 w 429"/>
              <a:gd name="T53" fmla="*/ 2147483647 h 524"/>
              <a:gd name="T54" fmla="*/ 2147483647 w 429"/>
              <a:gd name="T55" fmla="*/ 2147483647 h 524"/>
              <a:gd name="T56" fmla="*/ 2147483647 w 429"/>
              <a:gd name="T57" fmla="*/ 2147483647 h 524"/>
              <a:gd name="T58" fmla="*/ 2147483647 w 429"/>
              <a:gd name="T59" fmla="*/ 2147483647 h 524"/>
              <a:gd name="T60" fmla="*/ 2147483647 w 429"/>
              <a:gd name="T61" fmla="*/ 2147483647 h 524"/>
              <a:gd name="T62" fmla="*/ 2147483647 w 429"/>
              <a:gd name="T63" fmla="*/ 2147483647 h 524"/>
              <a:gd name="T64" fmla="*/ 2147483647 w 429"/>
              <a:gd name="T65" fmla="*/ 2147483647 h 524"/>
              <a:gd name="T66" fmla="*/ 2147483647 w 429"/>
              <a:gd name="T67" fmla="*/ 2147483647 h 524"/>
              <a:gd name="T68" fmla="*/ 2147483647 w 429"/>
              <a:gd name="T69" fmla="*/ 2147483647 h 524"/>
              <a:gd name="T70" fmla="*/ 2147483647 w 429"/>
              <a:gd name="T71" fmla="*/ 2147483647 h 524"/>
              <a:gd name="T72" fmla="*/ 2147483647 w 429"/>
              <a:gd name="T73" fmla="*/ 2147483647 h 524"/>
              <a:gd name="T74" fmla="*/ 2147483647 w 429"/>
              <a:gd name="T75" fmla="*/ 2147483647 h 524"/>
              <a:gd name="T76" fmla="*/ 2147483647 w 429"/>
              <a:gd name="T77" fmla="*/ 2147483647 h 524"/>
              <a:gd name="T78" fmla="*/ 2147483647 w 429"/>
              <a:gd name="T79" fmla="*/ 2147483647 h 524"/>
              <a:gd name="T80" fmla="*/ 2147483647 w 429"/>
              <a:gd name="T81" fmla="*/ 2147483647 h 524"/>
              <a:gd name="T82" fmla="*/ 2147483647 w 429"/>
              <a:gd name="T83" fmla="*/ 2147483647 h 524"/>
              <a:gd name="T84" fmla="*/ 2147483647 w 429"/>
              <a:gd name="T85" fmla="*/ 2147483647 h 524"/>
              <a:gd name="T86" fmla="*/ 2147483647 w 429"/>
              <a:gd name="T87" fmla="*/ 2147483647 h 524"/>
              <a:gd name="T88" fmla="*/ 2147483647 w 429"/>
              <a:gd name="T89" fmla="*/ 2147483647 h 524"/>
              <a:gd name="T90" fmla="*/ 2147483647 w 429"/>
              <a:gd name="T91" fmla="*/ 2147483647 h 524"/>
              <a:gd name="T92" fmla="*/ 2147483647 w 429"/>
              <a:gd name="T93" fmla="*/ 2147483647 h 524"/>
              <a:gd name="T94" fmla="*/ 2147483647 w 429"/>
              <a:gd name="T95" fmla="*/ 2147483647 h 524"/>
              <a:gd name="T96" fmla="*/ 2147483647 w 429"/>
              <a:gd name="T97" fmla="*/ 2147483647 h 524"/>
              <a:gd name="T98" fmla="*/ 2147483647 w 429"/>
              <a:gd name="T99" fmla="*/ 2147483647 h 524"/>
              <a:gd name="T100" fmla="*/ 2147483647 w 429"/>
              <a:gd name="T101" fmla="*/ 2147483647 h 524"/>
              <a:gd name="T102" fmla="*/ 2147483647 w 429"/>
              <a:gd name="T103" fmla="*/ 2147483647 h 524"/>
              <a:gd name="T104" fmla="*/ 2147483647 w 429"/>
              <a:gd name="T105" fmla="*/ 2147483647 h 524"/>
              <a:gd name="T106" fmla="*/ 2147483647 w 429"/>
              <a:gd name="T107" fmla="*/ 2147483647 h 524"/>
              <a:gd name="T108" fmla="*/ 2147483647 w 429"/>
              <a:gd name="T109" fmla="*/ 2147483647 h 524"/>
              <a:gd name="T110" fmla="*/ 2147483647 w 429"/>
              <a:gd name="T111" fmla="*/ 2147483647 h 524"/>
              <a:gd name="T112" fmla="*/ 2147483647 w 429"/>
              <a:gd name="T113" fmla="*/ 2147483647 h 524"/>
              <a:gd name="T114" fmla="*/ 2147483647 w 429"/>
              <a:gd name="T115" fmla="*/ 2147483647 h 524"/>
              <a:gd name="T116" fmla="*/ 2147483647 w 429"/>
              <a:gd name="T117" fmla="*/ 2147483647 h 524"/>
              <a:gd name="T118" fmla="*/ 2147483647 w 429"/>
              <a:gd name="T119" fmla="*/ 2147483647 h 524"/>
              <a:gd name="T120" fmla="*/ 2147483647 w 429"/>
              <a:gd name="T121" fmla="*/ 2147483647 h 524"/>
              <a:gd name="T122" fmla="*/ 2147483647 w 429"/>
              <a:gd name="T123" fmla="*/ 2147483647 h 524"/>
              <a:gd name="T124" fmla="*/ 2147483647 w 429"/>
              <a:gd name="T125" fmla="*/ 2147483647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9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484553" y="3155578"/>
            <a:ext cx="127000" cy="114300"/>
          </a:xfrm>
          <a:custGeom>
            <a:avLst/>
            <a:gdLst>
              <a:gd name="T0" fmla="*/ 2147483647 w 292"/>
              <a:gd name="T1" fmla="*/ 2147483647 h 223"/>
              <a:gd name="T2" fmla="*/ 2147483647 w 292"/>
              <a:gd name="T3" fmla="*/ 2147483647 h 223"/>
              <a:gd name="T4" fmla="*/ 2147483647 w 292"/>
              <a:gd name="T5" fmla="*/ 2147483647 h 223"/>
              <a:gd name="T6" fmla="*/ 2147483647 w 292"/>
              <a:gd name="T7" fmla="*/ 2147483647 h 223"/>
              <a:gd name="T8" fmla="*/ 2147483647 w 292"/>
              <a:gd name="T9" fmla="*/ 2147483647 h 223"/>
              <a:gd name="T10" fmla="*/ 2147483647 w 292"/>
              <a:gd name="T11" fmla="*/ 2147483647 h 223"/>
              <a:gd name="T12" fmla="*/ 2147483647 w 292"/>
              <a:gd name="T13" fmla="*/ 2147483647 h 223"/>
              <a:gd name="T14" fmla="*/ 2147483647 w 292"/>
              <a:gd name="T15" fmla="*/ 2147483647 h 223"/>
              <a:gd name="T16" fmla="*/ 2147483647 w 292"/>
              <a:gd name="T17" fmla="*/ 2147483647 h 223"/>
              <a:gd name="T18" fmla="*/ 2147483647 w 292"/>
              <a:gd name="T19" fmla="*/ 2147483647 h 223"/>
              <a:gd name="T20" fmla="*/ 2147483647 w 292"/>
              <a:gd name="T21" fmla="*/ 2147483647 h 223"/>
              <a:gd name="T22" fmla="*/ 2147483647 w 292"/>
              <a:gd name="T23" fmla="*/ 2147483647 h 223"/>
              <a:gd name="T24" fmla="*/ 2147483647 w 292"/>
              <a:gd name="T25" fmla="*/ 2147483647 h 223"/>
              <a:gd name="T26" fmla="*/ 2147483647 w 292"/>
              <a:gd name="T27" fmla="*/ 2147483647 h 223"/>
              <a:gd name="T28" fmla="*/ 2147483647 w 292"/>
              <a:gd name="T29" fmla="*/ 2147483647 h 223"/>
              <a:gd name="T30" fmla="*/ 2147483647 w 292"/>
              <a:gd name="T31" fmla="*/ 2147483647 h 223"/>
              <a:gd name="T32" fmla="*/ 2147483647 w 292"/>
              <a:gd name="T33" fmla="*/ 2147483647 h 223"/>
              <a:gd name="T34" fmla="*/ 2147483647 w 292"/>
              <a:gd name="T35" fmla="*/ 2147483647 h 223"/>
              <a:gd name="T36" fmla="*/ 2147483647 w 292"/>
              <a:gd name="T37" fmla="*/ 2147483647 h 223"/>
              <a:gd name="T38" fmla="*/ 2147483647 w 292"/>
              <a:gd name="T39" fmla="*/ 2147483647 h 223"/>
              <a:gd name="T40" fmla="*/ 2147483647 w 292"/>
              <a:gd name="T41" fmla="*/ 2147483647 h 223"/>
              <a:gd name="T42" fmla="*/ 2147483647 w 292"/>
              <a:gd name="T43" fmla="*/ 2147483647 h 223"/>
              <a:gd name="T44" fmla="*/ 2147483647 w 292"/>
              <a:gd name="T45" fmla="*/ 2147483647 h 223"/>
              <a:gd name="T46" fmla="*/ 2147483647 w 292"/>
              <a:gd name="T47" fmla="*/ 2147483647 h 223"/>
              <a:gd name="T48" fmla="*/ 2147483647 w 292"/>
              <a:gd name="T49" fmla="*/ 2147483647 h 223"/>
              <a:gd name="T50" fmla="*/ 2147483647 w 292"/>
              <a:gd name="T51" fmla="*/ 2147483647 h 223"/>
              <a:gd name="T52" fmla="*/ 0 w 292"/>
              <a:gd name="T53" fmla="*/ 2147483647 h 223"/>
              <a:gd name="T54" fmla="*/ 2147483647 w 292"/>
              <a:gd name="T55" fmla="*/ 2147483647 h 223"/>
              <a:gd name="T56" fmla="*/ 2147483647 w 292"/>
              <a:gd name="T57" fmla="*/ 2147483647 h 223"/>
              <a:gd name="T58" fmla="*/ 2147483647 w 292"/>
              <a:gd name="T59" fmla="*/ 2147483647 h 223"/>
              <a:gd name="T60" fmla="*/ 2147483647 w 292"/>
              <a:gd name="T61" fmla="*/ 2147483647 h 223"/>
              <a:gd name="T62" fmla="*/ 2147483647 w 292"/>
              <a:gd name="T63" fmla="*/ 2147483647 h 223"/>
              <a:gd name="T64" fmla="*/ 2147483647 w 292"/>
              <a:gd name="T65" fmla="*/ 2147483647 h 223"/>
              <a:gd name="T66" fmla="*/ 2147483647 w 292"/>
              <a:gd name="T67" fmla="*/ 0 h 223"/>
              <a:gd name="T68" fmla="*/ 2147483647 w 292"/>
              <a:gd name="T69" fmla="*/ 2147483647 h 223"/>
              <a:gd name="T70" fmla="*/ 2147483647 w 292"/>
              <a:gd name="T71" fmla="*/ 2147483647 h 223"/>
              <a:gd name="T72" fmla="*/ 2147483647 w 292"/>
              <a:gd name="T73" fmla="*/ 2147483647 h 223"/>
              <a:gd name="T74" fmla="*/ 2147483647 w 292"/>
              <a:gd name="T75" fmla="*/ 2147483647 h 223"/>
              <a:gd name="T76" fmla="*/ 2147483647 w 292"/>
              <a:gd name="T77" fmla="*/ 2147483647 h 223"/>
              <a:gd name="T78" fmla="*/ 2147483647 w 292"/>
              <a:gd name="T79" fmla="*/ 2147483647 h 223"/>
              <a:gd name="T80" fmla="*/ 2147483647 w 292"/>
              <a:gd name="T81" fmla="*/ 2147483647 h 223"/>
              <a:gd name="T82" fmla="*/ 2147483647 w 292"/>
              <a:gd name="T83" fmla="*/ 2147483647 h 223"/>
              <a:gd name="T84" fmla="*/ 2147483647 w 292"/>
              <a:gd name="T85" fmla="*/ 214748364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0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435340" y="3014290"/>
            <a:ext cx="168275" cy="77788"/>
          </a:xfrm>
          <a:custGeom>
            <a:avLst/>
            <a:gdLst>
              <a:gd name="T0" fmla="*/ 2147483647 w 379"/>
              <a:gd name="T1" fmla="*/ 2147483647 h 147"/>
              <a:gd name="T2" fmla="*/ 2147483647 w 379"/>
              <a:gd name="T3" fmla="*/ 2147483647 h 147"/>
              <a:gd name="T4" fmla="*/ 2147483647 w 379"/>
              <a:gd name="T5" fmla="*/ 2147483647 h 147"/>
              <a:gd name="T6" fmla="*/ 2147483647 w 379"/>
              <a:gd name="T7" fmla="*/ 2147483647 h 147"/>
              <a:gd name="T8" fmla="*/ 2147483647 w 379"/>
              <a:gd name="T9" fmla="*/ 2147483647 h 147"/>
              <a:gd name="T10" fmla="*/ 2147483647 w 379"/>
              <a:gd name="T11" fmla="*/ 2147483647 h 147"/>
              <a:gd name="T12" fmla="*/ 2147483647 w 379"/>
              <a:gd name="T13" fmla="*/ 2147483647 h 147"/>
              <a:gd name="T14" fmla="*/ 2147483647 w 379"/>
              <a:gd name="T15" fmla="*/ 2147483647 h 147"/>
              <a:gd name="T16" fmla="*/ 2147483647 w 379"/>
              <a:gd name="T17" fmla="*/ 2147483647 h 147"/>
              <a:gd name="T18" fmla="*/ 2147483647 w 379"/>
              <a:gd name="T19" fmla="*/ 2147483647 h 147"/>
              <a:gd name="T20" fmla="*/ 2147483647 w 379"/>
              <a:gd name="T21" fmla="*/ 2147483647 h 147"/>
              <a:gd name="T22" fmla="*/ 2147483647 w 379"/>
              <a:gd name="T23" fmla="*/ 2147483647 h 147"/>
              <a:gd name="T24" fmla="*/ 2147483647 w 379"/>
              <a:gd name="T25" fmla="*/ 2147483647 h 147"/>
              <a:gd name="T26" fmla="*/ 2147483647 w 379"/>
              <a:gd name="T27" fmla="*/ 2147483647 h 147"/>
              <a:gd name="T28" fmla="*/ 2147483647 w 379"/>
              <a:gd name="T29" fmla="*/ 2147483647 h 147"/>
              <a:gd name="T30" fmla="*/ 2147483647 w 379"/>
              <a:gd name="T31" fmla="*/ 2147483647 h 147"/>
              <a:gd name="T32" fmla="*/ 2147483647 w 379"/>
              <a:gd name="T33" fmla="*/ 2147483647 h 147"/>
              <a:gd name="T34" fmla="*/ 2147483647 w 379"/>
              <a:gd name="T35" fmla="*/ 2147483647 h 147"/>
              <a:gd name="T36" fmla="*/ 2147483647 w 379"/>
              <a:gd name="T37" fmla="*/ 2147483647 h 147"/>
              <a:gd name="T38" fmla="*/ 2147483647 w 379"/>
              <a:gd name="T39" fmla="*/ 2147483647 h 147"/>
              <a:gd name="T40" fmla="*/ 2147483647 w 379"/>
              <a:gd name="T41" fmla="*/ 2147483647 h 147"/>
              <a:gd name="T42" fmla="*/ 2147483647 w 379"/>
              <a:gd name="T43" fmla="*/ 2147483647 h 147"/>
              <a:gd name="T44" fmla="*/ 2147483647 w 379"/>
              <a:gd name="T45" fmla="*/ 2147483647 h 147"/>
              <a:gd name="T46" fmla="*/ 2147483647 w 379"/>
              <a:gd name="T47" fmla="*/ 2147483647 h 147"/>
              <a:gd name="T48" fmla="*/ 0 w 379"/>
              <a:gd name="T49" fmla="*/ 2147483647 h 147"/>
              <a:gd name="T50" fmla="*/ 2147483647 w 379"/>
              <a:gd name="T51" fmla="*/ 2147483647 h 147"/>
              <a:gd name="T52" fmla="*/ 2147483647 w 379"/>
              <a:gd name="T53" fmla="*/ 2147483647 h 147"/>
              <a:gd name="T54" fmla="*/ 2147483647 w 379"/>
              <a:gd name="T55" fmla="*/ 2147483647 h 147"/>
              <a:gd name="T56" fmla="*/ 2147483647 w 379"/>
              <a:gd name="T57" fmla="*/ 2147483647 h 147"/>
              <a:gd name="T58" fmla="*/ 2147483647 w 379"/>
              <a:gd name="T59" fmla="*/ 2147483647 h 147"/>
              <a:gd name="T60" fmla="*/ 2147483647 w 379"/>
              <a:gd name="T61" fmla="*/ 2147483647 h 147"/>
              <a:gd name="T62" fmla="*/ 2147483647 w 379"/>
              <a:gd name="T63" fmla="*/ 0 h 147"/>
              <a:gd name="T64" fmla="*/ 2147483647 w 379"/>
              <a:gd name="T65" fmla="*/ 2147483647 h 147"/>
              <a:gd name="T66" fmla="*/ 2147483647 w 379"/>
              <a:gd name="T67" fmla="*/ 2147483647 h 147"/>
              <a:gd name="T68" fmla="*/ 2147483647 w 379"/>
              <a:gd name="T69" fmla="*/ 2147483647 h 147"/>
              <a:gd name="T70" fmla="*/ 2147483647 w 379"/>
              <a:gd name="T71" fmla="*/ 2147483647 h 147"/>
              <a:gd name="T72" fmla="*/ 2147483647 w 379"/>
              <a:gd name="T73" fmla="*/ 2147483647 h 147"/>
              <a:gd name="T74" fmla="*/ 2147483647 w 379"/>
              <a:gd name="T75" fmla="*/ 2147483647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1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398828" y="286982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2147483647 h 67"/>
              <a:gd name="T4" fmla="*/ 0 w 61"/>
              <a:gd name="T5" fmla="*/ 2147483647 h 67"/>
              <a:gd name="T6" fmla="*/ 2147483647 w 61"/>
              <a:gd name="T7" fmla="*/ 2147483647 h 67"/>
              <a:gd name="T8" fmla="*/ 2147483647 w 61"/>
              <a:gd name="T9" fmla="*/ 2147483647 h 67"/>
              <a:gd name="T10" fmla="*/ 2147483647 w 61"/>
              <a:gd name="T11" fmla="*/ 2147483647 h 67"/>
              <a:gd name="T12" fmla="*/ 2147483647 w 61"/>
              <a:gd name="T13" fmla="*/ 2147483647 h 67"/>
              <a:gd name="T14" fmla="*/ 2147483647 w 61"/>
              <a:gd name="T15" fmla="*/ 2147483647 h 67"/>
              <a:gd name="T16" fmla="*/ 2147483647 w 61"/>
              <a:gd name="T17" fmla="*/ 2147483647 h 67"/>
              <a:gd name="T18" fmla="*/ 2147483647 w 61"/>
              <a:gd name="T19" fmla="*/ 2147483647 h 67"/>
              <a:gd name="T20" fmla="*/ 2147483647 w 61"/>
              <a:gd name="T21" fmla="*/ 2147483647 h 67"/>
              <a:gd name="T22" fmla="*/ 2147483647 w 61"/>
              <a:gd name="T23" fmla="*/ 2147483647 h 67"/>
              <a:gd name="T24" fmla="*/ 2147483647 w 61"/>
              <a:gd name="T25" fmla="*/ 2147483647 h 67"/>
              <a:gd name="T26" fmla="*/ 2147483647 w 61"/>
              <a:gd name="T27" fmla="*/ 2147483647 h 67"/>
              <a:gd name="T28" fmla="*/ 2147483647 w 61"/>
              <a:gd name="T29" fmla="*/ 2147483647 h 67"/>
              <a:gd name="T30" fmla="*/ 2147483647 w 61"/>
              <a:gd name="T31" fmla="*/ 2147483647 h 67"/>
              <a:gd name="T32" fmla="*/ 2147483647 w 61"/>
              <a:gd name="T33" fmla="*/ 2147483647 h 67"/>
              <a:gd name="T34" fmla="*/ 2147483647 w 61"/>
              <a:gd name="T35" fmla="*/ 2147483647 h 67"/>
              <a:gd name="T36" fmla="*/ 2147483647 w 61"/>
              <a:gd name="T37" fmla="*/ 0 h 67"/>
              <a:gd name="T38" fmla="*/ 2147483647 w 61"/>
              <a:gd name="T39" fmla="*/ 2147483647 h 67"/>
              <a:gd name="T40" fmla="*/ 2147483647 w 61"/>
              <a:gd name="T41" fmla="*/ 2147483647 h 67"/>
              <a:gd name="T42" fmla="*/ 2147483647 w 61"/>
              <a:gd name="T43" fmla="*/ 2147483647 h 67"/>
              <a:gd name="T44" fmla="*/ 2147483647 w 61"/>
              <a:gd name="T45" fmla="*/ 2147483647 h 67"/>
              <a:gd name="T46" fmla="*/ 2147483647 w 61"/>
              <a:gd name="T47" fmla="*/ 2147483647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2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370253" y="2874590"/>
            <a:ext cx="25400" cy="58738"/>
          </a:xfrm>
          <a:custGeom>
            <a:avLst/>
            <a:gdLst>
              <a:gd name="T0" fmla="*/ 0 w 60"/>
              <a:gd name="T1" fmla="*/ 2147483647 h 55"/>
              <a:gd name="T2" fmla="*/ 0 w 60"/>
              <a:gd name="T3" fmla="*/ 2147483647 h 55"/>
              <a:gd name="T4" fmla="*/ 2147483647 w 60"/>
              <a:gd name="T5" fmla="*/ 2147483647 h 55"/>
              <a:gd name="T6" fmla="*/ 2147483647 w 60"/>
              <a:gd name="T7" fmla="*/ 2147483647 h 55"/>
              <a:gd name="T8" fmla="*/ 2147483647 w 60"/>
              <a:gd name="T9" fmla="*/ 2147483647 h 55"/>
              <a:gd name="T10" fmla="*/ 2147483647 w 60"/>
              <a:gd name="T11" fmla="*/ 2147483647 h 55"/>
              <a:gd name="T12" fmla="*/ 2147483647 w 60"/>
              <a:gd name="T13" fmla="*/ 2147483647 h 55"/>
              <a:gd name="T14" fmla="*/ 2147483647 w 60"/>
              <a:gd name="T15" fmla="*/ 2147483647 h 55"/>
              <a:gd name="T16" fmla="*/ 2147483647 w 60"/>
              <a:gd name="T17" fmla="*/ 2147483647 h 55"/>
              <a:gd name="T18" fmla="*/ 2147483647 w 60"/>
              <a:gd name="T19" fmla="*/ 2147483647 h 55"/>
              <a:gd name="T20" fmla="*/ 2147483647 w 60"/>
              <a:gd name="T21" fmla="*/ 2147483647 h 55"/>
              <a:gd name="T22" fmla="*/ 2147483647 w 60"/>
              <a:gd name="T23" fmla="*/ 2147483647 h 55"/>
              <a:gd name="T24" fmla="*/ 2147483647 w 60"/>
              <a:gd name="T25" fmla="*/ 2147483647 h 55"/>
              <a:gd name="T26" fmla="*/ 2147483647 w 60"/>
              <a:gd name="T27" fmla="*/ 2147483647 h 55"/>
              <a:gd name="T28" fmla="*/ 2147483647 w 60"/>
              <a:gd name="T29" fmla="*/ 2147483647 h 55"/>
              <a:gd name="T30" fmla="*/ 2147483647 w 60"/>
              <a:gd name="T31" fmla="*/ 2147483647 h 55"/>
              <a:gd name="T32" fmla="*/ 2147483647 w 60"/>
              <a:gd name="T33" fmla="*/ 2147483647 h 55"/>
              <a:gd name="T34" fmla="*/ 2147483647 w 60"/>
              <a:gd name="T35" fmla="*/ 0 h 55"/>
              <a:gd name="T36" fmla="*/ 2147483647 w 60"/>
              <a:gd name="T37" fmla="*/ 2147483647 h 55"/>
              <a:gd name="T38" fmla="*/ 2147483647 w 60"/>
              <a:gd name="T39" fmla="*/ 2147483647 h 55"/>
              <a:gd name="T40" fmla="*/ 2147483647 w 60"/>
              <a:gd name="T41" fmla="*/ 2147483647 h 55"/>
              <a:gd name="T42" fmla="*/ 0 w 60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3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340090" y="2820615"/>
            <a:ext cx="52388" cy="77788"/>
          </a:xfrm>
          <a:custGeom>
            <a:avLst/>
            <a:gdLst>
              <a:gd name="T0" fmla="*/ 2147483647 w 120"/>
              <a:gd name="T1" fmla="*/ 2147483647 h 148"/>
              <a:gd name="T2" fmla="*/ 2147483647 w 120"/>
              <a:gd name="T3" fmla="*/ 2147483647 h 148"/>
              <a:gd name="T4" fmla="*/ 2147483647 w 120"/>
              <a:gd name="T5" fmla="*/ 2147483647 h 148"/>
              <a:gd name="T6" fmla="*/ 2147483647 w 120"/>
              <a:gd name="T7" fmla="*/ 2147483647 h 148"/>
              <a:gd name="T8" fmla="*/ 2147483647 w 120"/>
              <a:gd name="T9" fmla="*/ 2147483647 h 148"/>
              <a:gd name="T10" fmla="*/ 2147483647 w 120"/>
              <a:gd name="T11" fmla="*/ 2147483647 h 148"/>
              <a:gd name="T12" fmla="*/ 2147483647 w 120"/>
              <a:gd name="T13" fmla="*/ 2147483647 h 148"/>
              <a:gd name="T14" fmla="*/ 2147483647 w 120"/>
              <a:gd name="T15" fmla="*/ 2147483647 h 148"/>
              <a:gd name="T16" fmla="*/ 2147483647 w 120"/>
              <a:gd name="T17" fmla="*/ 2147483647 h 148"/>
              <a:gd name="T18" fmla="*/ 2147483647 w 120"/>
              <a:gd name="T19" fmla="*/ 2147483647 h 148"/>
              <a:gd name="T20" fmla="*/ 2147483647 w 120"/>
              <a:gd name="T21" fmla="*/ 2147483647 h 148"/>
              <a:gd name="T22" fmla="*/ 2147483647 w 120"/>
              <a:gd name="T23" fmla="*/ 2147483647 h 148"/>
              <a:gd name="T24" fmla="*/ 2147483647 w 120"/>
              <a:gd name="T25" fmla="*/ 2147483647 h 148"/>
              <a:gd name="T26" fmla="*/ 2147483647 w 120"/>
              <a:gd name="T27" fmla="*/ 2147483647 h 148"/>
              <a:gd name="T28" fmla="*/ 2147483647 w 120"/>
              <a:gd name="T29" fmla="*/ 2147483647 h 148"/>
              <a:gd name="T30" fmla="*/ 2147483647 w 120"/>
              <a:gd name="T31" fmla="*/ 2147483647 h 148"/>
              <a:gd name="T32" fmla="*/ 2147483647 w 120"/>
              <a:gd name="T33" fmla="*/ 2147483647 h 148"/>
              <a:gd name="T34" fmla="*/ 2147483647 w 120"/>
              <a:gd name="T35" fmla="*/ 2147483647 h 148"/>
              <a:gd name="T36" fmla="*/ 0 w 120"/>
              <a:gd name="T37" fmla="*/ 2147483647 h 148"/>
              <a:gd name="T38" fmla="*/ 2147483647 w 120"/>
              <a:gd name="T39" fmla="*/ 2147483647 h 148"/>
              <a:gd name="T40" fmla="*/ 2147483647 w 120"/>
              <a:gd name="T41" fmla="*/ 2147483647 h 148"/>
              <a:gd name="T42" fmla="*/ 2147483647 w 120"/>
              <a:gd name="T43" fmla="*/ 2147483647 h 148"/>
              <a:gd name="T44" fmla="*/ 2147483647 w 120"/>
              <a:gd name="T45" fmla="*/ 2147483647 h 148"/>
              <a:gd name="T46" fmla="*/ 2147483647 w 120"/>
              <a:gd name="T47" fmla="*/ 2147483647 h 148"/>
              <a:gd name="T48" fmla="*/ 2147483647 w 120"/>
              <a:gd name="T49" fmla="*/ 2147483647 h 148"/>
              <a:gd name="T50" fmla="*/ 2147483647 w 120"/>
              <a:gd name="T51" fmla="*/ 2147483647 h 148"/>
              <a:gd name="T52" fmla="*/ 2147483647 w 120"/>
              <a:gd name="T53" fmla="*/ 2147483647 h 148"/>
              <a:gd name="T54" fmla="*/ 2147483647 w 120"/>
              <a:gd name="T55" fmla="*/ 2147483647 h 148"/>
              <a:gd name="T56" fmla="*/ 2147483647 w 120"/>
              <a:gd name="T57" fmla="*/ 0 h 148"/>
              <a:gd name="T58" fmla="*/ 2147483647 w 120"/>
              <a:gd name="T59" fmla="*/ 2147483647 h 148"/>
              <a:gd name="T60" fmla="*/ 2147483647 w 120"/>
              <a:gd name="T61" fmla="*/ 2147483647 h 148"/>
              <a:gd name="T62" fmla="*/ 2147483647 w 120"/>
              <a:gd name="T63" fmla="*/ 2147483647 h 148"/>
              <a:gd name="T64" fmla="*/ 2147483647 w 120"/>
              <a:gd name="T65" fmla="*/ 2147483647 h 148"/>
              <a:gd name="T66" fmla="*/ 2147483647 w 120"/>
              <a:gd name="T67" fmla="*/ 2147483647 h 148"/>
              <a:gd name="T68" fmla="*/ 2147483647 w 120"/>
              <a:gd name="T69" fmla="*/ 2147483647 h 148"/>
              <a:gd name="T70" fmla="*/ 2147483647 w 120"/>
              <a:gd name="T71" fmla="*/ 2147483647 h 148"/>
              <a:gd name="T72" fmla="*/ 2147483647 w 120"/>
              <a:gd name="T73" fmla="*/ 2147483647 h 148"/>
              <a:gd name="T74" fmla="*/ 2147483647 w 120"/>
              <a:gd name="T75" fmla="*/ 2147483647 h 148"/>
              <a:gd name="T76" fmla="*/ 2147483647 w 120"/>
              <a:gd name="T77" fmla="*/ 2147483647 h 148"/>
              <a:gd name="T78" fmla="*/ 2147483647 w 120"/>
              <a:gd name="T79" fmla="*/ 2147483647 h 148"/>
              <a:gd name="T80" fmla="*/ 2147483647 w 120"/>
              <a:gd name="T81" fmla="*/ 2147483647 h 148"/>
              <a:gd name="T82" fmla="*/ 2147483647 w 120"/>
              <a:gd name="T83" fmla="*/ 2147483647 h 148"/>
              <a:gd name="T84" fmla="*/ 2147483647 w 120"/>
              <a:gd name="T85" fmla="*/ 2147483647 h 148"/>
              <a:gd name="T86" fmla="*/ 2147483647 w 120"/>
              <a:gd name="T87" fmla="*/ 2147483647 h 148"/>
              <a:gd name="T88" fmla="*/ 2147483647 w 120"/>
              <a:gd name="T89" fmla="*/ 2147483647 h 148"/>
              <a:gd name="T90" fmla="*/ 2147483647 w 120"/>
              <a:gd name="T91" fmla="*/ 2147483647 h 148"/>
              <a:gd name="T92" fmla="*/ 2147483647 w 120"/>
              <a:gd name="T93" fmla="*/ 2147483647 h 148"/>
              <a:gd name="T94" fmla="*/ 2147483647 w 120"/>
              <a:gd name="T95" fmla="*/ 2147483647 h 148"/>
              <a:gd name="T96" fmla="*/ 2147483647 w 120"/>
              <a:gd name="T97" fmla="*/ 2147483647 h 148"/>
              <a:gd name="T98" fmla="*/ 2147483647 w 120"/>
              <a:gd name="T99" fmla="*/ 2147483647 h 148"/>
              <a:gd name="T100" fmla="*/ 2147483647 w 120"/>
              <a:gd name="T101" fmla="*/ 2147483647 h 148"/>
              <a:gd name="T102" fmla="*/ 2147483647 w 120"/>
              <a:gd name="T103" fmla="*/ 2147483647 h 148"/>
              <a:gd name="T104" fmla="*/ 2147483647 w 120"/>
              <a:gd name="T105" fmla="*/ 2147483647 h 148"/>
              <a:gd name="T106" fmla="*/ 2147483647 w 120"/>
              <a:gd name="T107" fmla="*/ 2147483647 h 148"/>
              <a:gd name="T108" fmla="*/ 2147483647 w 120"/>
              <a:gd name="T109" fmla="*/ 2147483647 h 148"/>
              <a:gd name="T110" fmla="*/ 2147483647 w 120"/>
              <a:gd name="T111" fmla="*/ 2147483647 h 148"/>
              <a:gd name="T112" fmla="*/ 2147483647 w 120"/>
              <a:gd name="T113" fmla="*/ 2147483647 h 148"/>
              <a:gd name="T114" fmla="*/ 2147483647 w 120"/>
              <a:gd name="T115" fmla="*/ 2147483647 h 148"/>
              <a:gd name="T116" fmla="*/ 2147483647 w 120"/>
              <a:gd name="T117" fmla="*/ 2147483647 h 148"/>
              <a:gd name="T118" fmla="*/ 2147483647 w 120"/>
              <a:gd name="T119" fmla="*/ 2147483647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344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771890" y="3625478"/>
            <a:ext cx="273050" cy="307975"/>
          </a:xfrm>
          <a:custGeom>
            <a:avLst/>
            <a:gdLst>
              <a:gd name="T0" fmla="*/ 2147483647 w 631"/>
              <a:gd name="T1" fmla="*/ 2147483647 h 592"/>
              <a:gd name="T2" fmla="*/ 2147483647 w 631"/>
              <a:gd name="T3" fmla="*/ 2147483647 h 592"/>
              <a:gd name="T4" fmla="*/ 2147483647 w 631"/>
              <a:gd name="T5" fmla="*/ 2147483647 h 592"/>
              <a:gd name="T6" fmla="*/ 2147483647 w 631"/>
              <a:gd name="T7" fmla="*/ 2147483647 h 592"/>
              <a:gd name="T8" fmla="*/ 2147483647 w 631"/>
              <a:gd name="T9" fmla="*/ 2147483647 h 592"/>
              <a:gd name="T10" fmla="*/ 2147483647 w 631"/>
              <a:gd name="T11" fmla="*/ 2147483647 h 592"/>
              <a:gd name="T12" fmla="*/ 2147483647 w 631"/>
              <a:gd name="T13" fmla="*/ 2147483647 h 592"/>
              <a:gd name="T14" fmla="*/ 2147483647 w 631"/>
              <a:gd name="T15" fmla="*/ 2147483647 h 592"/>
              <a:gd name="T16" fmla="*/ 2147483647 w 631"/>
              <a:gd name="T17" fmla="*/ 2147483647 h 592"/>
              <a:gd name="T18" fmla="*/ 2147483647 w 631"/>
              <a:gd name="T19" fmla="*/ 2147483647 h 592"/>
              <a:gd name="T20" fmla="*/ 2147483647 w 631"/>
              <a:gd name="T21" fmla="*/ 2147483647 h 592"/>
              <a:gd name="T22" fmla="*/ 2147483647 w 631"/>
              <a:gd name="T23" fmla="*/ 2147483647 h 592"/>
              <a:gd name="T24" fmla="*/ 2147483647 w 631"/>
              <a:gd name="T25" fmla="*/ 2147483647 h 592"/>
              <a:gd name="T26" fmla="*/ 2147483647 w 631"/>
              <a:gd name="T27" fmla="*/ 2147483647 h 592"/>
              <a:gd name="T28" fmla="*/ 2147483647 w 631"/>
              <a:gd name="T29" fmla="*/ 2147483647 h 592"/>
              <a:gd name="T30" fmla="*/ 2147483647 w 631"/>
              <a:gd name="T31" fmla="*/ 2147483647 h 592"/>
              <a:gd name="T32" fmla="*/ 2147483647 w 631"/>
              <a:gd name="T33" fmla="*/ 2147483647 h 592"/>
              <a:gd name="T34" fmla="*/ 2147483647 w 631"/>
              <a:gd name="T35" fmla="*/ 2147483647 h 592"/>
              <a:gd name="T36" fmla="*/ 2147483647 w 631"/>
              <a:gd name="T37" fmla="*/ 2147483647 h 592"/>
              <a:gd name="T38" fmla="*/ 2147483647 w 631"/>
              <a:gd name="T39" fmla="*/ 2147483647 h 592"/>
              <a:gd name="T40" fmla="*/ 2147483647 w 631"/>
              <a:gd name="T41" fmla="*/ 2147483647 h 592"/>
              <a:gd name="T42" fmla="*/ 2147483647 w 631"/>
              <a:gd name="T43" fmla="*/ 2147483647 h 592"/>
              <a:gd name="T44" fmla="*/ 2147483647 w 631"/>
              <a:gd name="T45" fmla="*/ 2147483647 h 592"/>
              <a:gd name="T46" fmla="*/ 2147483647 w 631"/>
              <a:gd name="T47" fmla="*/ 2147483647 h 592"/>
              <a:gd name="T48" fmla="*/ 2147483647 w 631"/>
              <a:gd name="T49" fmla="*/ 2147483647 h 592"/>
              <a:gd name="T50" fmla="*/ 2147483647 w 631"/>
              <a:gd name="T51" fmla="*/ 2147483647 h 592"/>
              <a:gd name="T52" fmla="*/ 2147483647 w 631"/>
              <a:gd name="T53" fmla="*/ 2147483647 h 592"/>
              <a:gd name="T54" fmla="*/ 2147483647 w 631"/>
              <a:gd name="T55" fmla="*/ 2147483647 h 592"/>
              <a:gd name="T56" fmla="*/ 2147483647 w 631"/>
              <a:gd name="T57" fmla="*/ 2147483647 h 592"/>
              <a:gd name="T58" fmla="*/ 2147483647 w 631"/>
              <a:gd name="T59" fmla="*/ 2147483647 h 592"/>
              <a:gd name="T60" fmla="*/ 2147483647 w 631"/>
              <a:gd name="T61" fmla="*/ 2147483647 h 592"/>
              <a:gd name="T62" fmla="*/ 2147483647 w 631"/>
              <a:gd name="T63" fmla="*/ 2147483647 h 592"/>
              <a:gd name="T64" fmla="*/ 2147483647 w 631"/>
              <a:gd name="T65" fmla="*/ 2147483647 h 592"/>
              <a:gd name="T66" fmla="*/ 2147483647 w 631"/>
              <a:gd name="T67" fmla="*/ 2147483647 h 592"/>
              <a:gd name="T68" fmla="*/ 2147483647 w 631"/>
              <a:gd name="T69" fmla="*/ 2147483647 h 592"/>
              <a:gd name="T70" fmla="*/ 2147483647 w 631"/>
              <a:gd name="T71" fmla="*/ 2147483647 h 592"/>
              <a:gd name="T72" fmla="*/ 2147483647 w 631"/>
              <a:gd name="T73" fmla="*/ 2147483647 h 592"/>
              <a:gd name="T74" fmla="*/ 2147483647 w 631"/>
              <a:gd name="T75" fmla="*/ 2147483647 h 592"/>
              <a:gd name="T76" fmla="*/ 2147483647 w 631"/>
              <a:gd name="T77" fmla="*/ 2147483647 h 592"/>
              <a:gd name="T78" fmla="*/ 2147483647 w 631"/>
              <a:gd name="T79" fmla="*/ 2147483647 h 592"/>
              <a:gd name="T80" fmla="*/ 2147483647 w 631"/>
              <a:gd name="T81" fmla="*/ 2147483647 h 592"/>
              <a:gd name="T82" fmla="*/ 2147483647 w 631"/>
              <a:gd name="T83" fmla="*/ 2147483647 h 592"/>
              <a:gd name="T84" fmla="*/ 2147483647 w 631"/>
              <a:gd name="T85" fmla="*/ 2147483647 h 592"/>
              <a:gd name="T86" fmla="*/ 2147483647 w 631"/>
              <a:gd name="T87" fmla="*/ 2147483647 h 592"/>
              <a:gd name="T88" fmla="*/ 2147483647 w 631"/>
              <a:gd name="T89" fmla="*/ 2147483647 h 592"/>
              <a:gd name="T90" fmla="*/ 2147483647 w 631"/>
              <a:gd name="T91" fmla="*/ 2147483647 h 592"/>
              <a:gd name="T92" fmla="*/ 0 w 631"/>
              <a:gd name="T93" fmla="*/ 2147483647 h 592"/>
              <a:gd name="T94" fmla="*/ 2147483647 w 631"/>
              <a:gd name="T95" fmla="*/ 2147483647 h 592"/>
              <a:gd name="T96" fmla="*/ 2147483647 w 631"/>
              <a:gd name="T97" fmla="*/ 2147483647 h 592"/>
              <a:gd name="T98" fmla="*/ 2147483647 w 631"/>
              <a:gd name="T99" fmla="*/ 2147483647 h 592"/>
              <a:gd name="T100" fmla="*/ 2147483647 w 631"/>
              <a:gd name="T101" fmla="*/ 2147483647 h 592"/>
              <a:gd name="T102" fmla="*/ 2147483647 w 631"/>
              <a:gd name="T103" fmla="*/ 2147483647 h 592"/>
              <a:gd name="T104" fmla="*/ 2147483647 w 631"/>
              <a:gd name="T105" fmla="*/ 2147483647 h 592"/>
              <a:gd name="T106" fmla="*/ 2147483647 w 631"/>
              <a:gd name="T107" fmla="*/ 2147483647 h 592"/>
              <a:gd name="T108" fmla="*/ 2147483647 w 631"/>
              <a:gd name="T109" fmla="*/ 2147483647 h 592"/>
              <a:gd name="T110" fmla="*/ 2147483647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5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367078" y="3260353"/>
            <a:ext cx="17462" cy="57150"/>
          </a:xfrm>
          <a:custGeom>
            <a:avLst/>
            <a:gdLst>
              <a:gd name="T0" fmla="*/ 2147483647 w 40"/>
              <a:gd name="T1" fmla="*/ 2147483647 h 93"/>
              <a:gd name="T2" fmla="*/ 2147483647 w 40"/>
              <a:gd name="T3" fmla="*/ 2147483647 h 93"/>
              <a:gd name="T4" fmla="*/ 2147483647 w 40"/>
              <a:gd name="T5" fmla="*/ 2147483647 h 93"/>
              <a:gd name="T6" fmla="*/ 2147483647 w 40"/>
              <a:gd name="T7" fmla="*/ 2147483647 h 93"/>
              <a:gd name="T8" fmla="*/ 2147483647 w 40"/>
              <a:gd name="T9" fmla="*/ 2147483647 h 93"/>
              <a:gd name="T10" fmla="*/ 2147483647 w 40"/>
              <a:gd name="T11" fmla="*/ 2147483647 h 93"/>
              <a:gd name="T12" fmla="*/ 2147483647 w 40"/>
              <a:gd name="T13" fmla="*/ 0 h 93"/>
              <a:gd name="T14" fmla="*/ 2147483647 w 40"/>
              <a:gd name="T15" fmla="*/ 2147483647 h 93"/>
              <a:gd name="T16" fmla="*/ 2147483647 w 40"/>
              <a:gd name="T17" fmla="*/ 2147483647 h 93"/>
              <a:gd name="T18" fmla="*/ 2147483647 w 40"/>
              <a:gd name="T19" fmla="*/ 2147483647 h 93"/>
              <a:gd name="T20" fmla="*/ 2147483647 w 40"/>
              <a:gd name="T21" fmla="*/ 2147483647 h 93"/>
              <a:gd name="T22" fmla="*/ 2147483647 w 40"/>
              <a:gd name="T23" fmla="*/ 2147483647 h 93"/>
              <a:gd name="T24" fmla="*/ 2147483647 w 40"/>
              <a:gd name="T25" fmla="*/ 2147483647 h 93"/>
              <a:gd name="T26" fmla="*/ 2147483647 w 40"/>
              <a:gd name="T27" fmla="*/ 2147483647 h 93"/>
              <a:gd name="T28" fmla="*/ 2147483647 w 40"/>
              <a:gd name="T29" fmla="*/ 2147483647 h 93"/>
              <a:gd name="T30" fmla="*/ 2147483647 w 40"/>
              <a:gd name="T31" fmla="*/ 2147483647 h 93"/>
              <a:gd name="T32" fmla="*/ 2147483647 w 40"/>
              <a:gd name="T33" fmla="*/ 2147483647 h 93"/>
              <a:gd name="T34" fmla="*/ 2147483647 w 40"/>
              <a:gd name="T35" fmla="*/ 2147483647 h 93"/>
              <a:gd name="T36" fmla="*/ 2147483647 w 40"/>
              <a:gd name="T37" fmla="*/ 2147483647 h 93"/>
              <a:gd name="T38" fmla="*/ 2147483647 w 40"/>
              <a:gd name="T39" fmla="*/ 2147483647 h 93"/>
              <a:gd name="T40" fmla="*/ 2147483647 w 40"/>
              <a:gd name="T41" fmla="*/ 2147483647 h 93"/>
              <a:gd name="T42" fmla="*/ 2147483647 w 40"/>
              <a:gd name="T43" fmla="*/ 2147483647 h 93"/>
              <a:gd name="T44" fmla="*/ 0 w 40"/>
              <a:gd name="T45" fmla="*/ 2147483647 h 93"/>
              <a:gd name="T46" fmla="*/ 2147483647 w 40"/>
              <a:gd name="T47" fmla="*/ 2147483647 h 93"/>
              <a:gd name="T48" fmla="*/ 2147483647 w 40"/>
              <a:gd name="T49" fmla="*/ 2147483647 h 93"/>
              <a:gd name="T50" fmla="*/ 2147483647 w 40"/>
              <a:gd name="T51" fmla="*/ 2147483647 h 93"/>
              <a:gd name="T52" fmla="*/ 2147483647 w 40"/>
              <a:gd name="T53" fmla="*/ 2147483647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6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006715" y="3011115"/>
            <a:ext cx="295275" cy="273050"/>
          </a:xfrm>
          <a:custGeom>
            <a:avLst/>
            <a:gdLst>
              <a:gd name="T0" fmla="*/ 2147483647 w 664"/>
              <a:gd name="T1" fmla="*/ 2147483647 h 518"/>
              <a:gd name="T2" fmla="*/ 2147483647 w 664"/>
              <a:gd name="T3" fmla="*/ 2147483647 h 518"/>
              <a:gd name="T4" fmla="*/ 2147483647 w 664"/>
              <a:gd name="T5" fmla="*/ 2147483647 h 518"/>
              <a:gd name="T6" fmla="*/ 2147483647 w 664"/>
              <a:gd name="T7" fmla="*/ 2147483647 h 518"/>
              <a:gd name="T8" fmla="*/ 2147483647 w 664"/>
              <a:gd name="T9" fmla="*/ 2147483647 h 518"/>
              <a:gd name="T10" fmla="*/ 2147483647 w 664"/>
              <a:gd name="T11" fmla="*/ 2147483647 h 518"/>
              <a:gd name="T12" fmla="*/ 2147483647 w 664"/>
              <a:gd name="T13" fmla="*/ 2147483647 h 518"/>
              <a:gd name="T14" fmla="*/ 2147483647 w 664"/>
              <a:gd name="T15" fmla="*/ 2147483647 h 518"/>
              <a:gd name="T16" fmla="*/ 2147483647 w 664"/>
              <a:gd name="T17" fmla="*/ 2147483647 h 518"/>
              <a:gd name="T18" fmla="*/ 2147483647 w 664"/>
              <a:gd name="T19" fmla="*/ 2147483647 h 518"/>
              <a:gd name="T20" fmla="*/ 2147483647 w 664"/>
              <a:gd name="T21" fmla="*/ 2147483647 h 518"/>
              <a:gd name="T22" fmla="*/ 2147483647 w 664"/>
              <a:gd name="T23" fmla="*/ 2147483647 h 518"/>
              <a:gd name="T24" fmla="*/ 2147483647 w 664"/>
              <a:gd name="T25" fmla="*/ 2147483647 h 518"/>
              <a:gd name="T26" fmla="*/ 2147483647 w 664"/>
              <a:gd name="T27" fmla="*/ 2147483647 h 518"/>
              <a:gd name="T28" fmla="*/ 2147483647 w 664"/>
              <a:gd name="T29" fmla="*/ 2147483647 h 518"/>
              <a:gd name="T30" fmla="*/ 2147483647 w 664"/>
              <a:gd name="T31" fmla="*/ 2147483647 h 518"/>
              <a:gd name="T32" fmla="*/ 2147483647 w 664"/>
              <a:gd name="T33" fmla="*/ 2147483647 h 518"/>
              <a:gd name="T34" fmla="*/ 2147483647 w 664"/>
              <a:gd name="T35" fmla="*/ 2147483647 h 518"/>
              <a:gd name="T36" fmla="*/ 2147483647 w 664"/>
              <a:gd name="T37" fmla="*/ 2147483647 h 518"/>
              <a:gd name="T38" fmla="*/ 2147483647 w 664"/>
              <a:gd name="T39" fmla="*/ 2147483647 h 518"/>
              <a:gd name="T40" fmla="*/ 2147483647 w 664"/>
              <a:gd name="T41" fmla="*/ 2147483647 h 518"/>
              <a:gd name="T42" fmla="*/ 2147483647 w 664"/>
              <a:gd name="T43" fmla="*/ 2147483647 h 518"/>
              <a:gd name="T44" fmla="*/ 2147483647 w 664"/>
              <a:gd name="T45" fmla="*/ 2147483647 h 518"/>
              <a:gd name="T46" fmla="*/ 2147483647 w 664"/>
              <a:gd name="T47" fmla="*/ 2147483647 h 518"/>
              <a:gd name="T48" fmla="*/ 2147483647 w 664"/>
              <a:gd name="T49" fmla="*/ 2147483647 h 518"/>
              <a:gd name="T50" fmla="*/ 2147483647 w 664"/>
              <a:gd name="T51" fmla="*/ 2147483647 h 518"/>
              <a:gd name="T52" fmla="*/ 2147483647 w 664"/>
              <a:gd name="T53" fmla="*/ 2147483647 h 518"/>
              <a:gd name="T54" fmla="*/ 2147483647 w 664"/>
              <a:gd name="T55" fmla="*/ 2147483647 h 518"/>
              <a:gd name="T56" fmla="*/ 2147483647 w 664"/>
              <a:gd name="T57" fmla="*/ 2147483647 h 518"/>
              <a:gd name="T58" fmla="*/ 2147483647 w 664"/>
              <a:gd name="T59" fmla="*/ 2147483647 h 518"/>
              <a:gd name="T60" fmla="*/ 2147483647 w 664"/>
              <a:gd name="T61" fmla="*/ 2147483647 h 518"/>
              <a:gd name="T62" fmla="*/ 2147483647 w 664"/>
              <a:gd name="T63" fmla="*/ 2147483647 h 518"/>
              <a:gd name="T64" fmla="*/ 2147483647 w 664"/>
              <a:gd name="T65" fmla="*/ 2147483647 h 518"/>
              <a:gd name="T66" fmla="*/ 2147483647 w 664"/>
              <a:gd name="T67" fmla="*/ 2147483647 h 518"/>
              <a:gd name="T68" fmla="*/ 2147483647 w 664"/>
              <a:gd name="T69" fmla="*/ 2147483647 h 518"/>
              <a:gd name="T70" fmla="*/ 2147483647 w 664"/>
              <a:gd name="T71" fmla="*/ 2147483647 h 518"/>
              <a:gd name="T72" fmla="*/ 2147483647 w 664"/>
              <a:gd name="T73" fmla="*/ 2147483647 h 518"/>
              <a:gd name="T74" fmla="*/ 2147483647 w 664"/>
              <a:gd name="T75" fmla="*/ 2147483647 h 518"/>
              <a:gd name="T76" fmla="*/ 2147483647 w 664"/>
              <a:gd name="T77" fmla="*/ 2147483647 h 518"/>
              <a:gd name="T78" fmla="*/ 2147483647 w 664"/>
              <a:gd name="T79" fmla="*/ 2147483647 h 518"/>
              <a:gd name="T80" fmla="*/ 2147483647 w 664"/>
              <a:gd name="T81" fmla="*/ 2147483647 h 518"/>
              <a:gd name="T82" fmla="*/ 2147483647 w 664"/>
              <a:gd name="T83" fmla="*/ 2147483647 h 518"/>
              <a:gd name="T84" fmla="*/ 2147483647 w 664"/>
              <a:gd name="T85" fmla="*/ 2147483647 h 518"/>
              <a:gd name="T86" fmla="*/ 2147483647 w 664"/>
              <a:gd name="T87" fmla="*/ 2147483647 h 518"/>
              <a:gd name="T88" fmla="*/ 2147483647 w 664"/>
              <a:gd name="T89" fmla="*/ 2147483647 h 518"/>
              <a:gd name="T90" fmla="*/ 2147483647 w 664"/>
              <a:gd name="T91" fmla="*/ 2147483647 h 518"/>
              <a:gd name="T92" fmla="*/ 2147483647 w 664"/>
              <a:gd name="T93" fmla="*/ 2147483647 h 518"/>
              <a:gd name="T94" fmla="*/ 2147483647 w 664"/>
              <a:gd name="T95" fmla="*/ 2147483647 h 518"/>
              <a:gd name="T96" fmla="*/ 2147483647 w 664"/>
              <a:gd name="T97" fmla="*/ 2147483647 h 518"/>
              <a:gd name="T98" fmla="*/ 2147483647 w 664"/>
              <a:gd name="T99" fmla="*/ 2147483647 h 518"/>
              <a:gd name="T100" fmla="*/ 2147483647 w 664"/>
              <a:gd name="T101" fmla="*/ 2147483647 h 518"/>
              <a:gd name="T102" fmla="*/ 2147483647 w 664"/>
              <a:gd name="T103" fmla="*/ 2147483647 h 518"/>
              <a:gd name="T104" fmla="*/ 2147483647 w 664"/>
              <a:gd name="T105" fmla="*/ 2147483647 h 518"/>
              <a:gd name="T106" fmla="*/ 2147483647 w 664"/>
              <a:gd name="T107" fmla="*/ 2147483647 h 518"/>
              <a:gd name="T108" fmla="*/ 2147483647 w 664"/>
              <a:gd name="T109" fmla="*/ 2147483647 h 518"/>
              <a:gd name="T110" fmla="*/ 2147483647 w 664"/>
              <a:gd name="T111" fmla="*/ 2147483647 h 518"/>
              <a:gd name="T112" fmla="*/ 2147483647 w 664"/>
              <a:gd name="T113" fmla="*/ 2147483647 h 518"/>
              <a:gd name="T114" fmla="*/ 2147483647 w 664"/>
              <a:gd name="T115" fmla="*/ 2147483647 h 518"/>
              <a:gd name="T116" fmla="*/ 2147483647 w 664"/>
              <a:gd name="T117" fmla="*/ 2147483647 h 518"/>
              <a:gd name="T118" fmla="*/ 2147483647 w 664"/>
              <a:gd name="T119" fmla="*/ 2147483647 h 518"/>
              <a:gd name="T120" fmla="*/ 2147483647 w 664"/>
              <a:gd name="T121" fmla="*/ 2147483647 h 518"/>
              <a:gd name="T122" fmla="*/ 2147483647 w 664"/>
              <a:gd name="T123" fmla="*/ 2147483647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7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5087803" y="3246065"/>
            <a:ext cx="150812" cy="82550"/>
          </a:xfrm>
          <a:custGeom>
            <a:avLst/>
            <a:gdLst>
              <a:gd name="T0" fmla="*/ 2147483647 w 352"/>
              <a:gd name="T1" fmla="*/ 2147483647 h 153"/>
              <a:gd name="T2" fmla="*/ 2147483647 w 352"/>
              <a:gd name="T3" fmla="*/ 2147483647 h 153"/>
              <a:gd name="T4" fmla="*/ 2147483647 w 352"/>
              <a:gd name="T5" fmla="*/ 2147483647 h 153"/>
              <a:gd name="T6" fmla="*/ 2147483647 w 352"/>
              <a:gd name="T7" fmla="*/ 2147483647 h 153"/>
              <a:gd name="T8" fmla="*/ 2147483647 w 352"/>
              <a:gd name="T9" fmla="*/ 2147483647 h 153"/>
              <a:gd name="T10" fmla="*/ 2147483647 w 352"/>
              <a:gd name="T11" fmla="*/ 2147483647 h 153"/>
              <a:gd name="T12" fmla="*/ 2147483647 w 352"/>
              <a:gd name="T13" fmla="*/ 2147483647 h 153"/>
              <a:gd name="T14" fmla="*/ 2147483647 w 352"/>
              <a:gd name="T15" fmla="*/ 2147483647 h 153"/>
              <a:gd name="T16" fmla="*/ 2147483647 w 352"/>
              <a:gd name="T17" fmla="*/ 2147483647 h 153"/>
              <a:gd name="T18" fmla="*/ 2147483647 w 352"/>
              <a:gd name="T19" fmla="*/ 2147483647 h 153"/>
              <a:gd name="T20" fmla="*/ 2147483647 w 352"/>
              <a:gd name="T21" fmla="*/ 2147483647 h 153"/>
              <a:gd name="T22" fmla="*/ 2147483647 w 352"/>
              <a:gd name="T23" fmla="*/ 2147483647 h 153"/>
              <a:gd name="T24" fmla="*/ 2147483647 w 352"/>
              <a:gd name="T25" fmla="*/ 2147483647 h 153"/>
              <a:gd name="T26" fmla="*/ 2147483647 w 352"/>
              <a:gd name="T27" fmla="*/ 2147483647 h 153"/>
              <a:gd name="T28" fmla="*/ 2147483647 w 352"/>
              <a:gd name="T29" fmla="*/ 2147483647 h 153"/>
              <a:gd name="T30" fmla="*/ 2147483647 w 352"/>
              <a:gd name="T31" fmla="*/ 2147483647 h 153"/>
              <a:gd name="T32" fmla="*/ 2147483647 w 352"/>
              <a:gd name="T33" fmla="*/ 2147483647 h 153"/>
              <a:gd name="T34" fmla="*/ 2147483647 w 352"/>
              <a:gd name="T35" fmla="*/ 2147483647 h 153"/>
              <a:gd name="T36" fmla="*/ 2147483647 w 352"/>
              <a:gd name="T37" fmla="*/ 2147483647 h 153"/>
              <a:gd name="T38" fmla="*/ 2147483647 w 352"/>
              <a:gd name="T39" fmla="*/ 2147483647 h 153"/>
              <a:gd name="T40" fmla="*/ 2147483647 w 352"/>
              <a:gd name="T41" fmla="*/ 2147483647 h 153"/>
              <a:gd name="T42" fmla="*/ 2147483647 w 352"/>
              <a:gd name="T43" fmla="*/ 2147483647 h 153"/>
              <a:gd name="T44" fmla="*/ 2147483647 w 352"/>
              <a:gd name="T45" fmla="*/ 2147483647 h 153"/>
              <a:gd name="T46" fmla="*/ 2147483647 w 352"/>
              <a:gd name="T47" fmla="*/ 2147483647 h 153"/>
              <a:gd name="T48" fmla="*/ 2147483647 w 352"/>
              <a:gd name="T49" fmla="*/ 2147483647 h 153"/>
              <a:gd name="T50" fmla="*/ 2147483647 w 352"/>
              <a:gd name="T51" fmla="*/ 2147483647 h 153"/>
              <a:gd name="T52" fmla="*/ 2147483647 w 352"/>
              <a:gd name="T53" fmla="*/ 2147483647 h 153"/>
              <a:gd name="T54" fmla="*/ 0 w 352"/>
              <a:gd name="T55" fmla="*/ 0 h 153"/>
              <a:gd name="T56" fmla="*/ 2147483647 w 352"/>
              <a:gd name="T57" fmla="*/ 0 h 153"/>
              <a:gd name="T58" fmla="*/ 2147483647 w 352"/>
              <a:gd name="T59" fmla="*/ 2147483647 h 153"/>
              <a:gd name="T60" fmla="*/ 2147483647 w 352"/>
              <a:gd name="T61" fmla="*/ 2147483647 h 153"/>
              <a:gd name="T62" fmla="*/ 2147483647 w 352"/>
              <a:gd name="T63" fmla="*/ 2147483647 h 153"/>
              <a:gd name="T64" fmla="*/ 2147483647 w 352"/>
              <a:gd name="T65" fmla="*/ 2147483647 h 153"/>
              <a:gd name="T66" fmla="*/ 2147483647 w 352"/>
              <a:gd name="T67" fmla="*/ 2147483647 h 153"/>
              <a:gd name="T68" fmla="*/ 2147483647 w 352"/>
              <a:gd name="T69" fmla="*/ 2147483647 h 153"/>
              <a:gd name="T70" fmla="*/ 2147483647 w 352"/>
              <a:gd name="T71" fmla="*/ 2147483647 h 153"/>
              <a:gd name="T72" fmla="*/ 2147483647 w 352"/>
              <a:gd name="T73" fmla="*/ 2147483647 h 153"/>
              <a:gd name="T74" fmla="*/ 2147483647 w 352"/>
              <a:gd name="T75" fmla="*/ 214748364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8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636953" y="3306390"/>
            <a:ext cx="147637" cy="173038"/>
          </a:xfrm>
          <a:custGeom>
            <a:avLst/>
            <a:gdLst>
              <a:gd name="T0" fmla="*/ 2147483647 w 331"/>
              <a:gd name="T1" fmla="*/ 2147483647 h 327"/>
              <a:gd name="T2" fmla="*/ 2147483647 w 331"/>
              <a:gd name="T3" fmla="*/ 2147483647 h 327"/>
              <a:gd name="T4" fmla="*/ 2147483647 w 331"/>
              <a:gd name="T5" fmla="*/ 2147483647 h 327"/>
              <a:gd name="T6" fmla="*/ 2147483647 w 331"/>
              <a:gd name="T7" fmla="*/ 2147483647 h 327"/>
              <a:gd name="T8" fmla="*/ 2147483647 w 331"/>
              <a:gd name="T9" fmla="*/ 2147483647 h 327"/>
              <a:gd name="T10" fmla="*/ 2147483647 w 331"/>
              <a:gd name="T11" fmla="*/ 2147483647 h 327"/>
              <a:gd name="T12" fmla="*/ 2147483647 w 331"/>
              <a:gd name="T13" fmla="*/ 2147483647 h 327"/>
              <a:gd name="T14" fmla="*/ 2147483647 w 331"/>
              <a:gd name="T15" fmla="*/ 2147483647 h 327"/>
              <a:gd name="T16" fmla="*/ 2147483647 w 331"/>
              <a:gd name="T17" fmla="*/ 2147483647 h 327"/>
              <a:gd name="T18" fmla="*/ 2147483647 w 331"/>
              <a:gd name="T19" fmla="*/ 2147483647 h 327"/>
              <a:gd name="T20" fmla="*/ 2147483647 w 331"/>
              <a:gd name="T21" fmla="*/ 2147483647 h 327"/>
              <a:gd name="T22" fmla="*/ 2147483647 w 331"/>
              <a:gd name="T23" fmla="*/ 2147483647 h 327"/>
              <a:gd name="T24" fmla="*/ 2147483647 w 331"/>
              <a:gd name="T25" fmla="*/ 2147483647 h 327"/>
              <a:gd name="T26" fmla="*/ 2147483647 w 331"/>
              <a:gd name="T27" fmla="*/ 2147483647 h 327"/>
              <a:gd name="T28" fmla="*/ 2147483647 w 331"/>
              <a:gd name="T29" fmla="*/ 2147483647 h 327"/>
              <a:gd name="T30" fmla="*/ 2147483647 w 331"/>
              <a:gd name="T31" fmla="*/ 2147483647 h 327"/>
              <a:gd name="T32" fmla="*/ 2147483647 w 331"/>
              <a:gd name="T33" fmla="*/ 2147483647 h 327"/>
              <a:gd name="T34" fmla="*/ 2147483647 w 331"/>
              <a:gd name="T35" fmla="*/ 2147483647 h 327"/>
              <a:gd name="T36" fmla="*/ 2147483647 w 331"/>
              <a:gd name="T37" fmla="*/ 2147483647 h 327"/>
              <a:gd name="T38" fmla="*/ 2147483647 w 331"/>
              <a:gd name="T39" fmla="*/ 2147483647 h 327"/>
              <a:gd name="T40" fmla="*/ 2147483647 w 331"/>
              <a:gd name="T41" fmla="*/ 2147483647 h 327"/>
              <a:gd name="T42" fmla="*/ 2147483647 w 331"/>
              <a:gd name="T43" fmla="*/ 2147483647 h 327"/>
              <a:gd name="T44" fmla="*/ 2147483647 w 331"/>
              <a:gd name="T45" fmla="*/ 2147483647 h 327"/>
              <a:gd name="T46" fmla="*/ 2147483647 w 331"/>
              <a:gd name="T47" fmla="*/ 2147483647 h 327"/>
              <a:gd name="T48" fmla="*/ 2147483647 w 331"/>
              <a:gd name="T49" fmla="*/ 2147483647 h 327"/>
              <a:gd name="T50" fmla="*/ 2147483647 w 331"/>
              <a:gd name="T51" fmla="*/ 2147483647 h 327"/>
              <a:gd name="T52" fmla="*/ 2147483647 w 331"/>
              <a:gd name="T53" fmla="*/ 2147483647 h 327"/>
              <a:gd name="T54" fmla="*/ 2147483647 w 331"/>
              <a:gd name="T55" fmla="*/ 2147483647 h 327"/>
              <a:gd name="T56" fmla="*/ 2147483647 w 331"/>
              <a:gd name="T57" fmla="*/ 2147483647 h 327"/>
              <a:gd name="T58" fmla="*/ 2147483647 w 331"/>
              <a:gd name="T59" fmla="*/ 2147483647 h 327"/>
              <a:gd name="T60" fmla="*/ 2147483647 w 331"/>
              <a:gd name="T61" fmla="*/ 2147483647 h 327"/>
              <a:gd name="T62" fmla="*/ 2147483647 w 331"/>
              <a:gd name="T63" fmla="*/ 2147483647 h 327"/>
              <a:gd name="T64" fmla="*/ 2147483647 w 331"/>
              <a:gd name="T65" fmla="*/ 2147483647 h 327"/>
              <a:gd name="T66" fmla="*/ 2147483647 w 331"/>
              <a:gd name="T67" fmla="*/ 2147483647 h 327"/>
              <a:gd name="T68" fmla="*/ 2147483647 w 331"/>
              <a:gd name="T69" fmla="*/ 2147483647 h 327"/>
              <a:gd name="T70" fmla="*/ 0 w 331"/>
              <a:gd name="T71" fmla="*/ 2147483647 h 327"/>
              <a:gd name="T72" fmla="*/ 2147483647 w 331"/>
              <a:gd name="T73" fmla="*/ 2147483647 h 327"/>
              <a:gd name="T74" fmla="*/ 2147483647 w 331"/>
              <a:gd name="T75" fmla="*/ 2147483647 h 327"/>
              <a:gd name="T76" fmla="*/ 2147483647 w 331"/>
              <a:gd name="T77" fmla="*/ 2147483647 h 327"/>
              <a:gd name="T78" fmla="*/ 2147483647 w 331"/>
              <a:gd name="T79" fmla="*/ 2147483647 h 327"/>
              <a:gd name="T80" fmla="*/ 2147483647 w 331"/>
              <a:gd name="T81" fmla="*/ 2147483647 h 327"/>
              <a:gd name="T82" fmla="*/ 2147483647 w 331"/>
              <a:gd name="T83" fmla="*/ 2147483647 h 327"/>
              <a:gd name="T84" fmla="*/ 2147483647 w 331"/>
              <a:gd name="T85" fmla="*/ 2147483647 h 327"/>
              <a:gd name="T86" fmla="*/ 2147483647 w 331"/>
              <a:gd name="T87" fmla="*/ 2147483647 h 327"/>
              <a:gd name="T88" fmla="*/ 2147483647 w 331"/>
              <a:gd name="T89" fmla="*/ 2147483647 h 327"/>
              <a:gd name="T90" fmla="*/ 2147483647 w 331"/>
              <a:gd name="T91" fmla="*/ 2147483647 h 327"/>
              <a:gd name="T92" fmla="*/ 2147483647 w 331"/>
              <a:gd name="T93" fmla="*/ 2147483647 h 327"/>
              <a:gd name="T94" fmla="*/ 2147483647 w 331"/>
              <a:gd name="T95" fmla="*/ 2147483647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9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721090" y="3498478"/>
            <a:ext cx="69850" cy="57150"/>
          </a:xfrm>
          <a:custGeom>
            <a:avLst/>
            <a:gdLst>
              <a:gd name="T0" fmla="*/ 0 w 153"/>
              <a:gd name="T1" fmla="*/ 0 h 49"/>
              <a:gd name="T2" fmla="*/ 2147483647 w 153"/>
              <a:gd name="T3" fmla="*/ 2147483647 h 49"/>
              <a:gd name="T4" fmla="*/ 2147483647 w 153"/>
              <a:gd name="T5" fmla="*/ 2147483647 h 49"/>
              <a:gd name="T6" fmla="*/ 2147483647 w 153"/>
              <a:gd name="T7" fmla="*/ 2147483647 h 49"/>
              <a:gd name="T8" fmla="*/ 2147483647 w 153"/>
              <a:gd name="T9" fmla="*/ 2147483647 h 49"/>
              <a:gd name="T10" fmla="*/ 2147483647 w 153"/>
              <a:gd name="T11" fmla="*/ 2147483647 h 49"/>
              <a:gd name="T12" fmla="*/ 2147483647 w 153"/>
              <a:gd name="T13" fmla="*/ 2147483647 h 49"/>
              <a:gd name="T14" fmla="*/ 2147483647 w 153"/>
              <a:gd name="T15" fmla="*/ 2147483647 h 49"/>
              <a:gd name="T16" fmla="*/ 2147483647 w 153"/>
              <a:gd name="T17" fmla="*/ 0 h 49"/>
              <a:gd name="T18" fmla="*/ 2147483647 w 153"/>
              <a:gd name="T19" fmla="*/ 2147483647 h 49"/>
              <a:gd name="T20" fmla="*/ 2147483647 w 153"/>
              <a:gd name="T21" fmla="*/ 2147483647 h 49"/>
              <a:gd name="T22" fmla="*/ 2147483647 w 153"/>
              <a:gd name="T23" fmla="*/ 2147483647 h 49"/>
              <a:gd name="T24" fmla="*/ 2147483647 w 153"/>
              <a:gd name="T25" fmla="*/ 2147483647 h 49"/>
              <a:gd name="T26" fmla="*/ 2147483647 w 153"/>
              <a:gd name="T27" fmla="*/ 2147483647 h 49"/>
              <a:gd name="T28" fmla="*/ 2147483647 w 153"/>
              <a:gd name="T29" fmla="*/ 2147483647 h 49"/>
              <a:gd name="T30" fmla="*/ 2147483647 w 153"/>
              <a:gd name="T31" fmla="*/ 2147483647 h 49"/>
              <a:gd name="T32" fmla="*/ 2147483647 w 153"/>
              <a:gd name="T33" fmla="*/ 2147483647 h 49"/>
              <a:gd name="T34" fmla="*/ 2147483647 w 153"/>
              <a:gd name="T35" fmla="*/ 2147483647 h 49"/>
              <a:gd name="T36" fmla="*/ 2147483647 w 153"/>
              <a:gd name="T37" fmla="*/ 2147483647 h 49"/>
              <a:gd name="T38" fmla="*/ 2147483647 w 153"/>
              <a:gd name="T39" fmla="*/ 2147483647 h 49"/>
              <a:gd name="T40" fmla="*/ 2147483647 w 153"/>
              <a:gd name="T41" fmla="*/ 2147483647 h 49"/>
              <a:gd name="T42" fmla="*/ 2147483647 w 153"/>
              <a:gd name="T43" fmla="*/ 2147483647 h 49"/>
              <a:gd name="T44" fmla="*/ 2147483647 w 153"/>
              <a:gd name="T45" fmla="*/ 2147483647 h 49"/>
              <a:gd name="T46" fmla="*/ 2147483647 w 153"/>
              <a:gd name="T47" fmla="*/ 2147483647 h 49"/>
              <a:gd name="T48" fmla="*/ 0 w 153"/>
              <a:gd name="T49" fmla="*/ 2147483647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50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800340" y="4230315"/>
            <a:ext cx="187325" cy="158750"/>
          </a:xfrm>
          <a:custGeom>
            <a:avLst/>
            <a:gdLst>
              <a:gd name="T0" fmla="*/ 2147483647 w 426"/>
              <a:gd name="T1" fmla="*/ 2147483647 h 299"/>
              <a:gd name="T2" fmla="*/ 2147483647 w 426"/>
              <a:gd name="T3" fmla="*/ 2147483647 h 299"/>
              <a:gd name="T4" fmla="*/ 2147483647 w 426"/>
              <a:gd name="T5" fmla="*/ 2147483647 h 299"/>
              <a:gd name="T6" fmla="*/ 2147483647 w 426"/>
              <a:gd name="T7" fmla="*/ 2147483647 h 299"/>
              <a:gd name="T8" fmla="*/ 2147483647 w 426"/>
              <a:gd name="T9" fmla="*/ 2147483647 h 299"/>
              <a:gd name="T10" fmla="*/ 2147483647 w 426"/>
              <a:gd name="T11" fmla="*/ 2147483647 h 299"/>
              <a:gd name="T12" fmla="*/ 2147483647 w 426"/>
              <a:gd name="T13" fmla="*/ 2147483647 h 299"/>
              <a:gd name="T14" fmla="*/ 2147483647 w 426"/>
              <a:gd name="T15" fmla="*/ 2147483647 h 299"/>
              <a:gd name="T16" fmla="*/ 2147483647 w 426"/>
              <a:gd name="T17" fmla="*/ 2147483647 h 299"/>
              <a:gd name="T18" fmla="*/ 2147483647 w 426"/>
              <a:gd name="T19" fmla="*/ 2147483647 h 299"/>
              <a:gd name="T20" fmla="*/ 2147483647 w 426"/>
              <a:gd name="T21" fmla="*/ 2147483647 h 299"/>
              <a:gd name="T22" fmla="*/ 2147483647 w 426"/>
              <a:gd name="T23" fmla="*/ 2147483647 h 299"/>
              <a:gd name="T24" fmla="*/ 2147483647 w 426"/>
              <a:gd name="T25" fmla="*/ 2147483647 h 299"/>
              <a:gd name="T26" fmla="*/ 2147483647 w 426"/>
              <a:gd name="T27" fmla="*/ 2147483647 h 299"/>
              <a:gd name="T28" fmla="*/ 2147483647 w 426"/>
              <a:gd name="T29" fmla="*/ 2147483647 h 299"/>
              <a:gd name="T30" fmla="*/ 2147483647 w 426"/>
              <a:gd name="T31" fmla="*/ 2147483647 h 299"/>
              <a:gd name="T32" fmla="*/ 2147483647 w 426"/>
              <a:gd name="T33" fmla="*/ 2147483647 h 299"/>
              <a:gd name="T34" fmla="*/ 2147483647 w 426"/>
              <a:gd name="T35" fmla="*/ 2147483647 h 299"/>
              <a:gd name="T36" fmla="*/ 2147483647 w 426"/>
              <a:gd name="T37" fmla="*/ 2147483647 h 299"/>
              <a:gd name="T38" fmla="*/ 2147483647 w 426"/>
              <a:gd name="T39" fmla="*/ 2147483647 h 299"/>
              <a:gd name="T40" fmla="*/ 2147483647 w 426"/>
              <a:gd name="T41" fmla="*/ 2147483647 h 299"/>
              <a:gd name="T42" fmla="*/ 2147483647 w 426"/>
              <a:gd name="T43" fmla="*/ 2147483647 h 299"/>
              <a:gd name="T44" fmla="*/ 2147483647 w 426"/>
              <a:gd name="T45" fmla="*/ 2147483647 h 299"/>
              <a:gd name="T46" fmla="*/ 2147483647 w 426"/>
              <a:gd name="T47" fmla="*/ 2147483647 h 299"/>
              <a:gd name="T48" fmla="*/ 2147483647 w 426"/>
              <a:gd name="T49" fmla="*/ 2147483647 h 299"/>
              <a:gd name="T50" fmla="*/ 2147483647 w 426"/>
              <a:gd name="T51" fmla="*/ 2147483647 h 299"/>
              <a:gd name="T52" fmla="*/ 2147483647 w 426"/>
              <a:gd name="T53" fmla="*/ 2147483647 h 299"/>
              <a:gd name="T54" fmla="*/ 2147483647 w 426"/>
              <a:gd name="T55" fmla="*/ 2147483647 h 299"/>
              <a:gd name="T56" fmla="*/ 2147483647 w 426"/>
              <a:gd name="T57" fmla="*/ 2147483647 h 299"/>
              <a:gd name="T58" fmla="*/ 2147483647 w 426"/>
              <a:gd name="T59" fmla="*/ 2147483647 h 299"/>
              <a:gd name="T60" fmla="*/ 2147483647 w 426"/>
              <a:gd name="T61" fmla="*/ 2147483647 h 299"/>
              <a:gd name="T62" fmla="*/ 2147483647 w 426"/>
              <a:gd name="T63" fmla="*/ 2147483647 h 299"/>
              <a:gd name="T64" fmla="*/ 2147483647 w 426"/>
              <a:gd name="T65" fmla="*/ 2147483647 h 299"/>
              <a:gd name="T66" fmla="*/ 2147483647 w 426"/>
              <a:gd name="T67" fmla="*/ 2147483647 h 299"/>
              <a:gd name="T68" fmla="*/ 2147483647 w 426"/>
              <a:gd name="T69" fmla="*/ 2147483647 h 299"/>
              <a:gd name="T70" fmla="*/ 2147483647 w 426"/>
              <a:gd name="T71" fmla="*/ 2147483647 h 299"/>
              <a:gd name="T72" fmla="*/ 2147483647 w 426"/>
              <a:gd name="T73" fmla="*/ 2147483647 h 299"/>
              <a:gd name="T74" fmla="*/ 2147483647 w 426"/>
              <a:gd name="T75" fmla="*/ 2147483647 h 299"/>
              <a:gd name="T76" fmla="*/ 2147483647 w 426"/>
              <a:gd name="T77" fmla="*/ 2147483647 h 299"/>
              <a:gd name="T78" fmla="*/ 2147483647 w 426"/>
              <a:gd name="T79" fmla="*/ 2147483647 h 299"/>
              <a:gd name="T80" fmla="*/ 2147483647 w 426"/>
              <a:gd name="T81" fmla="*/ 2147483647 h 299"/>
              <a:gd name="T82" fmla="*/ 2147483647 w 426"/>
              <a:gd name="T83" fmla="*/ 2147483647 h 299"/>
              <a:gd name="T84" fmla="*/ 2147483647 w 426"/>
              <a:gd name="T85" fmla="*/ 2147483647 h 299"/>
              <a:gd name="T86" fmla="*/ 2147483647 w 426"/>
              <a:gd name="T87" fmla="*/ 2147483647 h 299"/>
              <a:gd name="T88" fmla="*/ 2147483647 w 426"/>
              <a:gd name="T89" fmla="*/ 2147483647 h 299"/>
              <a:gd name="T90" fmla="*/ 2147483647 w 426"/>
              <a:gd name="T91" fmla="*/ 2147483647 h 299"/>
              <a:gd name="T92" fmla="*/ 2147483647 w 426"/>
              <a:gd name="T93" fmla="*/ 2147483647 h 299"/>
              <a:gd name="T94" fmla="*/ 2147483647 w 426"/>
              <a:gd name="T95" fmla="*/ 2147483647 h 299"/>
              <a:gd name="T96" fmla="*/ 2147483647 w 426"/>
              <a:gd name="T97" fmla="*/ 2147483647 h 299"/>
              <a:gd name="T98" fmla="*/ 2147483647 w 426"/>
              <a:gd name="T99" fmla="*/ 2147483647 h 299"/>
              <a:gd name="T100" fmla="*/ 2147483647 w 426"/>
              <a:gd name="T101" fmla="*/ 2147483647 h 299"/>
              <a:gd name="T102" fmla="*/ 2147483647 w 426"/>
              <a:gd name="T103" fmla="*/ 2147483647 h 299"/>
              <a:gd name="T104" fmla="*/ 2147483647 w 426"/>
              <a:gd name="T105" fmla="*/ 2147483647 h 299"/>
              <a:gd name="T106" fmla="*/ 2147483647 w 426"/>
              <a:gd name="T107" fmla="*/ 2147483647 h 299"/>
              <a:gd name="T108" fmla="*/ 2147483647 w 426"/>
              <a:gd name="T109" fmla="*/ 2147483647 h 299"/>
              <a:gd name="T110" fmla="*/ 2147483647 w 426"/>
              <a:gd name="T111" fmla="*/ 2147483647 h 299"/>
              <a:gd name="T112" fmla="*/ 2147483647 w 426"/>
              <a:gd name="T113" fmla="*/ 2147483647 h 299"/>
              <a:gd name="T114" fmla="*/ 2147483647 w 426"/>
              <a:gd name="T115" fmla="*/ 2147483647 h 299"/>
              <a:gd name="T116" fmla="*/ 2147483647 w 426"/>
              <a:gd name="T117" fmla="*/ 2147483647 h 299"/>
              <a:gd name="T118" fmla="*/ 2147483647 w 426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1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845040" y="3493715"/>
            <a:ext cx="692150" cy="874713"/>
          </a:xfrm>
          <a:custGeom>
            <a:avLst/>
            <a:gdLst>
              <a:gd name="T0" fmla="*/ 2147483647 w 1594"/>
              <a:gd name="T1" fmla="*/ 2147483647 h 1670"/>
              <a:gd name="T2" fmla="*/ 2147483647 w 1594"/>
              <a:gd name="T3" fmla="*/ 2147483647 h 1670"/>
              <a:gd name="T4" fmla="*/ 2147483647 w 1594"/>
              <a:gd name="T5" fmla="*/ 2147483647 h 1670"/>
              <a:gd name="T6" fmla="*/ 2147483647 w 1594"/>
              <a:gd name="T7" fmla="*/ 2147483647 h 1670"/>
              <a:gd name="T8" fmla="*/ 2147483647 w 1594"/>
              <a:gd name="T9" fmla="*/ 2147483647 h 1670"/>
              <a:gd name="T10" fmla="*/ 2147483647 w 1594"/>
              <a:gd name="T11" fmla="*/ 2147483647 h 1670"/>
              <a:gd name="T12" fmla="*/ 2147483647 w 1594"/>
              <a:gd name="T13" fmla="*/ 2147483647 h 1670"/>
              <a:gd name="T14" fmla="*/ 2147483647 w 1594"/>
              <a:gd name="T15" fmla="*/ 2147483647 h 1670"/>
              <a:gd name="T16" fmla="*/ 2147483647 w 1594"/>
              <a:gd name="T17" fmla="*/ 2147483647 h 1670"/>
              <a:gd name="T18" fmla="*/ 2147483647 w 1594"/>
              <a:gd name="T19" fmla="*/ 2147483647 h 1670"/>
              <a:gd name="T20" fmla="*/ 2147483647 w 1594"/>
              <a:gd name="T21" fmla="*/ 2147483647 h 1670"/>
              <a:gd name="T22" fmla="*/ 2147483647 w 1594"/>
              <a:gd name="T23" fmla="*/ 2147483647 h 1670"/>
              <a:gd name="T24" fmla="*/ 2147483647 w 1594"/>
              <a:gd name="T25" fmla="*/ 2147483647 h 1670"/>
              <a:gd name="T26" fmla="*/ 2147483647 w 1594"/>
              <a:gd name="T27" fmla="*/ 2147483647 h 1670"/>
              <a:gd name="T28" fmla="*/ 2147483647 w 1594"/>
              <a:gd name="T29" fmla="*/ 2147483647 h 1670"/>
              <a:gd name="T30" fmla="*/ 2147483647 w 1594"/>
              <a:gd name="T31" fmla="*/ 2147483647 h 1670"/>
              <a:gd name="T32" fmla="*/ 2147483647 w 1594"/>
              <a:gd name="T33" fmla="*/ 2147483647 h 1670"/>
              <a:gd name="T34" fmla="*/ 2147483647 w 1594"/>
              <a:gd name="T35" fmla="*/ 2147483647 h 1670"/>
              <a:gd name="T36" fmla="*/ 2147483647 w 1594"/>
              <a:gd name="T37" fmla="*/ 2147483647 h 1670"/>
              <a:gd name="T38" fmla="*/ 2147483647 w 1594"/>
              <a:gd name="T39" fmla="*/ 2147483647 h 1670"/>
              <a:gd name="T40" fmla="*/ 2147483647 w 1594"/>
              <a:gd name="T41" fmla="*/ 2147483647 h 1670"/>
              <a:gd name="T42" fmla="*/ 2147483647 w 1594"/>
              <a:gd name="T43" fmla="*/ 2147483647 h 1670"/>
              <a:gd name="T44" fmla="*/ 2147483647 w 1594"/>
              <a:gd name="T45" fmla="*/ 2147483647 h 1670"/>
              <a:gd name="T46" fmla="*/ 2147483647 w 1594"/>
              <a:gd name="T47" fmla="*/ 2147483647 h 1670"/>
              <a:gd name="T48" fmla="*/ 2147483647 w 1594"/>
              <a:gd name="T49" fmla="*/ 2147483647 h 1670"/>
              <a:gd name="T50" fmla="*/ 2147483647 w 1594"/>
              <a:gd name="T51" fmla="*/ 2147483647 h 1670"/>
              <a:gd name="T52" fmla="*/ 2147483647 w 1594"/>
              <a:gd name="T53" fmla="*/ 2147483647 h 1670"/>
              <a:gd name="T54" fmla="*/ 2147483647 w 1594"/>
              <a:gd name="T55" fmla="*/ 2147483647 h 1670"/>
              <a:gd name="T56" fmla="*/ 2147483647 w 1594"/>
              <a:gd name="T57" fmla="*/ 2147483647 h 1670"/>
              <a:gd name="T58" fmla="*/ 2147483647 w 1594"/>
              <a:gd name="T59" fmla="*/ 2147483647 h 1670"/>
              <a:gd name="T60" fmla="*/ 2147483647 w 1594"/>
              <a:gd name="T61" fmla="*/ 2147483647 h 1670"/>
              <a:gd name="T62" fmla="*/ 2147483647 w 1594"/>
              <a:gd name="T63" fmla="*/ 2147483647 h 1670"/>
              <a:gd name="T64" fmla="*/ 2147483647 w 1594"/>
              <a:gd name="T65" fmla="*/ 2147483647 h 1670"/>
              <a:gd name="T66" fmla="*/ 2147483647 w 1594"/>
              <a:gd name="T67" fmla="*/ 2147483647 h 1670"/>
              <a:gd name="T68" fmla="*/ 2147483647 w 1594"/>
              <a:gd name="T69" fmla="*/ 2147483647 h 1670"/>
              <a:gd name="T70" fmla="*/ 2147483647 w 1594"/>
              <a:gd name="T71" fmla="*/ 2147483647 h 1670"/>
              <a:gd name="T72" fmla="*/ 2147483647 w 1594"/>
              <a:gd name="T73" fmla="*/ 2147483647 h 1670"/>
              <a:gd name="T74" fmla="*/ 2147483647 w 1594"/>
              <a:gd name="T75" fmla="*/ 2147483647 h 1670"/>
              <a:gd name="T76" fmla="*/ 2147483647 w 1594"/>
              <a:gd name="T77" fmla="*/ 2147483647 h 1670"/>
              <a:gd name="T78" fmla="*/ 2147483647 w 1594"/>
              <a:gd name="T79" fmla="*/ 2147483647 h 1670"/>
              <a:gd name="T80" fmla="*/ 2147483647 w 1594"/>
              <a:gd name="T81" fmla="*/ 2147483647 h 1670"/>
              <a:gd name="T82" fmla="*/ 2147483647 w 1594"/>
              <a:gd name="T83" fmla="*/ 2147483647 h 1670"/>
              <a:gd name="T84" fmla="*/ 2147483647 w 1594"/>
              <a:gd name="T85" fmla="*/ 2147483647 h 1670"/>
              <a:gd name="T86" fmla="*/ 2147483647 w 1594"/>
              <a:gd name="T87" fmla="*/ 2147483647 h 1670"/>
              <a:gd name="T88" fmla="*/ 2147483647 w 1594"/>
              <a:gd name="T89" fmla="*/ 2147483647 h 1670"/>
              <a:gd name="T90" fmla="*/ 2147483647 w 1594"/>
              <a:gd name="T91" fmla="*/ 2147483647 h 1670"/>
              <a:gd name="T92" fmla="*/ 2147483647 w 1594"/>
              <a:gd name="T93" fmla="*/ 2147483647 h 1670"/>
              <a:gd name="T94" fmla="*/ 2147483647 w 1594"/>
              <a:gd name="T95" fmla="*/ 2147483647 h 1670"/>
              <a:gd name="T96" fmla="*/ 2147483647 w 1594"/>
              <a:gd name="T97" fmla="*/ 2147483647 h 1670"/>
              <a:gd name="T98" fmla="*/ 2147483647 w 1594"/>
              <a:gd name="T99" fmla="*/ 2147483647 h 1670"/>
              <a:gd name="T100" fmla="*/ 2147483647 w 1594"/>
              <a:gd name="T101" fmla="*/ 2147483647 h 1670"/>
              <a:gd name="T102" fmla="*/ 2147483647 w 1594"/>
              <a:gd name="T103" fmla="*/ 2147483647 h 1670"/>
              <a:gd name="T104" fmla="*/ 2147483647 w 1594"/>
              <a:gd name="T105" fmla="*/ 2147483647 h 1670"/>
              <a:gd name="T106" fmla="*/ 2147483647 w 1594"/>
              <a:gd name="T107" fmla="*/ 2147483647 h 1670"/>
              <a:gd name="T108" fmla="*/ 2147483647 w 1594"/>
              <a:gd name="T109" fmla="*/ 2147483647 h 1670"/>
              <a:gd name="T110" fmla="*/ 2147483647 w 1594"/>
              <a:gd name="T111" fmla="*/ 2147483647 h 1670"/>
              <a:gd name="T112" fmla="*/ 2147483647 w 1594"/>
              <a:gd name="T113" fmla="*/ 2147483647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2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967028" y="4289053"/>
            <a:ext cx="158750" cy="206375"/>
          </a:xfrm>
          <a:custGeom>
            <a:avLst/>
            <a:gdLst>
              <a:gd name="T0" fmla="*/ 2147483647 w 359"/>
              <a:gd name="T1" fmla="*/ 2147483647 h 394"/>
              <a:gd name="T2" fmla="*/ 2147483647 w 359"/>
              <a:gd name="T3" fmla="*/ 2147483647 h 394"/>
              <a:gd name="T4" fmla="*/ 2147483647 w 359"/>
              <a:gd name="T5" fmla="*/ 2147483647 h 394"/>
              <a:gd name="T6" fmla="*/ 2147483647 w 359"/>
              <a:gd name="T7" fmla="*/ 2147483647 h 394"/>
              <a:gd name="T8" fmla="*/ 2147483647 w 359"/>
              <a:gd name="T9" fmla="*/ 2147483647 h 394"/>
              <a:gd name="T10" fmla="*/ 2147483647 w 359"/>
              <a:gd name="T11" fmla="*/ 2147483647 h 394"/>
              <a:gd name="T12" fmla="*/ 2147483647 w 359"/>
              <a:gd name="T13" fmla="*/ 2147483647 h 394"/>
              <a:gd name="T14" fmla="*/ 0 w 359"/>
              <a:gd name="T15" fmla="*/ 2147483647 h 394"/>
              <a:gd name="T16" fmla="*/ 2147483647 w 359"/>
              <a:gd name="T17" fmla="*/ 2147483647 h 394"/>
              <a:gd name="T18" fmla="*/ 2147483647 w 359"/>
              <a:gd name="T19" fmla="*/ 2147483647 h 394"/>
              <a:gd name="T20" fmla="*/ 2147483647 w 359"/>
              <a:gd name="T21" fmla="*/ 2147483647 h 394"/>
              <a:gd name="T22" fmla="*/ 2147483647 w 359"/>
              <a:gd name="T23" fmla="*/ 2147483647 h 394"/>
              <a:gd name="T24" fmla="*/ 2147483647 w 359"/>
              <a:gd name="T25" fmla="*/ 2147483647 h 394"/>
              <a:gd name="T26" fmla="*/ 2147483647 w 359"/>
              <a:gd name="T27" fmla="*/ 2147483647 h 394"/>
              <a:gd name="T28" fmla="*/ 2147483647 w 359"/>
              <a:gd name="T29" fmla="*/ 2147483647 h 394"/>
              <a:gd name="T30" fmla="*/ 2147483647 w 359"/>
              <a:gd name="T31" fmla="*/ 2147483647 h 394"/>
              <a:gd name="T32" fmla="*/ 2147483647 w 359"/>
              <a:gd name="T33" fmla="*/ 2147483647 h 394"/>
              <a:gd name="T34" fmla="*/ 2147483647 w 359"/>
              <a:gd name="T35" fmla="*/ 2147483647 h 394"/>
              <a:gd name="T36" fmla="*/ 2147483647 w 359"/>
              <a:gd name="T37" fmla="*/ 0 h 394"/>
              <a:gd name="T38" fmla="*/ 2147483647 w 359"/>
              <a:gd name="T39" fmla="*/ 2147483647 h 394"/>
              <a:gd name="T40" fmla="*/ 2147483647 w 359"/>
              <a:gd name="T41" fmla="*/ 2147483647 h 394"/>
              <a:gd name="T42" fmla="*/ 2147483647 w 359"/>
              <a:gd name="T43" fmla="*/ 2147483647 h 394"/>
              <a:gd name="T44" fmla="*/ 2147483647 w 359"/>
              <a:gd name="T45" fmla="*/ 2147483647 h 394"/>
              <a:gd name="T46" fmla="*/ 2147483647 w 359"/>
              <a:gd name="T47" fmla="*/ 2147483647 h 394"/>
              <a:gd name="T48" fmla="*/ 2147483647 w 359"/>
              <a:gd name="T49" fmla="*/ 2147483647 h 394"/>
              <a:gd name="T50" fmla="*/ 2147483647 w 359"/>
              <a:gd name="T51" fmla="*/ 2147483647 h 394"/>
              <a:gd name="T52" fmla="*/ 2147483647 w 359"/>
              <a:gd name="T53" fmla="*/ 2147483647 h 394"/>
              <a:gd name="T54" fmla="*/ 2147483647 w 359"/>
              <a:gd name="T55" fmla="*/ 2147483647 h 394"/>
              <a:gd name="T56" fmla="*/ 2147483647 w 359"/>
              <a:gd name="T57" fmla="*/ 2147483647 h 394"/>
              <a:gd name="T58" fmla="*/ 2147483647 w 359"/>
              <a:gd name="T59" fmla="*/ 2147483647 h 394"/>
              <a:gd name="T60" fmla="*/ 2147483647 w 359"/>
              <a:gd name="T61" fmla="*/ 2147483647 h 394"/>
              <a:gd name="T62" fmla="*/ 2147483647 w 359"/>
              <a:gd name="T63" fmla="*/ 2147483647 h 394"/>
              <a:gd name="T64" fmla="*/ 2147483647 w 359"/>
              <a:gd name="T65" fmla="*/ 2147483647 h 394"/>
              <a:gd name="T66" fmla="*/ 2147483647 w 359"/>
              <a:gd name="T67" fmla="*/ 2147483647 h 394"/>
              <a:gd name="T68" fmla="*/ 2147483647 w 359"/>
              <a:gd name="T69" fmla="*/ 2147483647 h 394"/>
              <a:gd name="T70" fmla="*/ 2147483647 w 359"/>
              <a:gd name="T71" fmla="*/ 2147483647 h 394"/>
              <a:gd name="T72" fmla="*/ 2147483647 w 359"/>
              <a:gd name="T73" fmla="*/ 2147483647 h 394"/>
              <a:gd name="T74" fmla="*/ 2147483647 w 359"/>
              <a:gd name="T75" fmla="*/ 2147483647 h 394"/>
              <a:gd name="T76" fmla="*/ 2147483647 w 359"/>
              <a:gd name="T77" fmla="*/ 2147483647 h 394"/>
              <a:gd name="T78" fmla="*/ 2147483647 w 359"/>
              <a:gd name="T79" fmla="*/ 2147483647 h 394"/>
              <a:gd name="T80" fmla="*/ 2147483647 w 359"/>
              <a:gd name="T81" fmla="*/ 2147483647 h 394"/>
              <a:gd name="T82" fmla="*/ 2147483647 w 359"/>
              <a:gd name="T83" fmla="*/ 2147483647 h 394"/>
              <a:gd name="T84" fmla="*/ 2147483647 w 359"/>
              <a:gd name="T85" fmla="*/ 2147483647 h 394"/>
              <a:gd name="T86" fmla="*/ 2147483647 w 359"/>
              <a:gd name="T87" fmla="*/ 2147483647 h 394"/>
              <a:gd name="T88" fmla="*/ 2147483647 w 359"/>
              <a:gd name="T89" fmla="*/ 2147483647 h 394"/>
              <a:gd name="T90" fmla="*/ 2147483647 w 359"/>
              <a:gd name="T91" fmla="*/ 2147483647 h 394"/>
              <a:gd name="T92" fmla="*/ 2147483647 w 359"/>
              <a:gd name="T93" fmla="*/ 2147483647 h 394"/>
              <a:gd name="T94" fmla="*/ 2147483647 w 359"/>
              <a:gd name="T95" fmla="*/ 2147483647 h 394"/>
              <a:gd name="T96" fmla="*/ 2147483647 w 359"/>
              <a:gd name="T97" fmla="*/ 2147483647 h 394"/>
              <a:gd name="T98" fmla="*/ 2147483647 w 359"/>
              <a:gd name="T99" fmla="*/ 2147483647 h 394"/>
              <a:gd name="T100" fmla="*/ 2147483647 w 359"/>
              <a:gd name="T101" fmla="*/ 2147483647 h 394"/>
              <a:gd name="T102" fmla="*/ 2147483647 w 359"/>
              <a:gd name="T103" fmla="*/ 2147483647 h 394"/>
              <a:gd name="T104" fmla="*/ 2147483647 w 359"/>
              <a:gd name="T105" fmla="*/ 2147483647 h 394"/>
              <a:gd name="T106" fmla="*/ 2147483647 w 359"/>
              <a:gd name="T107" fmla="*/ 2147483647 h 394"/>
              <a:gd name="T108" fmla="*/ 2147483647 w 359"/>
              <a:gd name="T109" fmla="*/ 2147483647 h 394"/>
              <a:gd name="T110" fmla="*/ 2147483647 w 359"/>
              <a:gd name="T111" fmla="*/ 2147483647 h 394"/>
              <a:gd name="T112" fmla="*/ 2147483647 w 359"/>
              <a:gd name="T113" fmla="*/ 2147483647 h 394"/>
              <a:gd name="T114" fmla="*/ 2147483647 w 359"/>
              <a:gd name="T115" fmla="*/ 2147483647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3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5035415" y="4484315"/>
            <a:ext cx="192088" cy="271463"/>
          </a:xfrm>
          <a:custGeom>
            <a:avLst/>
            <a:gdLst>
              <a:gd name="T0" fmla="*/ 2147483647 w 449"/>
              <a:gd name="T1" fmla="*/ 2147483647 h 523"/>
              <a:gd name="T2" fmla="*/ 2147483647 w 449"/>
              <a:gd name="T3" fmla="*/ 2147483647 h 523"/>
              <a:gd name="T4" fmla="*/ 2147483647 w 449"/>
              <a:gd name="T5" fmla="*/ 2147483647 h 523"/>
              <a:gd name="T6" fmla="*/ 2147483647 w 449"/>
              <a:gd name="T7" fmla="*/ 2147483647 h 523"/>
              <a:gd name="T8" fmla="*/ 2147483647 w 449"/>
              <a:gd name="T9" fmla="*/ 2147483647 h 523"/>
              <a:gd name="T10" fmla="*/ 2147483647 w 449"/>
              <a:gd name="T11" fmla="*/ 2147483647 h 523"/>
              <a:gd name="T12" fmla="*/ 2147483647 w 449"/>
              <a:gd name="T13" fmla="*/ 2147483647 h 523"/>
              <a:gd name="T14" fmla="*/ 2147483647 w 449"/>
              <a:gd name="T15" fmla="*/ 2147483647 h 523"/>
              <a:gd name="T16" fmla="*/ 2147483647 w 449"/>
              <a:gd name="T17" fmla="*/ 2147483647 h 523"/>
              <a:gd name="T18" fmla="*/ 2147483647 w 449"/>
              <a:gd name="T19" fmla="*/ 2147483647 h 523"/>
              <a:gd name="T20" fmla="*/ 2147483647 w 449"/>
              <a:gd name="T21" fmla="*/ 2147483647 h 523"/>
              <a:gd name="T22" fmla="*/ 2147483647 w 449"/>
              <a:gd name="T23" fmla="*/ 2147483647 h 523"/>
              <a:gd name="T24" fmla="*/ 2147483647 w 449"/>
              <a:gd name="T25" fmla="*/ 2147483647 h 523"/>
              <a:gd name="T26" fmla="*/ 2147483647 w 449"/>
              <a:gd name="T27" fmla="*/ 2147483647 h 523"/>
              <a:gd name="T28" fmla="*/ 2147483647 w 449"/>
              <a:gd name="T29" fmla="*/ 2147483647 h 523"/>
              <a:gd name="T30" fmla="*/ 2147483647 w 449"/>
              <a:gd name="T31" fmla="*/ 2147483647 h 523"/>
              <a:gd name="T32" fmla="*/ 2147483647 w 449"/>
              <a:gd name="T33" fmla="*/ 2147483647 h 523"/>
              <a:gd name="T34" fmla="*/ 2147483647 w 449"/>
              <a:gd name="T35" fmla="*/ 2147483647 h 523"/>
              <a:gd name="T36" fmla="*/ 2147483647 w 449"/>
              <a:gd name="T37" fmla="*/ 2147483647 h 523"/>
              <a:gd name="T38" fmla="*/ 2147483647 w 449"/>
              <a:gd name="T39" fmla="*/ 2147483647 h 523"/>
              <a:gd name="T40" fmla="*/ 2147483647 w 449"/>
              <a:gd name="T41" fmla="*/ 2147483647 h 523"/>
              <a:gd name="T42" fmla="*/ 2147483647 w 449"/>
              <a:gd name="T43" fmla="*/ 2147483647 h 523"/>
              <a:gd name="T44" fmla="*/ 2147483647 w 449"/>
              <a:gd name="T45" fmla="*/ 2147483647 h 523"/>
              <a:gd name="T46" fmla="*/ 2147483647 w 449"/>
              <a:gd name="T47" fmla="*/ 2147483647 h 523"/>
              <a:gd name="T48" fmla="*/ 2147483647 w 449"/>
              <a:gd name="T49" fmla="*/ 2147483647 h 523"/>
              <a:gd name="T50" fmla="*/ 2147483647 w 449"/>
              <a:gd name="T51" fmla="*/ 0 h 523"/>
              <a:gd name="T52" fmla="*/ 2147483647 w 449"/>
              <a:gd name="T53" fmla="*/ 0 h 523"/>
              <a:gd name="T54" fmla="*/ 2147483647 w 449"/>
              <a:gd name="T55" fmla="*/ 0 h 523"/>
              <a:gd name="T56" fmla="*/ 2147483647 w 449"/>
              <a:gd name="T57" fmla="*/ 2147483647 h 523"/>
              <a:gd name="T58" fmla="*/ 2147483647 w 449"/>
              <a:gd name="T59" fmla="*/ 2147483647 h 523"/>
              <a:gd name="T60" fmla="*/ 2147483647 w 449"/>
              <a:gd name="T61" fmla="*/ 2147483647 h 523"/>
              <a:gd name="T62" fmla="*/ 2147483647 w 449"/>
              <a:gd name="T63" fmla="*/ 2147483647 h 523"/>
              <a:gd name="T64" fmla="*/ 2147483647 w 449"/>
              <a:gd name="T65" fmla="*/ 2147483647 h 523"/>
              <a:gd name="T66" fmla="*/ 2147483647 w 449"/>
              <a:gd name="T67" fmla="*/ 2147483647 h 523"/>
              <a:gd name="T68" fmla="*/ 2147483647 w 449"/>
              <a:gd name="T69" fmla="*/ 2147483647 h 523"/>
              <a:gd name="T70" fmla="*/ 2147483647 w 449"/>
              <a:gd name="T71" fmla="*/ 2147483647 h 523"/>
              <a:gd name="T72" fmla="*/ 2147483647 w 449"/>
              <a:gd name="T73" fmla="*/ 2147483647 h 523"/>
              <a:gd name="T74" fmla="*/ 2147483647 w 449"/>
              <a:gd name="T75" fmla="*/ 2147483647 h 523"/>
              <a:gd name="T76" fmla="*/ 2147483647 w 449"/>
              <a:gd name="T77" fmla="*/ 2147483647 h 523"/>
              <a:gd name="T78" fmla="*/ 2147483647 w 449"/>
              <a:gd name="T79" fmla="*/ 2147483647 h 523"/>
              <a:gd name="T80" fmla="*/ 2147483647 w 449"/>
              <a:gd name="T81" fmla="*/ 2147483647 h 523"/>
              <a:gd name="T82" fmla="*/ 2147483647 w 449"/>
              <a:gd name="T83" fmla="*/ 2147483647 h 523"/>
              <a:gd name="T84" fmla="*/ 2147483647 w 449"/>
              <a:gd name="T85" fmla="*/ 2147483647 h 523"/>
              <a:gd name="T86" fmla="*/ 2147483647 w 449"/>
              <a:gd name="T87" fmla="*/ 2147483647 h 523"/>
              <a:gd name="T88" fmla="*/ 2147483647 w 449"/>
              <a:gd name="T89" fmla="*/ 2147483647 h 523"/>
              <a:gd name="T90" fmla="*/ 2147483647 w 449"/>
              <a:gd name="T91" fmla="*/ 2147483647 h 523"/>
              <a:gd name="T92" fmla="*/ 2147483647 w 449"/>
              <a:gd name="T93" fmla="*/ 2147483647 h 523"/>
              <a:gd name="T94" fmla="*/ 2147483647 w 449"/>
              <a:gd name="T95" fmla="*/ 2147483647 h 523"/>
              <a:gd name="T96" fmla="*/ 2147483647 w 449"/>
              <a:gd name="T97" fmla="*/ 2147483647 h 523"/>
              <a:gd name="T98" fmla="*/ 2147483647 w 449"/>
              <a:gd name="T99" fmla="*/ 2147483647 h 523"/>
              <a:gd name="T100" fmla="*/ 2147483647 w 449"/>
              <a:gd name="T101" fmla="*/ 2147483647 h 523"/>
              <a:gd name="T102" fmla="*/ 2147483647 w 449"/>
              <a:gd name="T103" fmla="*/ 2147483647 h 523"/>
              <a:gd name="T104" fmla="*/ 2147483647 w 449"/>
              <a:gd name="T105" fmla="*/ 2147483647 h 523"/>
              <a:gd name="T106" fmla="*/ 2147483647 w 449"/>
              <a:gd name="T107" fmla="*/ 2147483647 h 523"/>
              <a:gd name="T108" fmla="*/ 2147483647 w 449"/>
              <a:gd name="T109" fmla="*/ 2147483647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4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5017953" y="3569915"/>
            <a:ext cx="101600" cy="130175"/>
          </a:xfrm>
          <a:custGeom>
            <a:avLst/>
            <a:gdLst>
              <a:gd name="T0" fmla="*/ 2147483647 w 226"/>
              <a:gd name="T1" fmla="*/ 2147483647 h 246"/>
              <a:gd name="T2" fmla="*/ 2147483647 w 226"/>
              <a:gd name="T3" fmla="*/ 2147483647 h 246"/>
              <a:gd name="T4" fmla="*/ 2147483647 w 226"/>
              <a:gd name="T5" fmla="*/ 2147483647 h 246"/>
              <a:gd name="T6" fmla="*/ 2147483647 w 226"/>
              <a:gd name="T7" fmla="*/ 2147483647 h 246"/>
              <a:gd name="T8" fmla="*/ 2147483647 w 226"/>
              <a:gd name="T9" fmla="*/ 2147483647 h 246"/>
              <a:gd name="T10" fmla="*/ 2147483647 w 226"/>
              <a:gd name="T11" fmla="*/ 2147483647 h 246"/>
              <a:gd name="T12" fmla="*/ 2147483647 w 226"/>
              <a:gd name="T13" fmla="*/ 2147483647 h 246"/>
              <a:gd name="T14" fmla="*/ 2147483647 w 226"/>
              <a:gd name="T15" fmla="*/ 2147483647 h 246"/>
              <a:gd name="T16" fmla="*/ 2147483647 w 226"/>
              <a:gd name="T17" fmla="*/ 2147483647 h 246"/>
              <a:gd name="T18" fmla="*/ 2147483647 w 226"/>
              <a:gd name="T19" fmla="*/ 2147483647 h 246"/>
              <a:gd name="T20" fmla="*/ 2147483647 w 226"/>
              <a:gd name="T21" fmla="*/ 2147483647 h 246"/>
              <a:gd name="T22" fmla="*/ 2147483647 w 226"/>
              <a:gd name="T23" fmla="*/ 2147483647 h 246"/>
              <a:gd name="T24" fmla="*/ 2147483647 w 226"/>
              <a:gd name="T25" fmla="*/ 2147483647 h 246"/>
              <a:gd name="T26" fmla="*/ 2147483647 w 226"/>
              <a:gd name="T27" fmla="*/ 2147483647 h 246"/>
              <a:gd name="T28" fmla="*/ 2147483647 w 226"/>
              <a:gd name="T29" fmla="*/ 2147483647 h 246"/>
              <a:gd name="T30" fmla="*/ 2147483647 w 226"/>
              <a:gd name="T31" fmla="*/ 2147483647 h 246"/>
              <a:gd name="T32" fmla="*/ 2147483647 w 226"/>
              <a:gd name="T33" fmla="*/ 2147483647 h 246"/>
              <a:gd name="T34" fmla="*/ 2147483647 w 226"/>
              <a:gd name="T35" fmla="*/ 2147483647 h 246"/>
              <a:gd name="T36" fmla="*/ 2147483647 w 226"/>
              <a:gd name="T37" fmla="*/ 2147483647 h 246"/>
              <a:gd name="T38" fmla="*/ 2147483647 w 226"/>
              <a:gd name="T39" fmla="*/ 2147483647 h 246"/>
              <a:gd name="T40" fmla="*/ 2147483647 w 226"/>
              <a:gd name="T41" fmla="*/ 2147483647 h 246"/>
              <a:gd name="T42" fmla="*/ 2147483647 w 226"/>
              <a:gd name="T43" fmla="*/ 2147483647 h 246"/>
              <a:gd name="T44" fmla="*/ 2147483647 w 226"/>
              <a:gd name="T45" fmla="*/ 2147483647 h 246"/>
              <a:gd name="T46" fmla="*/ 2147483647 w 226"/>
              <a:gd name="T47" fmla="*/ 2147483647 h 246"/>
              <a:gd name="T48" fmla="*/ 2147483647 w 226"/>
              <a:gd name="T49" fmla="*/ 2147483647 h 246"/>
              <a:gd name="T50" fmla="*/ 2147483647 w 226"/>
              <a:gd name="T51" fmla="*/ 2147483647 h 246"/>
              <a:gd name="T52" fmla="*/ 2147483647 w 226"/>
              <a:gd name="T53" fmla="*/ 2147483647 h 246"/>
              <a:gd name="T54" fmla="*/ 2147483647 w 226"/>
              <a:gd name="T55" fmla="*/ 2147483647 h 246"/>
              <a:gd name="T56" fmla="*/ 2147483647 w 226"/>
              <a:gd name="T57" fmla="*/ 2147483647 h 246"/>
              <a:gd name="T58" fmla="*/ 2147483647 w 226"/>
              <a:gd name="T59" fmla="*/ 2147483647 h 246"/>
              <a:gd name="T60" fmla="*/ 2147483647 w 226"/>
              <a:gd name="T61" fmla="*/ 2147483647 h 246"/>
              <a:gd name="T62" fmla="*/ 2147483647 w 226"/>
              <a:gd name="T63" fmla="*/ 2147483647 h 246"/>
              <a:gd name="T64" fmla="*/ 2147483647 w 226"/>
              <a:gd name="T65" fmla="*/ 2147483647 h 246"/>
              <a:gd name="T66" fmla="*/ 2147483647 w 226"/>
              <a:gd name="T67" fmla="*/ 2147483647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5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316403" y="3673103"/>
            <a:ext cx="22225" cy="55562"/>
          </a:xfrm>
          <a:custGeom>
            <a:avLst/>
            <a:gdLst>
              <a:gd name="T0" fmla="*/ 2147483647 w 60"/>
              <a:gd name="T1" fmla="*/ 0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0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0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0 h 81"/>
              <a:gd name="T46" fmla="*/ 214748364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6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603615" y="2807915"/>
            <a:ext cx="161925" cy="66675"/>
          </a:xfrm>
          <a:custGeom>
            <a:avLst/>
            <a:gdLst>
              <a:gd name="T0" fmla="*/ 2147483647 w 370"/>
              <a:gd name="T1" fmla="*/ 2147483647 h 129"/>
              <a:gd name="T2" fmla="*/ 2147483647 w 370"/>
              <a:gd name="T3" fmla="*/ 2147483647 h 129"/>
              <a:gd name="T4" fmla="*/ 2147483647 w 370"/>
              <a:gd name="T5" fmla="*/ 2147483647 h 129"/>
              <a:gd name="T6" fmla="*/ 2147483647 w 370"/>
              <a:gd name="T7" fmla="*/ 2147483647 h 129"/>
              <a:gd name="T8" fmla="*/ 2147483647 w 370"/>
              <a:gd name="T9" fmla="*/ 2147483647 h 129"/>
              <a:gd name="T10" fmla="*/ 2147483647 w 370"/>
              <a:gd name="T11" fmla="*/ 2147483647 h 129"/>
              <a:gd name="T12" fmla="*/ 2147483647 w 370"/>
              <a:gd name="T13" fmla="*/ 2147483647 h 129"/>
              <a:gd name="T14" fmla="*/ 2147483647 w 370"/>
              <a:gd name="T15" fmla="*/ 2147483647 h 129"/>
              <a:gd name="T16" fmla="*/ 2147483647 w 370"/>
              <a:gd name="T17" fmla="*/ 2147483647 h 129"/>
              <a:gd name="T18" fmla="*/ 2147483647 w 370"/>
              <a:gd name="T19" fmla="*/ 2147483647 h 129"/>
              <a:gd name="T20" fmla="*/ 2147483647 w 370"/>
              <a:gd name="T21" fmla="*/ 2147483647 h 129"/>
              <a:gd name="T22" fmla="*/ 2147483647 w 370"/>
              <a:gd name="T23" fmla="*/ 2147483647 h 129"/>
              <a:gd name="T24" fmla="*/ 2147483647 w 370"/>
              <a:gd name="T25" fmla="*/ 2147483647 h 129"/>
              <a:gd name="T26" fmla="*/ 2147483647 w 370"/>
              <a:gd name="T27" fmla="*/ 0 h 129"/>
              <a:gd name="T28" fmla="*/ 2147483647 w 370"/>
              <a:gd name="T29" fmla="*/ 0 h 129"/>
              <a:gd name="T30" fmla="*/ 2147483647 w 370"/>
              <a:gd name="T31" fmla="*/ 2147483647 h 129"/>
              <a:gd name="T32" fmla="*/ 2147483647 w 370"/>
              <a:gd name="T33" fmla="*/ 2147483647 h 129"/>
              <a:gd name="T34" fmla="*/ 2147483647 w 370"/>
              <a:gd name="T35" fmla="*/ 2147483647 h 129"/>
              <a:gd name="T36" fmla="*/ 2147483647 w 370"/>
              <a:gd name="T37" fmla="*/ 2147483647 h 129"/>
              <a:gd name="T38" fmla="*/ 2147483647 w 370"/>
              <a:gd name="T39" fmla="*/ 2147483647 h 129"/>
              <a:gd name="T40" fmla="*/ 2147483647 w 370"/>
              <a:gd name="T41" fmla="*/ 2147483647 h 129"/>
              <a:gd name="T42" fmla="*/ 2147483647 w 370"/>
              <a:gd name="T43" fmla="*/ 2147483647 h 129"/>
              <a:gd name="T44" fmla="*/ 2147483647 w 370"/>
              <a:gd name="T45" fmla="*/ 2147483647 h 129"/>
              <a:gd name="T46" fmla="*/ 2147483647 w 370"/>
              <a:gd name="T47" fmla="*/ 2147483647 h 129"/>
              <a:gd name="T48" fmla="*/ 2147483647 w 370"/>
              <a:gd name="T49" fmla="*/ 2147483647 h 129"/>
              <a:gd name="T50" fmla="*/ 2147483647 w 370"/>
              <a:gd name="T51" fmla="*/ 2147483647 h 129"/>
              <a:gd name="T52" fmla="*/ 2147483647 w 370"/>
              <a:gd name="T53" fmla="*/ 2147483647 h 129"/>
              <a:gd name="T54" fmla="*/ 2147483647 w 370"/>
              <a:gd name="T55" fmla="*/ 2147483647 h 129"/>
              <a:gd name="T56" fmla="*/ 2147483647 w 370"/>
              <a:gd name="T57" fmla="*/ 2147483647 h 129"/>
              <a:gd name="T58" fmla="*/ 2147483647 w 370"/>
              <a:gd name="T59" fmla="*/ 2147483647 h 129"/>
              <a:gd name="T60" fmla="*/ 2147483647 w 370"/>
              <a:gd name="T61" fmla="*/ 2147483647 h 129"/>
              <a:gd name="T62" fmla="*/ 2147483647 w 370"/>
              <a:gd name="T63" fmla="*/ 2147483647 h 129"/>
              <a:gd name="T64" fmla="*/ 2147483647 w 370"/>
              <a:gd name="T65" fmla="*/ 2147483647 h 129"/>
              <a:gd name="T66" fmla="*/ 2147483647 w 370"/>
              <a:gd name="T67" fmla="*/ 2147483647 h 129"/>
              <a:gd name="T68" fmla="*/ 2147483647 w 370"/>
              <a:gd name="T69" fmla="*/ 2147483647 h 129"/>
              <a:gd name="T70" fmla="*/ 2147483647 w 370"/>
              <a:gd name="T71" fmla="*/ 2147483647 h 129"/>
              <a:gd name="T72" fmla="*/ 2147483647 w 370"/>
              <a:gd name="T73" fmla="*/ 2147483647 h 129"/>
              <a:gd name="T74" fmla="*/ 2147483647 w 370"/>
              <a:gd name="T75" fmla="*/ 2147483647 h 129"/>
              <a:gd name="T76" fmla="*/ 0 w 370"/>
              <a:gd name="T77" fmla="*/ 2147483647 h 129"/>
              <a:gd name="T78" fmla="*/ 0 w 370"/>
              <a:gd name="T79" fmla="*/ 2147483647 h 129"/>
              <a:gd name="T80" fmla="*/ 2147483647 w 370"/>
              <a:gd name="T81" fmla="*/ 2147483647 h 129"/>
              <a:gd name="T82" fmla="*/ 2147483647 w 370"/>
              <a:gd name="T83" fmla="*/ 2147483647 h 129"/>
              <a:gd name="T84" fmla="*/ 2147483647 w 370"/>
              <a:gd name="T85" fmla="*/ 2147483647 h 129"/>
              <a:gd name="T86" fmla="*/ 2147483647 w 370"/>
              <a:gd name="T87" fmla="*/ 2147483647 h 129"/>
              <a:gd name="T88" fmla="*/ 2147483647 w 370"/>
              <a:gd name="T89" fmla="*/ 2147483647 h 129"/>
              <a:gd name="T90" fmla="*/ 2147483647 w 370"/>
              <a:gd name="T91" fmla="*/ 2147483647 h 129"/>
              <a:gd name="T92" fmla="*/ 2147483647 w 370"/>
              <a:gd name="T93" fmla="*/ 2147483647 h 129"/>
              <a:gd name="T94" fmla="*/ 2147483647 w 370"/>
              <a:gd name="T95" fmla="*/ 2147483647 h 129"/>
              <a:gd name="T96" fmla="*/ 2147483647 w 370"/>
              <a:gd name="T97" fmla="*/ 2147483647 h 129"/>
              <a:gd name="T98" fmla="*/ 2147483647 w 370"/>
              <a:gd name="T99" fmla="*/ 2147483647 h 129"/>
              <a:gd name="T100" fmla="*/ 2147483647 w 370"/>
              <a:gd name="T101" fmla="*/ 2147483647 h 129"/>
              <a:gd name="T102" fmla="*/ 2147483647 w 370"/>
              <a:gd name="T103" fmla="*/ 2147483647 h 129"/>
              <a:gd name="T104" fmla="*/ 2147483647 w 370"/>
              <a:gd name="T105" fmla="*/ 2147483647 h 129"/>
              <a:gd name="T106" fmla="*/ 2147483647 w 370"/>
              <a:gd name="T107" fmla="*/ 2147483647 h 129"/>
              <a:gd name="T108" fmla="*/ 2147483647 w 370"/>
              <a:gd name="T109" fmla="*/ 2147483647 h 129"/>
              <a:gd name="T110" fmla="*/ 2147483647 w 370"/>
              <a:gd name="T111" fmla="*/ 2147483647 h 129"/>
              <a:gd name="T112" fmla="*/ 2147483647 w 370"/>
              <a:gd name="T113" fmla="*/ 2147483647 h 129"/>
              <a:gd name="T114" fmla="*/ 2147483647 w 370"/>
              <a:gd name="T115" fmla="*/ 2147483647 h 129"/>
              <a:gd name="T116" fmla="*/ 2147483647 w 370"/>
              <a:gd name="T117" fmla="*/ 2147483647 h 129"/>
              <a:gd name="T118" fmla="*/ 2147483647 w 370"/>
              <a:gd name="T119" fmla="*/ 2147483647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57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5014778" y="3528640"/>
            <a:ext cx="30162" cy="57150"/>
          </a:xfrm>
          <a:custGeom>
            <a:avLst/>
            <a:gdLst>
              <a:gd name="T0" fmla="*/ 2147483647 w 80"/>
              <a:gd name="T1" fmla="*/ 2147483647 h 94"/>
              <a:gd name="T2" fmla="*/ 2147483647 w 80"/>
              <a:gd name="T3" fmla="*/ 0 h 94"/>
              <a:gd name="T4" fmla="*/ 2147483647 w 80"/>
              <a:gd name="T5" fmla="*/ 0 h 94"/>
              <a:gd name="T6" fmla="*/ 2147483647 w 80"/>
              <a:gd name="T7" fmla="*/ 2147483647 h 94"/>
              <a:gd name="T8" fmla="*/ 2147483647 w 80"/>
              <a:gd name="T9" fmla="*/ 2147483647 h 94"/>
              <a:gd name="T10" fmla="*/ 2147483647 w 80"/>
              <a:gd name="T11" fmla="*/ 2147483647 h 94"/>
              <a:gd name="T12" fmla="*/ 2147483647 w 80"/>
              <a:gd name="T13" fmla="*/ 2147483647 h 94"/>
              <a:gd name="T14" fmla="*/ 2147483647 w 80"/>
              <a:gd name="T15" fmla="*/ 2147483647 h 94"/>
              <a:gd name="T16" fmla="*/ 2147483647 w 80"/>
              <a:gd name="T17" fmla="*/ 2147483647 h 94"/>
              <a:gd name="T18" fmla="*/ 2147483647 w 80"/>
              <a:gd name="T19" fmla="*/ 2147483647 h 94"/>
              <a:gd name="T20" fmla="*/ 2147483647 w 80"/>
              <a:gd name="T21" fmla="*/ 2147483647 h 94"/>
              <a:gd name="T22" fmla="*/ 2147483647 w 80"/>
              <a:gd name="T23" fmla="*/ 2147483647 h 94"/>
              <a:gd name="T24" fmla="*/ 2147483647 w 80"/>
              <a:gd name="T25" fmla="*/ 2147483647 h 94"/>
              <a:gd name="T26" fmla="*/ 2147483647 w 80"/>
              <a:gd name="T27" fmla="*/ 2147483647 h 94"/>
              <a:gd name="T28" fmla="*/ 2147483647 w 80"/>
              <a:gd name="T29" fmla="*/ 2147483647 h 94"/>
              <a:gd name="T30" fmla="*/ 2147483647 w 80"/>
              <a:gd name="T31" fmla="*/ 2147483647 h 94"/>
              <a:gd name="T32" fmla="*/ 2147483647 w 80"/>
              <a:gd name="T33" fmla="*/ 2147483647 h 94"/>
              <a:gd name="T34" fmla="*/ 2147483647 w 80"/>
              <a:gd name="T35" fmla="*/ 2147483647 h 94"/>
              <a:gd name="T36" fmla="*/ 2147483647 w 80"/>
              <a:gd name="T37" fmla="*/ 2147483647 h 94"/>
              <a:gd name="T38" fmla="*/ 2147483647 w 80"/>
              <a:gd name="T39" fmla="*/ 2147483647 h 94"/>
              <a:gd name="T40" fmla="*/ 2147483647 w 80"/>
              <a:gd name="T41" fmla="*/ 2147483647 h 94"/>
              <a:gd name="T42" fmla="*/ 2147483647 w 80"/>
              <a:gd name="T43" fmla="*/ 2147483647 h 94"/>
              <a:gd name="T44" fmla="*/ 2147483647 w 80"/>
              <a:gd name="T45" fmla="*/ 2147483647 h 94"/>
              <a:gd name="T46" fmla="*/ 2147483647 w 80"/>
              <a:gd name="T47" fmla="*/ 2147483647 h 94"/>
              <a:gd name="T48" fmla="*/ 2147483647 w 80"/>
              <a:gd name="T49" fmla="*/ 2147483647 h 94"/>
              <a:gd name="T50" fmla="*/ 0 w 80"/>
              <a:gd name="T51" fmla="*/ 2147483647 h 94"/>
              <a:gd name="T52" fmla="*/ 2147483647 w 80"/>
              <a:gd name="T53" fmla="*/ 2147483647 h 94"/>
              <a:gd name="T54" fmla="*/ 2147483647 w 80"/>
              <a:gd name="T55" fmla="*/ 2147483647 h 94"/>
              <a:gd name="T56" fmla="*/ 2147483647 w 80"/>
              <a:gd name="T57" fmla="*/ 2147483647 h 94"/>
              <a:gd name="T58" fmla="*/ 2147483647 w 80"/>
              <a:gd name="T59" fmla="*/ 2147483647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8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830628" y="5540003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9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602028" y="2855540"/>
            <a:ext cx="131762" cy="84138"/>
          </a:xfrm>
          <a:custGeom>
            <a:avLst/>
            <a:gdLst>
              <a:gd name="T0" fmla="*/ 2147483647 w 312"/>
              <a:gd name="T1" fmla="*/ 2147483647 h 155"/>
              <a:gd name="T2" fmla="*/ 2147483647 w 312"/>
              <a:gd name="T3" fmla="*/ 2147483647 h 155"/>
              <a:gd name="T4" fmla="*/ 2147483647 w 312"/>
              <a:gd name="T5" fmla="*/ 2147483647 h 155"/>
              <a:gd name="T6" fmla="*/ 2147483647 w 312"/>
              <a:gd name="T7" fmla="*/ 2147483647 h 155"/>
              <a:gd name="T8" fmla="*/ 2147483647 w 312"/>
              <a:gd name="T9" fmla="*/ 2147483647 h 155"/>
              <a:gd name="T10" fmla="*/ 2147483647 w 312"/>
              <a:gd name="T11" fmla="*/ 2147483647 h 155"/>
              <a:gd name="T12" fmla="*/ 2147483647 w 312"/>
              <a:gd name="T13" fmla="*/ 2147483647 h 155"/>
              <a:gd name="T14" fmla="*/ 2147483647 w 312"/>
              <a:gd name="T15" fmla="*/ 2147483647 h 155"/>
              <a:gd name="T16" fmla="*/ 2147483647 w 312"/>
              <a:gd name="T17" fmla="*/ 2147483647 h 155"/>
              <a:gd name="T18" fmla="*/ 2147483647 w 312"/>
              <a:gd name="T19" fmla="*/ 2147483647 h 155"/>
              <a:gd name="T20" fmla="*/ 2147483647 w 312"/>
              <a:gd name="T21" fmla="*/ 2147483647 h 155"/>
              <a:gd name="T22" fmla="*/ 2147483647 w 312"/>
              <a:gd name="T23" fmla="*/ 2147483647 h 155"/>
              <a:gd name="T24" fmla="*/ 2147483647 w 312"/>
              <a:gd name="T25" fmla="*/ 2147483647 h 155"/>
              <a:gd name="T26" fmla="*/ 2147483647 w 312"/>
              <a:gd name="T27" fmla="*/ 2147483647 h 155"/>
              <a:gd name="T28" fmla="*/ 2147483647 w 312"/>
              <a:gd name="T29" fmla="*/ 2147483647 h 155"/>
              <a:gd name="T30" fmla="*/ 2147483647 w 312"/>
              <a:gd name="T31" fmla="*/ 2147483647 h 155"/>
              <a:gd name="T32" fmla="*/ 2147483647 w 312"/>
              <a:gd name="T33" fmla="*/ 2147483647 h 155"/>
              <a:gd name="T34" fmla="*/ 2147483647 w 312"/>
              <a:gd name="T35" fmla="*/ 2147483647 h 155"/>
              <a:gd name="T36" fmla="*/ 2147483647 w 312"/>
              <a:gd name="T37" fmla="*/ 2147483647 h 155"/>
              <a:gd name="T38" fmla="*/ 2147483647 w 312"/>
              <a:gd name="T39" fmla="*/ 2147483647 h 155"/>
              <a:gd name="T40" fmla="*/ 2147483647 w 312"/>
              <a:gd name="T41" fmla="*/ 2147483647 h 155"/>
              <a:gd name="T42" fmla="*/ 2147483647 w 312"/>
              <a:gd name="T43" fmla="*/ 2147483647 h 155"/>
              <a:gd name="T44" fmla="*/ 2147483647 w 312"/>
              <a:gd name="T45" fmla="*/ 2147483647 h 155"/>
              <a:gd name="T46" fmla="*/ 2147483647 w 312"/>
              <a:gd name="T47" fmla="*/ 2147483647 h 155"/>
              <a:gd name="T48" fmla="*/ 2147483647 w 312"/>
              <a:gd name="T49" fmla="*/ 2147483647 h 155"/>
              <a:gd name="T50" fmla="*/ 2147483647 w 312"/>
              <a:gd name="T51" fmla="*/ 2147483647 h 155"/>
              <a:gd name="T52" fmla="*/ 2147483647 w 312"/>
              <a:gd name="T53" fmla="*/ 2147483647 h 155"/>
              <a:gd name="T54" fmla="*/ 2147483647 w 312"/>
              <a:gd name="T55" fmla="*/ 2147483647 h 155"/>
              <a:gd name="T56" fmla="*/ 2147483647 w 312"/>
              <a:gd name="T57" fmla="*/ 2147483647 h 155"/>
              <a:gd name="T58" fmla="*/ 2147483647 w 312"/>
              <a:gd name="T59" fmla="*/ 2147483647 h 155"/>
              <a:gd name="T60" fmla="*/ 2147483647 w 312"/>
              <a:gd name="T61" fmla="*/ 2147483647 h 155"/>
              <a:gd name="T62" fmla="*/ 2147483647 w 312"/>
              <a:gd name="T63" fmla="*/ 2147483647 h 155"/>
              <a:gd name="T64" fmla="*/ 2147483647 w 312"/>
              <a:gd name="T65" fmla="*/ 2147483647 h 155"/>
              <a:gd name="T66" fmla="*/ 2147483647 w 312"/>
              <a:gd name="T67" fmla="*/ 2147483647 h 155"/>
              <a:gd name="T68" fmla="*/ 2147483647 w 312"/>
              <a:gd name="T69" fmla="*/ 2147483647 h 155"/>
              <a:gd name="T70" fmla="*/ 2147483647 w 312"/>
              <a:gd name="T71" fmla="*/ 0 h 155"/>
              <a:gd name="T72" fmla="*/ 2147483647 w 312"/>
              <a:gd name="T73" fmla="*/ 2147483647 h 155"/>
              <a:gd name="T74" fmla="*/ 2147483647 w 312"/>
              <a:gd name="T75" fmla="*/ 2147483647 h 155"/>
              <a:gd name="T76" fmla="*/ 2147483647 w 312"/>
              <a:gd name="T77" fmla="*/ 2147483647 h 155"/>
              <a:gd name="T78" fmla="*/ 2147483647 w 312"/>
              <a:gd name="T79" fmla="*/ 2147483647 h 155"/>
              <a:gd name="T80" fmla="*/ 2147483647 w 312"/>
              <a:gd name="T81" fmla="*/ 2147483647 h 155"/>
              <a:gd name="T82" fmla="*/ 2147483647 w 312"/>
              <a:gd name="T83" fmla="*/ 2147483647 h 155"/>
              <a:gd name="T84" fmla="*/ 2147483647 w 312"/>
              <a:gd name="T85" fmla="*/ 2147483647 h 155"/>
              <a:gd name="T86" fmla="*/ 2147483647 w 312"/>
              <a:gd name="T87" fmla="*/ 2147483647 h 155"/>
              <a:gd name="T88" fmla="*/ 2147483647 w 312"/>
              <a:gd name="T89" fmla="*/ 2147483647 h 155"/>
              <a:gd name="T90" fmla="*/ 2147483647 w 312"/>
              <a:gd name="T91" fmla="*/ 2147483647 h 155"/>
              <a:gd name="T92" fmla="*/ 2147483647 w 312"/>
              <a:gd name="T93" fmla="*/ 2147483647 h 155"/>
              <a:gd name="T94" fmla="*/ 2147483647 w 312"/>
              <a:gd name="T95" fmla="*/ 2147483647 h 155"/>
              <a:gd name="T96" fmla="*/ 2147483647 w 312"/>
              <a:gd name="T97" fmla="*/ 2147483647 h 155"/>
              <a:gd name="T98" fmla="*/ 2147483647 w 312"/>
              <a:gd name="T99" fmla="*/ 2147483647 h 155"/>
              <a:gd name="T100" fmla="*/ 2147483647 w 312"/>
              <a:gd name="T101" fmla="*/ 2147483647 h 155"/>
              <a:gd name="T102" fmla="*/ 2147483647 w 312"/>
              <a:gd name="T103" fmla="*/ 2147483647 h 155"/>
              <a:gd name="T104" fmla="*/ 2147483647 w 312"/>
              <a:gd name="T105" fmla="*/ 2147483647 h 155"/>
              <a:gd name="T106" fmla="*/ 2147483647 w 312"/>
              <a:gd name="T107" fmla="*/ 2147483647 h 155"/>
              <a:gd name="T108" fmla="*/ 2147483647 w 312"/>
              <a:gd name="T109" fmla="*/ 2147483647 h 155"/>
              <a:gd name="T110" fmla="*/ 2147483647 w 312"/>
              <a:gd name="T111" fmla="*/ 2147483647 h 155"/>
              <a:gd name="T112" fmla="*/ 2147483647 w 312"/>
              <a:gd name="T113" fmla="*/ 2147483647 h 155"/>
              <a:gd name="T114" fmla="*/ 0 w 312"/>
              <a:gd name="T115" fmla="*/ 2147483647 h 155"/>
              <a:gd name="T116" fmla="*/ 2147483647 w 312"/>
              <a:gd name="T117" fmla="*/ 2147483647 h 155"/>
              <a:gd name="T118" fmla="*/ 2147483647 w 312"/>
              <a:gd name="T119" fmla="*/ 2147483647 h 155"/>
              <a:gd name="T120" fmla="*/ 2147483647 w 312"/>
              <a:gd name="T121" fmla="*/ 2147483647 h 155"/>
              <a:gd name="T122" fmla="*/ 2147483647 w 3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360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308340" y="3041278"/>
            <a:ext cx="19050" cy="60325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2147483647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0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2147483647 w 46"/>
              <a:gd name="T23" fmla="*/ 2147483647 h 50"/>
              <a:gd name="T24" fmla="*/ 2147483647 w 46"/>
              <a:gd name="T25" fmla="*/ 2147483647 h 50"/>
              <a:gd name="T26" fmla="*/ 2147483647 w 46"/>
              <a:gd name="T27" fmla="*/ 2147483647 h 50"/>
              <a:gd name="T28" fmla="*/ 0 w 46"/>
              <a:gd name="T29" fmla="*/ 2147483647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61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5005253" y="4925640"/>
            <a:ext cx="69850" cy="241300"/>
          </a:xfrm>
          <a:custGeom>
            <a:avLst/>
            <a:gdLst>
              <a:gd name="T0" fmla="*/ 2147483647 w 166"/>
              <a:gd name="T1" fmla="*/ 2147483647 h 456"/>
              <a:gd name="T2" fmla="*/ 2147483647 w 166"/>
              <a:gd name="T3" fmla="*/ 2147483647 h 456"/>
              <a:gd name="T4" fmla="*/ 2147483647 w 166"/>
              <a:gd name="T5" fmla="*/ 2147483647 h 456"/>
              <a:gd name="T6" fmla="*/ 2147483647 w 166"/>
              <a:gd name="T7" fmla="*/ 2147483647 h 456"/>
              <a:gd name="T8" fmla="*/ 2147483647 w 166"/>
              <a:gd name="T9" fmla="*/ 2147483647 h 456"/>
              <a:gd name="T10" fmla="*/ 2147483647 w 166"/>
              <a:gd name="T11" fmla="*/ 2147483647 h 456"/>
              <a:gd name="T12" fmla="*/ 2147483647 w 166"/>
              <a:gd name="T13" fmla="*/ 2147483647 h 456"/>
              <a:gd name="T14" fmla="*/ 2147483647 w 166"/>
              <a:gd name="T15" fmla="*/ 2147483647 h 456"/>
              <a:gd name="T16" fmla="*/ 2147483647 w 166"/>
              <a:gd name="T17" fmla="*/ 2147483647 h 456"/>
              <a:gd name="T18" fmla="*/ 2147483647 w 166"/>
              <a:gd name="T19" fmla="*/ 2147483647 h 456"/>
              <a:gd name="T20" fmla="*/ 2147483647 w 166"/>
              <a:gd name="T21" fmla="*/ 2147483647 h 456"/>
              <a:gd name="T22" fmla="*/ 2147483647 w 166"/>
              <a:gd name="T23" fmla="*/ 2147483647 h 456"/>
              <a:gd name="T24" fmla="*/ 2147483647 w 166"/>
              <a:gd name="T25" fmla="*/ 2147483647 h 456"/>
              <a:gd name="T26" fmla="*/ 2147483647 w 166"/>
              <a:gd name="T27" fmla="*/ 2147483647 h 456"/>
              <a:gd name="T28" fmla="*/ 2147483647 w 166"/>
              <a:gd name="T29" fmla="*/ 2147483647 h 456"/>
              <a:gd name="T30" fmla="*/ 2147483647 w 166"/>
              <a:gd name="T31" fmla="*/ 2147483647 h 456"/>
              <a:gd name="T32" fmla="*/ 2147483647 w 166"/>
              <a:gd name="T33" fmla="*/ 2147483647 h 456"/>
              <a:gd name="T34" fmla="*/ 2147483647 w 166"/>
              <a:gd name="T35" fmla="*/ 2147483647 h 456"/>
              <a:gd name="T36" fmla="*/ 2147483647 w 166"/>
              <a:gd name="T37" fmla="*/ 2147483647 h 456"/>
              <a:gd name="T38" fmla="*/ 2147483647 w 166"/>
              <a:gd name="T39" fmla="*/ 2147483647 h 456"/>
              <a:gd name="T40" fmla="*/ 2147483647 w 166"/>
              <a:gd name="T41" fmla="*/ 2147483647 h 456"/>
              <a:gd name="T42" fmla="*/ 2147483647 w 166"/>
              <a:gd name="T43" fmla="*/ 2147483647 h 456"/>
              <a:gd name="T44" fmla="*/ 2147483647 w 166"/>
              <a:gd name="T45" fmla="*/ 2147483647 h 456"/>
              <a:gd name="T46" fmla="*/ 2147483647 w 166"/>
              <a:gd name="T47" fmla="*/ 2147483647 h 456"/>
              <a:gd name="T48" fmla="*/ 2147483647 w 166"/>
              <a:gd name="T49" fmla="*/ 2147483647 h 456"/>
              <a:gd name="T50" fmla="*/ 2147483647 w 166"/>
              <a:gd name="T51" fmla="*/ 2147483647 h 456"/>
              <a:gd name="T52" fmla="*/ 2147483647 w 166"/>
              <a:gd name="T53" fmla="*/ 2147483647 h 456"/>
              <a:gd name="T54" fmla="*/ 2147483647 w 166"/>
              <a:gd name="T55" fmla="*/ 2147483647 h 456"/>
              <a:gd name="T56" fmla="*/ 2147483647 w 166"/>
              <a:gd name="T57" fmla="*/ 2147483647 h 456"/>
              <a:gd name="T58" fmla="*/ 2147483647 w 166"/>
              <a:gd name="T59" fmla="*/ 2147483647 h 456"/>
              <a:gd name="T60" fmla="*/ 2147483647 w 166"/>
              <a:gd name="T61" fmla="*/ 2147483647 h 456"/>
              <a:gd name="T62" fmla="*/ 2147483647 w 166"/>
              <a:gd name="T63" fmla="*/ 2147483647 h 456"/>
              <a:gd name="T64" fmla="*/ 2147483647 w 166"/>
              <a:gd name="T65" fmla="*/ 2147483647 h 456"/>
              <a:gd name="T66" fmla="*/ 2147483647 w 166"/>
              <a:gd name="T67" fmla="*/ 2147483647 h 456"/>
              <a:gd name="T68" fmla="*/ 2147483647 w 166"/>
              <a:gd name="T69" fmla="*/ 2147483647 h 456"/>
              <a:gd name="T70" fmla="*/ 2147483647 w 166"/>
              <a:gd name="T71" fmla="*/ 2147483647 h 456"/>
              <a:gd name="T72" fmla="*/ 2147483647 w 166"/>
              <a:gd name="T73" fmla="*/ 2147483647 h 456"/>
              <a:gd name="T74" fmla="*/ 2147483647 w 166"/>
              <a:gd name="T75" fmla="*/ 2147483647 h 456"/>
              <a:gd name="T76" fmla="*/ 2147483647 w 166"/>
              <a:gd name="T77" fmla="*/ 2147483647 h 456"/>
              <a:gd name="T78" fmla="*/ 2147483647 w 166"/>
              <a:gd name="T79" fmla="*/ 2147483647 h 456"/>
              <a:gd name="T80" fmla="*/ 2147483647 w 166"/>
              <a:gd name="T81" fmla="*/ 2147483647 h 456"/>
              <a:gd name="T82" fmla="*/ 2147483647 w 166"/>
              <a:gd name="T83" fmla="*/ 2147483647 h 456"/>
              <a:gd name="T84" fmla="*/ 2147483647 w 166"/>
              <a:gd name="T85" fmla="*/ 2147483647 h 456"/>
              <a:gd name="T86" fmla="*/ 2147483647 w 166"/>
              <a:gd name="T87" fmla="*/ 2147483647 h 456"/>
              <a:gd name="T88" fmla="*/ 2147483647 w 166"/>
              <a:gd name="T89" fmla="*/ 2147483647 h 456"/>
              <a:gd name="T90" fmla="*/ 2147483647 w 166"/>
              <a:gd name="T91" fmla="*/ 2147483647 h 456"/>
              <a:gd name="T92" fmla="*/ 2147483647 w 166"/>
              <a:gd name="T93" fmla="*/ 2147483647 h 456"/>
              <a:gd name="T94" fmla="*/ 2147483647 w 166"/>
              <a:gd name="T95" fmla="*/ 2147483647 h 456"/>
              <a:gd name="T96" fmla="*/ 2147483647 w 166"/>
              <a:gd name="T97" fmla="*/ 2147483647 h 456"/>
              <a:gd name="T98" fmla="*/ 2147483647 w 166"/>
              <a:gd name="T99" fmla="*/ 2147483647 h 456"/>
              <a:gd name="T100" fmla="*/ 2147483647 w 166"/>
              <a:gd name="T101" fmla="*/ 2147483647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2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497253" y="3496890"/>
            <a:ext cx="14287" cy="57150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3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816340" y="5117728"/>
            <a:ext cx="188913" cy="217487"/>
          </a:xfrm>
          <a:custGeom>
            <a:avLst/>
            <a:gdLst>
              <a:gd name="T0" fmla="*/ 2147483647 w 438"/>
              <a:gd name="T1" fmla="*/ 2147483647 h 406"/>
              <a:gd name="T2" fmla="*/ 2147483647 w 438"/>
              <a:gd name="T3" fmla="*/ 2147483647 h 406"/>
              <a:gd name="T4" fmla="*/ 2147483647 w 438"/>
              <a:gd name="T5" fmla="*/ 2147483647 h 406"/>
              <a:gd name="T6" fmla="*/ 2147483647 w 438"/>
              <a:gd name="T7" fmla="*/ 2147483647 h 406"/>
              <a:gd name="T8" fmla="*/ 2147483647 w 438"/>
              <a:gd name="T9" fmla="*/ 2147483647 h 406"/>
              <a:gd name="T10" fmla="*/ 2147483647 w 438"/>
              <a:gd name="T11" fmla="*/ 2147483647 h 406"/>
              <a:gd name="T12" fmla="*/ 2147483647 w 438"/>
              <a:gd name="T13" fmla="*/ 2147483647 h 406"/>
              <a:gd name="T14" fmla="*/ 2147483647 w 438"/>
              <a:gd name="T15" fmla="*/ 2147483647 h 406"/>
              <a:gd name="T16" fmla="*/ 2147483647 w 438"/>
              <a:gd name="T17" fmla="*/ 2147483647 h 406"/>
              <a:gd name="T18" fmla="*/ 2147483647 w 438"/>
              <a:gd name="T19" fmla="*/ 2147483647 h 406"/>
              <a:gd name="T20" fmla="*/ 2147483647 w 438"/>
              <a:gd name="T21" fmla="*/ 2147483647 h 406"/>
              <a:gd name="T22" fmla="*/ 2147483647 w 438"/>
              <a:gd name="T23" fmla="*/ 2147483647 h 406"/>
              <a:gd name="T24" fmla="*/ 2147483647 w 438"/>
              <a:gd name="T25" fmla="*/ 2147483647 h 406"/>
              <a:gd name="T26" fmla="*/ 2147483647 w 438"/>
              <a:gd name="T27" fmla="*/ 2147483647 h 406"/>
              <a:gd name="T28" fmla="*/ 2147483647 w 438"/>
              <a:gd name="T29" fmla="*/ 2147483647 h 406"/>
              <a:gd name="T30" fmla="*/ 2147483647 w 438"/>
              <a:gd name="T31" fmla="*/ 2147483647 h 406"/>
              <a:gd name="T32" fmla="*/ 2147483647 w 438"/>
              <a:gd name="T33" fmla="*/ 2147483647 h 406"/>
              <a:gd name="T34" fmla="*/ 2147483647 w 438"/>
              <a:gd name="T35" fmla="*/ 2147483647 h 406"/>
              <a:gd name="T36" fmla="*/ 2147483647 w 438"/>
              <a:gd name="T37" fmla="*/ 2147483647 h 406"/>
              <a:gd name="T38" fmla="*/ 2147483647 w 438"/>
              <a:gd name="T39" fmla="*/ 2147483647 h 406"/>
              <a:gd name="T40" fmla="*/ 2147483647 w 438"/>
              <a:gd name="T41" fmla="*/ 2147483647 h 406"/>
              <a:gd name="T42" fmla="*/ 2147483647 w 438"/>
              <a:gd name="T43" fmla="*/ 2147483647 h 406"/>
              <a:gd name="T44" fmla="*/ 2147483647 w 438"/>
              <a:gd name="T45" fmla="*/ 2147483647 h 406"/>
              <a:gd name="T46" fmla="*/ 2147483647 w 438"/>
              <a:gd name="T47" fmla="*/ 2147483647 h 406"/>
              <a:gd name="T48" fmla="*/ 2147483647 w 438"/>
              <a:gd name="T49" fmla="*/ 2147483647 h 406"/>
              <a:gd name="T50" fmla="*/ 2147483647 w 438"/>
              <a:gd name="T51" fmla="*/ 2147483647 h 406"/>
              <a:gd name="T52" fmla="*/ 2147483647 w 438"/>
              <a:gd name="T53" fmla="*/ 2147483647 h 406"/>
              <a:gd name="T54" fmla="*/ 2147483647 w 438"/>
              <a:gd name="T55" fmla="*/ 2147483647 h 406"/>
              <a:gd name="T56" fmla="*/ 2147483647 w 438"/>
              <a:gd name="T57" fmla="*/ 2147483647 h 406"/>
              <a:gd name="T58" fmla="*/ 2147483647 w 438"/>
              <a:gd name="T59" fmla="*/ 2147483647 h 406"/>
              <a:gd name="T60" fmla="*/ 2147483647 w 438"/>
              <a:gd name="T61" fmla="*/ 2147483647 h 406"/>
              <a:gd name="T62" fmla="*/ 2147483647 w 438"/>
              <a:gd name="T63" fmla="*/ 2147483647 h 406"/>
              <a:gd name="T64" fmla="*/ 0 w 438"/>
              <a:gd name="T65" fmla="*/ 2147483647 h 406"/>
              <a:gd name="T66" fmla="*/ 2147483647 w 438"/>
              <a:gd name="T67" fmla="*/ 2147483647 h 406"/>
              <a:gd name="T68" fmla="*/ 2147483647 w 438"/>
              <a:gd name="T69" fmla="*/ 2147483647 h 406"/>
              <a:gd name="T70" fmla="*/ 2147483647 w 438"/>
              <a:gd name="T71" fmla="*/ 2147483647 h 406"/>
              <a:gd name="T72" fmla="*/ 2147483647 w 438"/>
              <a:gd name="T73" fmla="*/ 2147483647 h 406"/>
              <a:gd name="T74" fmla="*/ 2147483647 w 438"/>
              <a:gd name="T75" fmla="*/ 2147483647 h 406"/>
              <a:gd name="T76" fmla="*/ 2147483647 w 438"/>
              <a:gd name="T77" fmla="*/ 2147483647 h 406"/>
              <a:gd name="T78" fmla="*/ 2147483647 w 438"/>
              <a:gd name="T79" fmla="*/ 2147483647 h 406"/>
              <a:gd name="T80" fmla="*/ 2147483647 w 438"/>
              <a:gd name="T81" fmla="*/ 2147483647 h 406"/>
              <a:gd name="T82" fmla="*/ 2147483647 w 438"/>
              <a:gd name="T83" fmla="*/ 2147483647 h 406"/>
              <a:gd name="T84" fmla="*/ 2147483647 w 438"/>
              <a:gd name="T85" fmla="*/ 2147483647 h 406"/>
              <a:gd name="T86" fmla="*/ 2147483647 w 438"/>
              <a:gd name="T87" fmla="*/ 2147483647 h 406"/>
              <a:gd name="T88" fmla="*/ 2147483647 w 438"/>
              <a:gd name="T89" fmla="*/ 2147483647 h 406"/>
              <a:gd name="T90" fmla="*/ 2147483647 w 438"/>
              <a:gd name="T91" fmla="*/ 2147483647 h 406"/>
              <a:gd name="T92" fmla="*/ 2147483647 w 438"/>
              <a:gd name="T93" fmla="*/ 2147483647 h 406"/>
              <a:gd name="T94" fmla="*/ 2147483647 w 438"/>
              <a:gd name="T95" fmla="*/ 2147483647 h 406"/>
              <a:gd name="T96" fmla="*/ 2147483647 w 438"/>
              <a:gd name="T97" fmla="*/ 2147483647 h 406"/>
              <a:gd name="T98" fmla="*/ 2147483647 w 438"/>
              <a:gd name="T99" fmla="*/ 2147483647 h 406"/>
              <a:gd name="T100" fmla="*/ 2147483647 w 438"/>
              <a:gd name="T101" fmla="*/ 2147483647 h 406"/>
              <a:gd name="T102" fmla="*/ 2147483647 w 438"/>
              <a:gd name="T103" fmla="*/ 2147483647 h 406"/>
              <a:gd name="T104" fmla="*/ 2147483647 w 438"/>
              <a:gd name="T105" fmla="*/ 2147483647 h 406"/>
              <a:gd name="T106" fmla="*/ 2147483647 w 438"/>
              <a:gd name="T107" fmla="*/ 2147483647 h 406"/>
              <a:gd name="T108" fmla="*/ 2147483647 w 438"/>
              <a:gd name="T109" fmla="*/ 2147483647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4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729028" y="4893890"/>
            <a:ext cx="293687" cy="300038"/>
          </a:xfrm>
          <a:custGeom>
            <a:avLst/>
            <a:gdLst>
              <a:gd name="T0" fmla="*/ 2147483647 w 678"/>
              <a:gd name="T1" fmla="*/ 2147483647 h 574"/>
              <a:gd name="T2" fmla="*/ 2147483647 w 678"/>
              <a:gd name="T3" fmla="*/ 2147483647 h 574"/>
              <a:gd name="T4" fmla="*/ 2147483647 w 678"/>
              <a:gd name="T5" fmla="*/ 2147483647 h 574"/>
              <a:gd name="T6" fmla="*/ 2147483647 w 678"/>
              <a:gd name="T7" fmla="*/ 2147483647 h 574"/>
              <a:gd name="T8" fmla="*/ 2147483647 w 678"/>
              <a:gd name="T9" fmla="*/ 2147483647 h 574"/>
              <a:gd name="T10" fmla="*/ 2147483647 w 678"/>
              <a:gd name="T11" fmla="*/ 2147483647 h 574"/>
              <a:gd name="T12" fmla="*/ 2147483647 w 678"/>
              <a:gd name="T13" fmla="*/ 2147483647 h 574"/>
              <a:gd name="T14" fmla="*/ 2147483647 w 678"/>
              <a:gd name="T15" fmla="*/ 2147483647 h 574"/>
              <a:gd name="T16" fmla="*/ 2147483647 w 678"/>
              <a:gd name="T17" fmla="*/ 2147483647 h 574"/>
              <a:gd name="T18" fmla="*/ 2147483647 w 678"/>
              <a:gd name="T19" fmla="*/ 2147483647 h 574"/>
              <a:gd name="T20" fmla="*/ 2147483647 w 678"/>
              <a:gd name="T21" fmla="*/ 2147483647 h 574"/>
              <a:gd name="T22" fmla="*/ 2147483647 w 678"/>
              <a:gd name="T23" fmla="*/ 2147483647 h 574"/>
              <a:gd name="T24" fmla="*/ 2147483647 w 678"/>
              <a:gd name="T25" fmla="*/ 2147483647 h 574"/>
              <a:gd name="T26" fmla="*/ 2147483647 w 678"/>
              <a:gd name="T27" fmla="*/ 2147483647 h 574"/>
              <a:gd name="T28" fmla="*/ 2147483647 w 678"/>
              <a:gd name="T29" fmla="*/ 2147483647 h 574"/>
              <a:gd name="T30" fmla="*/ 2147483647 w 678"/>
              <a:gd name="T31" fmla="*/ 2147483647 h 574"/>
              <a:gd name="T32" fmla="*/ 2147483647 w 678"/>
              <a:gd name="T33" fmla="*/ 2147483647 h 574"/>
              <a:gd name="T34" fmla="*/ 2147483647 w 678"/>
              <a:gd name="T35" fmla="*/ 2147483647 h 574"/>
              <a:gd name="T36" fmla="*/ 2147483647 w 678"/>
              <a:gd name="T37" fmla="*/ 2147483647 h 574"/>
              <a:gd name="T38" fmla="*/ 2147483647 w 678"/>
              <a:gd name="T39" fmla="*/ 2147483647 h 574"/>
              <a:gd name="T40" fmla="*/ 2147483647 w 678"/>
              <a:gd name="T41" fmla="*/ 2147483647 h 574"/>
              <a:gd name="T42" fmla="*/ 2147483647 w 678"/>
              <a:gd name="T43" fmla="*/ 2147483647 h 574"/>
              <a:gd name="T44" fmla="*/ 2147483647 w 678"/>
              <a:gd name="T45" fmla="*/ 2147483647 h 574"/>
              <a:gd name="T46" fmla="*/ 2147483647 w 678"/>
              <a:gd name="T47" fmla="*/ 2147483647 h 574"/>
              <a:gd name="T48" fmla="*/ 2147483647 w 678"/>
              <a:gd name="T49" fmla="*/ 2147483647 h 574"/>
              <a:gd name="T50" fmla="*/ 2147483647 w 678"/>
              <a:gd name="T51" fmla="*/ 2147483647 h 574"/>
              <a:gd name="T52" fmla="*/ 2147483647 w 678"/>
              <a:gd name="T53" fmla="*/ 2147483647 h 574"/>
              <a:gd name="T54" fmla="*/ 2147483647 w 678"/>
              <a:gd name="T55" fmla="*/ 2147483647 h 574"/>
              <a:gd name="T56" fmla="*/ 2147483647 w 678"/>
              <a:gd name="T57" fmla="*/ 2147483647 h 574"/>
              <a:gd name="T58" fmla="*/ 2147483647 w 678"/>
              <a:gd name="T59" fmla="*/ 2147483647 h 574"/>
              <a:gd name="T60" fmla="*/ 2147483647 w 678"/>
              <a:gd name="T61" fmla="*/ 2147483647 h 574"/>
              <a:gd name="T62" fmla="*/ 2147483647 w 678"/>
              <a:gd name="T63" fmla="*/ 2147483647 h 574"/>
              <a:gd name="T64" fmla="*/ 0 w 678"/>
              <a:gd name="T65" fmla="*/ 2147483647 h 574"/>
              <a:gd name="T66" fmla="*/ 2147483647 w 678"/>
              <a:gd name="T67" fmla="*/ 2147483647 h 574"/>
              <a:gd name="T68" fmla="*/ 2147483647 w 678"/>
              <a:gd name="T69" fmla="*/ 2147483647 h 574"/>
              <a:gd name="T70" fmla="*/ 2147483647 w 678"/>
              <a:gd name="T71" fmla="*/ 2147483647 h 574"/>
              <a:gd name="T72" fmla="*/ 2147483647 w 678"/>
              <a:gd name="T73" fmla="*/ 2147483647 h 574"/>
              <a:gd name="T74" fmla="*/ 2147483647 w 678"/>
              <a:gd name="T75" fmla="*/ 2147483647 h 574"/>
              <a:gd name="T76" fmla="*/ 2147483647 w 678"/>
              <a:gd name="T77" fmla="*/ 2147483647 h 574"/>
              <a:gd name="T78" fmla="*/ 2147483647 w 678"/>
              <a:gd name="T79" fmla="*/ 2147483647 h 574"/>
              <a:gd name="T80" fmla="*/ 2147483647 w 678"/>
              <a:gd name="T81" fmla="*/ 2147483647 h 574"/>
              <a:gd name="T82" fmla="*/ 2147483647 w 678"/>
              <a:gd name="T83" fmla="*/ 2147483647 h 574"/>
              <a:gd name="T84" fmla="*/ 2147483647 w 678"/>
              <a:gd name="T85" fmla="*/ 2147483647 h 574"/>
              <a:gd name="T86" fmla="*/ 2147483647 w 678"/>
              <a:gd name="T87" fmla="*/ 2147483647 h 574"/>
              <a:gd name="T88" fmla="*/ 2147483647 w 678"/>
              <a:gd name="T89" fmla="*/ 2147483647 h 574"/>
              <a:gd name="T90" fmla="*/ 2147483647 w 678"/>
              <a:gd name="T91" fmla="*/ 2147483647 h 574"/>
              <a:gd name="T92" fmla="*/ 2147483647 w 678"/>
              <a:gd name="T93" fmla="*/ 2147483647 h 574"/>
              <a:gd name="T94" fmla="*/ 2147483647 w 678"/>
              <a:gd name="T95" fmla="*/ 2147483647 h 574"/>
              <a:gd name="T96" fmla="*/ 2147483647 w 678"/>
              <a:gd name="T97" fmla="*/ 2147483647 h 574"/>
              <a:gd name="T98" fmla="*/ 2147483647 w 678"/>
              <a:gd name="T99" fmla="*/ 2147483647 h 574"/>
              <a:gd name="T100" fmla="*/ 2147483647 w 678"/>
              <a:gd name="T101" fmla="*/ 2147483647 h 574"/>
              <a:gd name="T102" fmla="*/ 2147483647 w 678"/>
              <a:gd name="T103" fmla="*/ 2147483647 h 574"/>
              <a:gd name="T104" fmla="*/ 2147483647 w 678"/>
              <a:gd name="T105" fmla="*/ 2147483647 h 574"/>
              <a:gd name="T106" fmla="*/ 2147483647 w 678"/>
              <a:gd name="T107" fmla="*/ 2147483647 h 574"/>
              <a:gd name="T108" fmla="*/ 2147483647 w 678"/>
              <a:gd name="T109" fmla="*/ 2147483647 h 574"/>
              <a:gd name="T110" fmla="*/ 2147483647 w 678"/>
              <a:gd name="T111" fmla="*/ 2147483647 h 574"/>
              <a:gd name="T112" fmla="*/ 2147483647 w 678"/>
              <a:gd name="T113" fmla="*/ 2147483647 h 574"/>
              <a:gd name="T114" fmla="*/ 2147483647 w 678"/>
              <a:gd name="T115" fmla="*/ 2147483647 h 574"/>
              <a:gd name="T116" fmla="*/ 2147483647 w 678"/>
              <a:gd name="T117" fmla="*/ 2147483647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5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465503" y="5166940"/>
            <a:ext cx="350837" cy="381000"/>
          </a:xfrm>
          <a:custGeom>
            <a:avLst/>
            <a:gdLst>
              <a:gd name="T0" fmla="*/ 2147483647 w 810"/>
              <a:gd name="T1" fmla="*/ 2147483647 h 727"/>
              <a:gd name="T2" fmla="*/ 2147483647 w 810"/>
              <a:gd name="T3" fmla="*/ 2147483647 h 727"/>
              <a:gd name="T4" fmla="*/ 2147483647 w 810"/>
              <a:gd name="T5" fmla="*/ 2147483647 h 727"/>
              <a:gd name="T6" fmla="*/ 2147483647 w 810"/>
              <a:gd name="T7" fmla="*/ 2147483647 h 727"/>
              <a:gd name="T8" fmla="*/ 2147483647 w 810"/>
              <a:gd name="T9" fmla="*/ 2147483647 h 727"/>
              <a:gd name="T10" fmla="*/ 2147483647 w 810"/>
              <a:gd name="T11" fmla="*/ 2147483647 h 727"/>
              <a:gd name="T12" fmla="*/ 2147483647 w 810"/>
              <a:gd name="T13" fmla="*/ 2147483647 h 727"/>
              <a:gd name="T14" fmla="*/ 2147483647 w 810"/>
              <a:gd name="T15" fmla="*/ 2147483647 h 727"/>
              <a:gd name="T16" fmla="*/ 2147483647 w 810"/>
              <a:gd name="T17" fmla="*/ 0 h 727"/>
              <a:gd name="T18" fmla="*/ 2147483647 w 810"/>
              <a:gd name="T19" fmla="*/ 2147483647 h 727"/>
              <a:gd name="T20" fmla="*/ 2147483647 w 810"/>
              <a:gd name="T21" fmla="*/ 2147483647 h 727"/>
              <a:gd name="T22" fmla="*/ 0 w 810"/>
              <a:gd name="T23" fmla="*/ 2147483647 h 727"/>
              <a:gd name="T24" fmla="*/ 2147483647 w 810"/>
              <a:gd name="T25" fmla="*/ 2147483647 h 727"/>
              <a:gd name="T26" fmla="*/ 2147483647 w 810"/>
              <a:gd name="T27" fmla="*/ 2147483647 h 727"/>
              <a:gd name="T28" fmla="*/ 2147483647 w 810"/>
              <a:gd name="T29" fmla="*/ 2147483647 h 727"/>
              <a:gd name="T30" fmla="*/ 2147483647 w 810"/>
              <a:gd name="T31" fmla="*/ 2147483647 h 727"/>
              <a:gd name="T32" fmla="*/ 2147483647 w 810"/>
              <a:gd name="T33" fmla="*/ 2147483647 h 727"/>
              <a:gd name="T34" fmla="*/ 2147483647 w 810"/>
              <a:gd name="T35" fmla="*/ 2147483647 h 727"/>
              <a:gd name="T36" fmla="*/ 2147483647 w 810"/>
              <a:gd name="T37" fmla="*/ 2147483647 h 727"/>
              <a:gd name="T38" fmla="*/ 2147483647 w 810"/>
              <a:gd name="T39" fmla="*/ 2147483647 h 727"/>
              <a:gd name="T40" fmla="*/ 2147483647 w 810"/>
              <a:gd name="T41" fmla="*/ 2147483647 h 727"/>
              <a:gd name="T42" fmla="*/ 2147483647 w 810"/>
              <a:gd name="T43" fmla="*/ 2147483647 h 727"/>
              <a:gd name="T44" fmla="*/ 2147483647 w 810"/>
              <a:gd name="T45" fmla="*/ 2147483647 h 727"/>
              <a:gd name="T46" fmla="*/ 2147483647 w 810"/>
              <a:gd name="T47" fmla="*/ 2147483647 h 727"/>
              <a:gd name="T48" fmla="*/ 2147483647 w 810"/>
              <a:gd name="T49" fmla="*/ 2147483647 h 727"/>
              <a:gd name="T50" fmla="*/ 2147483647 w 810"/>
              <a:gd name="T51" fmla="*/ 2147483647 h 727"/>
              <a:gd name="T52" fmla="*/ 2147483647 w 810"/>
              <a:gd name="T53" fmla="*/ 2147483647 h 727"/>
              <a:gd name="T54" fmla="*/ 2147483647 w 810"/>
              <a:gd name="T55" fmla="*/ 2147483647 h 727"/>
              <a:gd name="T56" fmla="*/ 2147483647 w 810"/>
              <a:gd name="T57" fmla="*/ 2147483647 h 727"/>
              <a:gd name="T58" fmla="*/ 2147483647 w 810"/>
              <a:gd name="T59" fmla="*/ 2147483647 h 727"/>
              <a:gd name="T60" fmla="*/ 2147483647 w 810"/>
              <a:gd name="T61" fmla="*/ 2147483647 h 727"/>
              <a:gd name="T62" fmla="*/ 2147483647 w 810"/>
              <a:gd name="T63" fmla="*/ 2147483647 h 727"/>
              <a:gd name="T64" fmla="*/ 2147483647 w 810"/>
              <a:gd name="T65" fmla="*/ 2147483647 h 727"/>
              <a:gd name="T66" fmla="*/ 2147483647 w 810"/>
              <a:gd name="T67" fmla="*/ 2147483647 h 727"/>
              <a:gd name="T68" fmla="*/ 2147483647 w 810"/>
              <a:gd name="T69" fmla="*/ 2147483647 h 727"/>
              <a:gd name="T70" fmla="*/ 2147483647 w 810"/>
              <a:gd name="T71" fmla="*/ 2147483647 h 727"/>
              <a:gd name="T72" fmla="*/ 2147483647 w 810"/>
              <a:gd name="T73" fmla="*/ 2147483647 h 727"/>
              <a:gd name="T74" fmla="*/ 2147483647 w 810"/>
              <a:gd name="T75" fmla="*/ 2147483647 h 727"/>
              <a:gd name="T76" fmla="*/ 2147483647 w 810"/>
              <a:gd name="T77" fmla="*/ 2147483647 h 727"/>
              <a:gd name="T78" fmla="*/ 2147483647 w 810"/>
              <a:gd name="T79" fmla="*/ 2147483647 h 727"/>
              <a:gd name="T80" fmla="*/ 2147483647 w 810"/>
              <a:gd name="T81" fmla="*/ 2147483647 h 727"/>
              <a:gd name="T82" fmla="*/ 2147483647 w 810"/>
              <a:gd name="T83" fmla="*/ 2147483647 h 727"/>
              <a:gd name="T84" fmla="*/ 2147483647 w 810"/>
              <a:gd name="T85" fmla="*/ 2147483647 h 727"/>
              <a:gd name="T86" fmla="*/ 2147483647 w 810"/>
              <a:gd name="T87" fmla="*/ 2147483647 h 727"/>
              <a:gd name="T88" fmla="*/ 2147483647 w 810"/>
              <a:gd name="T89" fmla="*/ 2147483647 h 727"/>
              <a:gd name="T90" fmla="*/ 2147483647 w 810"/>
              <a:gd name="T91" fmla="*/ 2147483647 h 727"/>
              <a:gd name="T92" fmla="*/ 2147483647 w 810"/>
              <a:gd name="T93" fmla="*/ 2147483647 h 727"/>
              <a:gd name="T94" fmla="*/ 2147483647 w 810"/>
              <a:gd name="T95" fmla="*/ 2147483647 h 727"/>
              <a:gd name="T96" fmla="*/ 2147483647 w 810"/>
              <a:gd name="T97" fmla="*/ 2147483647 h 727"/>
              <a:gd name="T98" fmla="*/ 2147483647 w 810"/>
              <a:gd name="T99" fmla="*/ 2147483647 h 727"/>
              <a:gd name="T100" fmla="*/ 2147483647 w 810"/>
              <a:gd name="T101" fmla="*/ 2147483647 h 727"/>
              <a:gd name="T102" fmla="*/ 2147483647 w 810"/>
              <a:gd name="T103" fmla="*/ 2147483647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6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744778" y="4096965"/>
            <a:ext cx="161925" cy="141288"/>
          </a:xfrm>
          <a:custGeom>
            <a:avLst/>
            <a:gdLst>
              <a:gd name="T0" fmla="*/ 2147483647 w 365"/>
              <a:gd name="T1" fmla="*/ 2147483647 h 271"/>
              <a:gd name="T2" fmla="*/ 2147483647 w 365"/>
              <a:gd name="T3" fmla="*/ 2147483647 h 271"/>
              <a:gd name="T4" fmla="*/ 2147483647 w 365"/>
              <a:gd name="T5" fmla="*/ 2147483647 h 271"/>
              <a:gd name="T6" fmla="*/ 2147483647 w 365"/>
              <a:gd name="T7" fmla="*/ 2147483647 h 271"/>
              <a:gd name="T8" fmla="*/ 2147483647 w 365"/>
              <a:gd name="T9" fmla="*/ 2147483647 h 271"/>
              <a:gd name="T10" fmla="*/ 2147483647 w 365"/>
              <a:gd name="T11" fmla="*/ 2147483647 h 271"/>
              <a:gd name="T12" fmla="*/ 2147483647 w 365"/>
              <a:gd name="T13" fmla="*/ 2147483647 h 271"/>
              <a:gd name="T14" fmla="*/ 2147483647 w 365"/>
              <a:gd name="T15" fmla="*/ 2147483647 h 271"/>
              <a:gd name="T16" fmla="*/ 2147483647 w 365"/>
              <a:gd name="T17" fmla="*/ 2147483647 h 271"/>
              <a:gd name="T18" fmla="*/ 2147483647 w 365"/>
              <a:gd name="T19" fmla="*/ 2147483647 h 271"/>
              <a:gd name="T20" fmla="*/ 2147483647 w 365"/>
              <a:gd name="T21" fmla="*/ 2147483647 h 271"/>
              <a:gd name="T22" fmla="*/ 2147483647 w 365"/>
              <a:gd name="T23" fmla="*/ 2147483647 h 271"/>
              <a:gd name="T24" fmla="*/ 2147483647 w 365"/>
              <a:gd name="T25" fmla="*/ 2147483647 h 271"/>
              <a:gd name="T26" fmla="*/ 2147483647 w 365"/>
              <a:gd name="T27" fmla="*/ 2147483647 h 271"/>
              <a:gd name="T28" fmla="*/ 2147483647 w 365"/>
              <a:gd name="T29" fmla="*/ 2147483647 h 271"/>
              <a:gd name="T30" fmla="*/ 2147483647 w 365"/>
              <a:gd name="T31" fmla="*/ 2147483647 h 271"/>
              <a:gd name="T32" fmla="*/ 2147483647 w 365"/>
              <a:gd name="T33" fmla="*/ 2147483647 h 271"/>
              <a:gd name="T34" fmla="*/ 2147483647 w 365"/>
              <a:gd name="T35" fmla="*/ 2147483647 h 271"/>
              <a:gd name="T36" fmla="*/ 2147483647 w 365"/>
              <a:gd name="T37" fmla="*/ 2147483647 h 271"/>
              <a:gd name="T38" fmla="*/ 2147483647 w 365"/>
              <a:gd name="T39" fmla="*/ 2147483647 h 271"/>
              <a:gd name="T40" fmla="*/ 2147483647 w 365"/>
              <a:gd name="T41" fmla="*/ 2147483647 h 271"/>
              <a:gd name="T42" fmla="*/ 2147483647 w 365"/>
              <a:gd name="T43" fmla="*/ 2147483647 h 271"/>
              <a:gd name="T44" fmla="*/ 2147483647 w 365"/>
              <a:gd name="T45" fmla="*/ 2147483647 h 271"/>
              <a:gd name="T46" fmla="*/ 2147483647 w 365"/>
              <a:gd name="T47" fmla="*/ 2147483647 h 271"/>
              <a:gd name="T48" fmla="*/ 2147483647 w 365"/>
              <a:gd name="T49" fmla="*/ 2147483647 h 271"/>
              <a:gd name="T50" fmla="*/ 2147483647 w 365"/>
              <a:gd name="T51" fmla="*/ 2147483647 h 271"/>
              <a:gd name="T52" fmla="*/ 2147483647 w 365"/>
              <a:gd name="T53" fmla="*/ 2147483647 h 271"/>
              <a:gd name="T54" fmla="*/ 2147483647 w 365"/>
              <a:gd name="T55" fmla="*/ 2147483647 h 271"/>
              <a:gd name="T56" fmla="*/ 2147483647 w 365"/>
              <a:gd name="T57" fmla="*/ 2147483647 h 271"/>
              <a:gd name="T58" fmla="*/ 2147483647 w 365"/>
              <a:gd name="T59" fmla="*/ 2147483647 h 271"/>
              <a:gd name="T60" fmla="*/ 2147483647 w 365"/>
              <a:gd name="T61" fmla="*/ 2147483647 h 271"/>
              <a:gd name="T62" fmla="*/ 2147483647 w 365"/>
              <a:gd name="T63" fmla="*/ 2147483647 h 271"/>
              <a:gd name="T64" fmla="*/ 0 w 365"/>
              <a:gd name="T65" fmla="*/ 2147483647 h 271"/>
              <a:gd name="T66" fmla="*/ 2147483647 w 365"/>
              <a:gd name="T67" fmla="*/ 2147483647 h 271"/>
              <a:gd name="T68" fmla="*/ 2147483647 w 365"/>
              <a:gd name="T69" fmla="*/ 2147483647 h 271"/>
              <a:gd name="T70" fmla="*/ 2147483647 w 365"/>
              <a:gd name="T71" fmla="*/ 2147483647 h 271"/>
              <a:gd name="T72" fmla="*/ 2147483647 w 365"/>
              <a:gd name="T73" fmla="*/ 2147483647 h 271"/>
              <a:gd name="T74" fmla="*/ 2147483647 w 365"/>
              <a:gd name="T75" fmla="*/ 2147483647 h 271"/>
              <a:gd name="T76" fmla="*/ 2147483647 w 365"/>
              <a:gd name="T77" fmla="*/ 2147483647 h 271"/>
              <a:gd name="T78" fmla="*/ 2147483647 w 365"/>
              <a:gd name="T79" fmla="*/ 2147483647 h 271"/>
              <a:gd name="T80" fmla="*/ 2147483647 w 365"/>
              <a:gd name="T81" fmla="*/ 2147483647 h 271"/>
              <a:gd name="T82" fmla="*/ 2147483647 w 365"/>
              <a:gd name="T83" fmla="*/ 2147483647 h 271"/>
              <a:gd name="T84" fmla="*/ 2147483647 w 365"/>
              <a:gd name="T85" fmla="*/ 0 h 271"/>
              <a:gd name="T86" fmla="*/ 2147483647 w 365"/>
              <a:gd name="T87" fmla="*/ 2147483647 h 271"/>
              <a:gd name="T88" fmla="*/ 2147483647 w 365"/>
              <a:gd name="T89" fmla="*/ 2147483647 h 271"/>
              <a:gd name="T90" fmla="*/ 2147483647 w 365"/>
              <a:gd name="T91" fmla="*/ 2147483647 h 271"/>
              <a:gd name="T92" fmla="*/ 2147483647 w 365"/>
              <a:gd name="T93" fmla="*/ 2147483647 h 271"/>
              <a:gd name="T94" fmla="*/ 2147483647 w 365"/>
              <a:gd name="T95" fmla="*/ 2147483647 h 271"/>
              <a:gd name="T96" fmla="*/ 2147483647 w 365"/>
              <a:gd name="T97" fmla="*/ 2147483647 h 271"/>
              <a:gd name="T98" fmla="*/ 2147483647 w 365"/>
              <a:gd name="T99" fmla="*/ 2147483647 h 271"/>
              <a:gd name="T100" fmla="*/ 2147483647 w 365"/>
              <a:gd name="T101" fmla="*/ 2147483647 h 271"/>
              <a:gd name="T102" fmla="*/ 2147483647 w 365"/>
              <a:gd name="T103" fmla="*/ 2147483647 h 271"/>
              <a:gd name="T104" fmla="*/ 2147483647 w 365"/>
              <a:gd name="T105" fmla="*/ 2147483647 h 271"/>
              <a:gd name="T106" fmla="*/ 2147483647 w 365"/>
              <a:gd name="T107" fmla="*/ 2147483647 h 271"/>
              <a:gd name="T108" fmla="*/ 2147483647 w 365"/>
              <a:gd name="T109" fmla="*/ 2147483647 h 271"/>
              <a:gd name="T110" fmla="*/ 2147483647 w 365"/>
              <a:gd name="T111" fmla="*/ 2147483647 h 271"/>
              <a:gd name="T112" fmla="*/ 2147483647 w 365"/>
              <a:gd name="T113" fmla="*/ 2147483647 h 271"/>
              <a:gd name="T114" fmla="*/ 2147483647 w 365"/>
              <a:gd name="T115" fmla="*/ 2147483647 h 271"/>
              <a:gd name="T116" fmla="*/ 2147483647 w 365"/>
              <a:gd name="T117" fmla="*/ 2147483647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7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917940" y="4658940"/>
            <a:ext cx="269875" cy="334963"/>
          </a:xfrm>
          <a:custGeom>
            <a:avLst/>
            <a:gdLst>
              <a:gd name="T0" fmla="*/ 2147483647 w 624"/>
              <a:gd name="T1" fmla="*/ 2147483647 h 640"/>
              <a:gd name="T2" fmla="*/ 2147483647 w 624"/>
              <a:gd name="T3" fmla="*/ 2147483647 h 640"/>
              <a:gd name="T4" fmla="*/ 2147483647 w 624"/>
              <a:gd name="T5" fmla="*/ 2147483647 h 640"/>
              <a:gd name="T6" fmla="*/ 2147483647 w 624"/>
              <a:gd name="T7" fmla="*/ 2147483647 h 640"/>
              <a:gd name="T8" fmla="*/ 2147483647 w 624"/>
              <a:gd name="T9" fmla="*/ 2147483647 h 640"/>
              <a:gd name="T10" fmla="*/ 2147483647 w 624"/>
              <a:gd name="T11" fmla="*/ 2147483647 h 640"/>
              <a:gd name="T12" fmla="*/ 2147483647 w 624"/>
              <a:gd name="T13" fmla="*/ 2147483647 h 640"/>
              <a:gd name="T14" fmla="*/ 2147483647 w 624"/>
              <a:gd name="T15" fmla="*/ 2147483647 h 640"/>
              <a:gd name="T16" fmla="*/ 2147483647 w 624"/>
              <a:gd name="T17" fmla="*/ 2147483647 h 640"/>
              <a:gd name="T18" fmla="*/ 2147483647 w 624"/>
              <a:gd name="T19" fmla="*/ 2147483647 h 640"/>
              <a:gd name="T20" fmla="*/ 2147483647 w 624"/>
              <a:gd name="T21" fmla="*/ 2147483647 h 640"/>
              <a:gd name="T22" fmla="*/ 2147483647 w 624"/>
              <a:gd name="T23" fmla="*/ 2147483647 h 640"/>
              <a:gd name="T24" fmla="*/ 2147483647 w 624"/>
              <a:gd name="T25" fmla="*/ 2147483647 h 640"/>
              <a:gd name="T26" fmla="*/ 2147483647 w 624"/>
              <a:gd name="T27" fmla="*/ 2147483647 h 640"/>
              <a:gd name="T28" fmla="*/ 2147483647 w 624"/>
              <a:gd name="T29" fmla="*/ 2147483647 h 640"/>
              <a:gd name="T30" fmla="*/ 2147483647 w 624"/>
              <a:gd name="T31" fmla="*/ 2147483647 h 640"/>
              <a:gd name="T32" fmla="*/ 2147483647 w 624"/>
              <a:gd name="T33" fmla="*/ 2147483647 h 640"/>
              <a:gd name="T34" fmla="*/ 2147483647 w 624"/>
              <a:gd name="T35" fmla="*/ 2147483647 h 640"/>
              <a:gd name="T36" fmla="*/ 2147483647 w 624"/>
              <a:gd name="T37" fmla="*/ 2147483647 h 640"/>
              <a:gd name="T38" fmla="*/ 2147483647 w 624"/>
              <a:gd name="T39" fmla="*/ 2147483647 h 640"/>
              <a:gd name="T40" fmla="*/ 2147483647 w 624"/>
              <a:gd name="T41" fmla="*/ 2147483647 h 640"/>
              <a:gd name="T42" fmla="*/ 2147483647 w 624"/>
              <a:gd name="T43" fmla="*/ 2147483647 h 640"/>
              <a:gd name="T44" fmla="*/ 2147483647 w 624"/>
              <a:gd name="T45" fmla="*/ 2147483647 h 640"/>
              <a:gd name="T46" fmla="*/ 2147483647 w 624"/>
              <a:gd name="T47" fmla="*/ 2147483647 h 640"/>
              <a:gd name="T48" fmla="*/ 2147483647 w 624"/>
              <a:gd name="T49" fmla="*/ 2147483647 h 640"/>
              <a:gd name="T50" fmla="*/ 2147483647 w 624"/>
              <a:gd name="T51" fmla="*/ 2147483647 h 640"/>
              <a:gd name="T52" fmla="*/ 2147483647 w 624"/>
              <a:gd name="T53" fmla="*/ 2147483647 h 640"/>
              <a:gd name="T54" fmla="*/ 2147483647 w 624"/>
              <a:gd name="T55" fmla="*/ 2147483647 h 640"/>
              <a:gd name="T56" fmla="*/ 2147483647 w 624"/>
              <a:gd name="T57" fmla="*/ 2147483647 h 640"/>
              <a:gd name="T58" fmla="*/ 2147483647 w 624"/>
              <a:gd name="T59" fmla="*/ 2147483647 h 640"/>
              <a:gd name="T60" fmla="*/ 2147483647 w 624"/>
              <a:gd name="T61" fmla="*/ 2147483647 h 640"/>
              <a:gd name="T62" fmla="*/ 2147483647 w 624"/>
              <a:gd name="T63" fmla="*/ 2147483647 h 640"/>
              <a:gd name="T64" fmla="*/ 2147483647 w 624"/>
              <a:gd name="T65" fmla="*/ 2147483647 h 640"/>
              <a:gd name="T66" fmla="*/ 2147483647 w 624"/>
              <a:gd name="T67" fmla="*/ 2147483647 h 640"/>
              <a:gd name="T68" fmla="*/ 2147483647 w 624"/>
              <a:gd name="T69" fmla="*/ 2147483647 h 640"/>
              <a:gd name="T70" fmla="*/ 2147483647 w 624"/>
              <a:gd name="T71" fmla="*/ 2147483647 h 640"/>
              <a:gd name="T72" fmla="*/ 2147483647 w 624"/>
              <a:gd name="T73" fmla="*/ 2147483647 h 640"/>
              <a:gd name="T74" fmla="*/ 2147483647 w 624"/>
              <a:gd name="T75" fmla="*/ 2147483647 h 640"/>
              <a:gd name="T76" fmla="*/ 2147483647 w 624"/>
              <a:gd name="T77" fmla="*/ 2147483647 h 640"/>
              <a:gd name="T78" fmla="*/ 2147483647 w 624"/>
              <a:gd name="T79" fmla="*/ 2147483647 h 640"/>
              <a:gd name="T80" fmla="*/ 2147483647 w 624"/>
              <a:gd name="T81" fmla="*/ 2147483647 h 640"/>
              <a:gd name="T82" fmla="*/ 2147483647 w 624"/>
              <a:gd name="T83" fmla="*/ 2147483647 h 640"/>
              <a:gd name="T84" fmla="*/ 2147483647 w 624"/>
              <a:gd name="T85" fmla="*/ 2147483647 h 640"/>
              <a:gd name="T86" fmla="*/ 2147483647 w 624"/>
              <a:gd name="T87" fmla="*/ 2147483647 h 640"/>
              <a:gd name="T88" fmla="*/ 2147483647 w 624"/>
              <a:gd name="T89" fmla="*/ 2147483647 h 640"/>
              <a:gd name="T90" fmla="*/ 0 w 624"/>
              <a:gd name="T91" fmla="*/ 2147483647 h 640"/>
              <a:gd name="T92" fmla="*/ 0 w 624"/>
              <a:gd name="T93" fmla="*/ 2147483647 h 640"/>
              <a:gd name="T94" fmla="*/ 2147483647 w 624"/>
              <a:gd name="T95" fmla="*/ 2147483647 h 640"/>
              <a:gd name="T96" fmla="*/ 2147483647 w 624"/>
              <a:gd name="T97" fmla="*/ 2147483647 h 640"/>
              <a:gd name="T98" fmla="*/ 2147483647 w 624"/>
              <a:gd name="T99" fmla="*/ 2147483647 h 640"/>
              <a:gd name="T100" fmla="*/ 2147483647 w 624"/>
              <a:gd name="T101" fmla="*/ 2147483647 h 640"/>
              <a:gd name="T102" fmla="*/ 2147483647 w 624"/>
              <a:gd name="T103" fmla="*/ 2147483647 h 640"/>
              <a:gd name="T104" fmla="*/ 2147483647 w 624"/>
              <a:gd name="T105" fmla="*/ 214748364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8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481753" y="3173040"/>
            <a:ext cx="19050" cy="57150"/>
          </a:xfrm>
          <a:custGeom>
            <a:avLst/>
            <a:gdLst>
              <a:gd name="T0" fmla="*/ 2147483647 w 52"/>
              <a:gd name="T1" fmla="*/ 2147483647 h 50"/>
              <a:gd name="T2" fmla="*/ 0 w 52"/>
              <a:gd name="T3" fmla="*/ 2147483647 h 50"/>
              <a:gd name="T4" fmla="*/ 2147483647 w 52"/>
              <a:gd name="T5" fmla="*/ 2147483647 h 50"/>
              <a:gd name="T6" fmla="*/ 2147483647 w 52"/>
              <a:gd name="T7" fmla="*/ 2147483647 h 50"/>
              <a:gd name="T8" fmla="*/ 2147483647 w 52"/>
              <a:gd name="T9" fmla="*/ 2147483647 h 50"/>
              <a:gd name="T10" fmla="*/ 2147483647 w 52"/>
              <a:gd name="T11" fmla="*/ 2147483647 h 50"/>
              <a:gd name="T12" fmla="*/ 2147483647 w 52"/>
              <a:gd name="T13" fmla="*/ 2147483647 h 50"/>
              <a:gd name="T14" fmla="*/ 2147483647 w 52"/>
              <a:gd name="T15" fmla="*/ 2147483647 h 50"/>
              <a:gd name="T16" fmla="*/ 2147483647 w 52"/>
              <a:gd name="T17" fmla="*/ 2147483647 h 50"/>
              <a:gd name="T18" fmla="*/ 2147483647 w 52"/>
              <a:gd name="T19" fmla="*/ 0 h 50"/>
              <a:gd name="T20" fmla="*/ 2147483647 w 52"/>
              <a:gd name="T21" fmla="*/ 2147483647 h 50"/>
              <a:gd name="T22" fmla="*/ 2147483647 w 52"/>
              <a:gd name="T23" fmla="*/ 2147483647 h 50"/>
              <a:gd name="T24" fmla="*/ 2147483647 w 52"/>
              <a:gd name="T25" fmla="*/ 2147483647 h 50"/>
              <a:gd name="T26" fmla="*/ 2147483647 w 52"/>
              <a:gd name="T27" fmla="*/ 2147483647 h 50"/>
              <a:gd name="T28" fmla="*/ 2147483647 w 52"/>
              <a:gd name="T29" fmla="*/ 2147483647 h 50"/>
              <a:gd name="T30" fmla="*/ 2147483647 w 52"/>
              <a:gd name="T31" fmla="*/ 2147483647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69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340465" y="3174628"/>
            <a:ext cx="141288" cy="125412"/>
          </a:xfrm>
          <a:custGeom>
            <a:avLst/>
            <a:gdLst>
              <a:gd name="T0" fmla="*/ 2147483647 w 320"/>
              <a:gd name="T1" fmla="*/ 2147483647 h 234"/>
              <a:gd name="T2" fmla="*/ 2147483647 w 320"/>
              <a:gd name="T3" fmla="*/ 2147483647 h 234"/>
              <a:gd name="T4" fmla="*/ 2147483647 w 320"/>
              <a:gd name="T5" fmla="*/ 2147483647 h 234"/>
              <a:gd name="T6" fmla="*/ 2147483647 w 320"/>
              <a:gd name="T7" fmla="*/ 2147483647 h 234"/>
              <a:gd name="T8" fmla="*/ 2147483647 w 320"/>
              <a:gd name="T9" fmla="*/ 2147483647 h 234"/>
              <a:gd name="T10" fmla="*/ 2147483647 w 320"/>
              <a:gd name="T11" fmla="*/ 2147483647 h 234"/>
              <a:gd name="T12" fmla="*/ 2147483647 w 320"/>
              <a:gd name="T13" fmla="*/ 2147483647 h 234"/>
              <a:gd name="T14" fmla="*/ 2147483647 w 320"/>
              <a:gd name="T15" fmla="*/ 2147483647 h 234"/>
              <a:gd name="T16" fmla="*/ 2147483647 w 320"/>
              <a:gd name="T17" fmla="*/ 2147483647 h 234"/>
              <a:gd name="T18" fmla="*/ 2147483647 w 320"/>
              <a:gd name="T19" fmla="*/ 2147483647 h 234"/>
              <a:gd name="T20" fmla="*/ 2147483647 w 320"/>
              <a:gd name="T21" fmla="*/ 2147483647 h 234"/>
              <a:gd name="T22" fmla="*/ 2147483647 w 320"/>
              <a:gd name="T23" fmla="*/ 2147483647 h 234"/>
              <a:gd name="T24" fmla="*/ 2147483647 w 320"/>
              <a:gd name="T25" fmla="*/ 2147483647 h 234"/>
              <a:gd name="T26" fmla="*/ 2147483647 w 320"/>
              <a:gd name="T27" fmla="*/ 2147483647 h 234"/>
              <a:gd name="T28" fmla="*/ 2147483647 w 320"/>
              <a:gd name="T29" fmla="*/ 2147483647 h 234"/>
              <a:gd name="T30" fmla="*/ 2147483647 w 320"/>
              <a:gd name="T31" fmla="*/ 2147483647 h 234"/>
              <a:gd name="T32" fmla="*/ 2147483647 w 320"/>
              <a:gd name="T33" fmla="*/ 2147483647 h 234"/>
              <a:gd name="T34" fmla="*/ 2147483647 w 320"/>
              <a:gd name="T35" fmla="*/ 2147483647 h 234"/>
              <a:gd name="T36" fmla="*/ 2147483647 w 320"/>
              <a:gd name="T37" fmla="*/ 2147483647 h 234"/>
              <a:gd name="T38" fmla="*/ 2147483647 w 320"/>
              <a:gd name="T39" fmla="*/ 2147483647 h 234"/>
              <a:gd name="T40" fmla="*/ 2147483647 w 320"/>
              <a:gd name="T41" fmla="*/ 2147483647 h 234"/>
              <a:gd name="T42" fmla="*/ 2147483647 w 320"/>
              <a:gd name="T43" fmla="*/ 2147483647 h 234"/>
              <a:gd name="T44" fmla="*/ 2147483647 w 320"/>
              <a:gd name="T45" fmla="*/ 0 h 234"/>
              <a:gd name="T46" fmla="*/ 2147483647 w 320"/>
              <a:gd name="T47" fmla="*/ 0 h 234"/>
              <a:gd name="T48" fmla="*/ 2147483647 w 320"/>
              <a:gd name="T49" fmla="*/ 2147483647 h 234"/>
              <a:gd name="T50" fmla="*/ 2147483647 w 320"/>
              <a:gd name="T51" fmla="*/ 2147483647 h 234"/>
              <a:gd name="T52" fmla="*/ 2147483647 w 320"/>
              <a:gd name="T53" fmla="*/ 2147483647 h 234"/>
              <a:gd name="T54" fmla="*/ 2147483647 w 320"/>
              <a:gd name="T55" fmla="*/ 2147483647 h 234"/>
              <a:gd name="T56" fmla="*/ 2147483647 w 320"/>
              <a:gd name="T57" fmla="*/ 2147483647 h 234"/>
              <a:gd name="T58" fmla="*/ 2147483647 w 320"/>
              <a:gd name="T59" fmla="*/ 2147483647 h 234"/>
              <a:gd name="T60" fmla="*/ 2147483647 w 320"/>
              <a:gd name="T61" fmla="*/ 2147483647 h 234"/>
              <a:gd name="T62" fmla="*/ 2147483647 w 320"/>
              <a:gd name="T63" fmla="*/ 2147483647 h 234"/>
              <a:gd name="T64" fmla="*/ 2147483647 w 320"/>
              <a:gd name="T65" fmla="*/ 2147483647 h 234"/>
              <a:gd name="T66" fmla="*/ 2147483647 w 320"/>
              <a:gd name="T67" fmla="*/ 2147483647 h 234"/>
              <a:gd name="T68" fmla="*/ 2147483647 w 320"/>
              <a:gd name="T69" fmla="*/ 2147483647 h 234"/>
              <a:gd name="T70" fmla="*/ 2147483647 w 320"/>
              <a:gd name="T71" fmla="*/ 2147483647 h 234"/>
              <a:gd name="T72" fmla="*/ 2147483647 w 320"/>
              <a:gd name="T73" fmla="*/ 2147483647 h 234"/>
              <a:gd name="T74" fmla="*/ 2147483647 w 320"/>
              <a:gd name="T75" fmla="*/ 2147483647 h 234"/>
              <a:gd name="T76" fmla="*/ 2147483647 w 320"/>
              <a:gd name="T77" fmla="*/ 2147483647 h 234"/>
              <a:gd name="T78" fmla="*/ 2147483647 w 320"/>
              <a:gd name="T79" fmla="*/ 2147483647 h 234"/>
              <a:gd name="T80" fmla="*/ 2147483647 w 320"/>
              <a:gd name="T81" fmla="*/ 2147483647 h 234"/>
              <a:gd name="T82" fmla="*/ 2147483647 w 320"/>
              <a:gd name="T83" fmla="*/ 2147483647 h 234"/>
              <a:gd name="T84" fmla="*/ 2147483647 w 320"/>
              <a:gd name="T85" fmla="*/ 2147483647 h 234"/>
              <a:gd name="T86" fmla="*/ 2147483647 w 320"/>
              <a:gd name="T87" fmla="*/ 2147483647 h 234"/>
              <a:gd name="T88" fmla="*/ 2147483647 w 320"/>
              <a:gd name="T89" fmla="*/ 2147483647 h 234"/>
              <a:gd name="T90" fmla="*/ 2147483647 w 320"/>
              <a:gd name="T91" fmla="*/ 2147483647 h 234"/>
              <a:gd name="T92" fmla="*/ 2147483647 w 320"/>
              <a:gd name="T93" fmla="*/ 2147483647 h 234"/>
              <a:gd name="T94" fmla="*/ 2147483647 w 320"/>
              <a:gd name="T95" fmla="*/ 2147483647 h 234"/>
              <a:gd name="T96" fmla="*/ 2147483647 w 320"/>
              <a:gd name="T97" fmla="*/ 2147483647 h 234"/>
              <a:gd name="T98" fmla="*/ 2147483647 w 320"/>
              <a:gd name="T99" fmla="*/ 2147483647 h 234"/>
              <a:gd name="T100" fmla="*/ 2147483647 w 320"/>
              <a:gd name="T101" fmla="*/ 2147483647 h 234"/>
              <a:gd name="T102" fmla="*/ 2147483647 w 320"/>
              <a:gd name="T103" fmla="*/ 2147483647 h 234"/>
              <a:gd name="T104" fmla="*/ 2147483647 w 320"/>
              <a:gd name="T105" fmla="*/ 2147483647 h 234"/>
              <a:gd name="T106" fmla="*/ 2147483647 w 320"/>
              <a:gd name="T107" fmla="*/ 2147483647 h 234"/>
              <a:gd name="T108" fmla="*/ 2147483647 w 320"/>
              <a:gd name="T109" fmla="*/ 2147483647 h 234"/>
              <a:gd name="T110" fmla="*/ 2147483647 w 320"/>
              <a:gd name="T111" fmla="*/ 2147483647 h 234"/>
              <a:gd name="T112" fmla="*/ 2147483647 w 320"/>
              <a:gd name="T113" fmla="*/ 2147483647 h 234"/>
              <a:gd name="T114" fmla="*/ 2147483647 w 320"/>
              <a:gd name="T115" fmla="*/ 2147483647 h 234"/>
              <a:gd name="T116" fmla="*/ 2147483647 w 320"/>
              <a:gd name="T117" fmla="*/ 2147483647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0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310303" y="3528640"/>
            <a:ext cx="52387" cy="57150"/>
          </a:xfrm>
          <a:custGeom>
            <a:avLst/>
            <a:gdLst>
              <a:gd name="T0" fmla="*/ 2147483647 w 125"/>
              <a:gd name="T1" fmla="*/ 2147483647 h 93"/>
              <a:gd name="T2" fmla="*/ 2147483647 w 125"/>
              <a:gd name="T3" fmla="*/ 2147483647 h 93"/>
              <a:gd name="T4" fmla="*/ 2147483647 w 125"/>
              <a:gd name="T5" fmla="*/ 2147483647 h 93"/>
              <a:gd name="T6" fmla="*/ 2147483647 w 125"/>
              <a:gd name="T7" fmla="*/ 2147483647 h 93"/>
              <a:gd name="T8" fmla="*/ 2147483647 w 125"/>
              <a:gd name="T9" fmla="*/ 2147483647 h 93"/>
              <a:gd name="T10" fmla="*/ 2147483647 w 125"/>
              <a:gd name="T11" fmla="*/ 2147483647 h 93"/>
              <a:gd name="T12" fmla="*/ 2147483647 w 125"/>
              <a:gd name="T13" fmla="*/ 2147483647 h 93"/>
              <a:gd name="T14" fmla="*/ 2147483647 w 125"/>
              <a:gd name="T15" fmla="*/ 2147483647 h 93"/>
              <a:gd name="T16" fmla="*/ 2147483647 w 125"/>
              <a:gd name="T17" fmla="*/ 2147483647 h 93"/>
              <a:gd name="T18" fmla="*/ 2147483647 w 125"/>
              <a:gd name="T19" fmla="*/ 2147483647 h 93"/>
              <a:gd name="T20" fmla="*/ 2147483647 w 125"/>
              <a:gd name="T21" fmla="*/ 0 h 93"/>
              <a:gd name="T22" fmla="*/ 2147483647 w 125"/>
              <a:gd name="T23" fmla="*/ 0 h 93"/>
              <a:gd name="T24" fmla="*/ 2147483647 w 125"/>
              <a:gd name="T25" fmla="*/ 2147483647 h 93"/>
              <a:gd name="T26" fmla="*/ 2147483647 w 125"/>
              <a:gd name="T27" fmla="*/ 2147483647 h 93"/>
              <a:gd name="T28" fmla="*/ 2147483647 w 125"/>
              <a:gd name="T29" fmla="*/ 2147483647 h 93"/>
              <a:gd name="T30" fmla="*/ 2147483647 w 125"/>
              <a:gd name="T31" fmla="*/ 2147483647 h 93"/>
              <a:gd name="T32" fmla="*/ 2147483647 w 125"/>
              <a:gd name="T33" fmla="*/ 2147483647 h 93"/>
              <a:gd name="T34" fmla="*/ 2147483647 w 125"/>
              <a:gd name="T35" fmla="*/ 2147483647 h 93"/>
              <a:gd name="T36" fmla="*/ 2147483647 w 125"/>
              <a:gd name="T37" fmla="*/ 2147483647 h 93"/>
              <a:gd name="T38" fmla="*/ 2147483647 w 125"/>
              <a:gd name="T39" fmla="*/ 2147483647 h 93"/>
              <a:gd name="T40" fmla="*/ 2147483647 w 125"/>
              <a:gd name="T41" fmla="*/ 2147483647 h 93"/>
              <a:gd name="T42" fmla="*/ 2147483647 w 125"/>
              <a:gd name="T43" fmla="*/ 2147483647 h 93"/>
              <a:gd name="T44" fmla="*/ 2147483647 w 125"/>
              <a:gd name="T45" fmla="*/ 2147483647 h 93"/>
              <a:gd name="T46" fmla="*/ 2147483647 w 125"/>
              <a:gd name="T47" fmla="*/ 2147483647 h 93"/>
              <a:gd name="T48" fmla="*/ 2147483647 w 125"/>
              <a:gd name="T49" fmla="*/ 2147483647 h 93"/>
              <a:gd name="T50" fmla="*/ 2147483647 w 125"/>
              <a:gd name="T51" fmla="*/ 2147483647 h 93"/>
              <a:gd name="T52" fmla="*/ 2147483647 w 125"/>
              <a:gd name="T53" fmla="*/ 2147483647 h 93"/>
              <a:gd name="T54" fmla="*/ 2147483647 w 125"/>
              <a:gd name="T55" fmla="*/ 2147483647 h 93"/>
              <a:gd name="T56" fmla="*/ 2147483647 w 125"/>
              <a:gd name="T57" fmla="*/ 2147483647 h 93"/>
              <a:gd name="T58" fmla="*/ 2147483647 w 125"/>
              <a:gd name="T59" fmla="*/ 2147483647 h 93"/>
              <a:gd name="T60" fmla="*/ 2147483647 w 125"/>
              <a:gd name="T61" fmla="*/ 2147483647 h 93"/>
              <a:gd name="T62" fmla="*/ 2147483647 w 125"/>
              <a:gd name="T63" fmla="*/ 2147483647 h 93"/>
              <a:gd name="T64" fmla="*/ 2147483647 w 125"/>
              <a:gd name="T65" fmla="*/ 2147483647 h 93"/>
              <a:gd name="T66" fmla="*/ 2147483647 w 125"/>
              <a:gd name="T67" fmla="*/ 2147483647 h 93"/>
              <a:gd name="T68" fmla="*/ 0 w 125"/>
              <a:gd name="T69" fmla="*/ 2147483647 h 93"/>
              <a:gd name="T70" fmla="*/ 0 w 125"/>
              <a:gd name="T71" fmla="*/ 2147483647 h 93"/>
              <a:gd name="T72" fmla="*/ 2147483647 w 125"/>
              <a:gd name="T73" fmla="*/ 2147483647 h 93"/>
              <a:gd name="T74" fmla="*/ 2147483647 w 125"/>
              <a:gd name="T75" fmla="*/ 2147483647 h 93"/>
              <a:gd name="T76" fmla="*/ 2147483647 w 125"/>
              <a:gd name="T77" fmla="*/ 2147483647 h 93"/>
              <a:gd name="T78" fmla="*/ 2147483647 w 125"/>
              <a:gd name="T79" fmla="*/ 2147483647 h 93"/>
              <a:gd name="T80" fmla="*/ 2147483647 w 125"/>
              <a:gd name="T81" fmla="*/ 2147483647 h 93"/>
              <a:gd name="T82" fmla="*/ 2147483647 w 125"/>
              <a:gd name="T83" fmla="*/ 2147483647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1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256328" y="3542928"/>
            <a:ext cx="60325" cy="84137"/>
          </a:xfrm>
          <a:custGeom>
            <a:avLst/>
            <a:gdLst>
              <a:gd name="T0" fmla="*/ 2147483647 w 133"/>
              <a:gd name="T1" fmla="*/ 2147483647 h 154"/>
              <a:gd name="T2" fmla="*/ 2147483647 w 133"/>
              <a:gd name="T3" fmla="*/ 2147483647 h 154"/>
              <a:gd name="T4" fmla="*/ 2147483647 w 133"/>
              <a:gd name="T5" fmla="*/ 2147483647 h 154"/>
              <a:gd name="T6" fmla="*/ 2147483647 w 133"/>
              <a:gd name="T7" fmla="*/ 2147483647 h 154"/>
              <a:gd name="T8" fmla="*/ 2147483647 w 133"/>
              <a:gd name="T9" fmla="*/ 2147483647 h 154"/>
              <a:gd name="T10" fmla="*/ 2147483647 w 133"/>
              <a:gd name="T11" fmla="*/ 2147483647 h 154"/>
              <a:gd name="T12" fmla="*/ 2147483647 w 133"/>
              <a:gd name="T13" fmla="*/ 0 h 154"/>
              <a:gd name="T14" fmla="*/ 2147483647 w 133"/>
              <a:gd name="T15" fmla="*/ 2147483647 h 154"/>
              <a:gd name="T16" fmla="*/ 2147483647 w 133"/>
              <a:gd name="T17" fmla="*/ 2147483647 h 154"/>
              <a:gd name="T18" fmla="*/ 2147483647 w 133"/>
              <a:gd name="T19" fmla="*/ 2147483647 h 154"/>
              <a:gd name="T20" fmla="*/ 2147483647 w 133"/>
              <a:gd name="T21" fmla="*/ 2147483647 h 154"/>
              <a:gd name="T22" fmla="*/ 2147483647 w 133"/>
              <a:gd name="T23" fmla="*/ 2147483647 h 154"/>
              <a:gd name="T24" fmla="*/ 2147483647 w 133"/>
              <a:gd name="T25" fmla="*/ 2147483647 h 154"/>
              <a:gd name="T26" fmla="*/ 2147483647 w 133"/>
              <a:gd name="T27" fmla="*/ 2147483647 h 154"/>
              <a:gd name="T28" fmla="*/ 2147483647 w 133"/>
              <a:gd name="T29" fmla="*/ 2147483647 h 154"/>
              <a:gd name="T30" fmla="*/ 2147483647 w 133"/>
              <a:gd name="T31" fmla="*/ 2147483647 h 154"/>
              <a:gd name="T32" fmla="*/ 2147483647 w 133"/>
              <a:gd name="T33" fmla="*/ 2147483647 h 154"/>
              <a:gd name="T34" fmla="*/ 2147483647 w 133"/>
              <a:gd name="T35" fmla="*/ 2147483647 h 154"/>
              <a:gd name="T36" fmla="*/ 2147483647 w 133"/>
              <a:gd name="T37" fmla="*/ 2147483647 h 154"/>
              <a:gd name="T38" fmla="*/ 2147483647 w 133"/>
              <a:gd name="T39" fmla="*/ 2147483647 h 154"/>
              <a:gd name="T40" fmla="*/ 2147483647 w 133"/>
              <a:gd name="T41" fmla="*/ 2147483647 h 154"/>
              <a:gd name="T42" fmla="*/ 2147483647 w 133"/>
              <a:gd name="T43" fmla="*/ 2147483647 h 154"/>
              <a:gd name="T44" fmla="*/ 2147483647 w 133"/>
              <a:gd name="T45" fmla="*/ 2147483647 h 154"/>
              <a:gd name="T46" fmla="*/ 2147483647 w 133"/>
              <a:gd name="T47" fmla="*/ 2147483647 h 154"/>
              <a:gd name="T48" fmla="*/ 2147483647 w 133"/>
              <a:gd name="T49" fmla="*/ 2147483647 h 154"/>
              <a:gd name="T50" fmla="*/ 2147483647 w 133"/>
              <a:gd name="T51" fmla="*/ 2147483647 h 154"/>
              <a:gd name="T52" fmla="*/ 2147483647 w 133"/>
              <a:gd name="T53" fmla="*/ 2147483647 h 154"/>
              <a:gd name="T54" fmla="*/ 2147483647 w 133"/>
              <a:gd name="T55" fmla="*/ 2147483647 h 154"/>
              <a:gd name="T56" fmla="*/ 2147483647 w 133"/>
              <a:gd name="T57" fmla="*/ 2147483647 h 154"/>
              <a:gd name="T58" fmla="*/ 2147483647 w 133"/>
              <a:gd name="T59" fmla="*/ 2147483647 h 154"/>
              <a:gd name="T60" fmla="*/ 2147483647 w 133"/>
              <a:gd name="T61" fmla="*/ 2147483647 h 154"/>
              <a:gd name="T62" fmla="*/ 2147483647 w 133"/>
              <a:gd name="T63" fmla="*/ 2147483647 h 154"/>
              <a:gd name="T64" fmla="*/ 2147483647 w 133"/>
              <a:gd name="T65" fmla="*/ 2147483647 h 154"/>
              <a:gd name="T66" fmla="*/ 2147483647 w 133"/>
              <a:gd name="T67" fmla="*/ 2147483647 h 154"/>
              <a:gd name="T68" fmla="*/ 2147483647 w 133"/>
              <a:gd name="T69" fmla="*/ 2147483647 h 154"/>
              <a:gd name="T70" fmla="*/ 2147483647 w 133"/>
              <a:gd name="T71" fmla="*/ 2147483647 h 154"/>
              <a:gd name="T72" fmla="*/ 2147483647 w 133"/>
              <a:gd name="T73" fmla="*/ 2147483647 h 154"/>
              <a:gd name="T74" fmla="*/ 2147483647 w 133"/>
              <a:gd name="T75" fmla="*/ 2147483647 h 154"/>
              <a:gd name="T76" fmla="*/ 2147483647 w 133"/>
              <a:gd name="T77" fmla="*/ 2147483647 h 154"/>
              <a:gd name="T78" fmla="*/ 2147483647 w 133"/>
              <a:gd name="T79" fmla="*/ 2147483647 h 154"/>
              <a:gd name="T80" fmla="*/ 2147483647 w 133"/>
              <a:gd name="T81" fmla="*/ 2147483647 h 154"/>
              <a:gd name="T82" fmla="*/ 2147483647 w 133"/>
              <a:gd name="T83" fmla="*/ 2147483647 h 154"/>
              <a:gd name="T84" fmla="*/ 2147483647 w 133"/>
              <a:gd name="T85" fmla="*/ 2147483647 h 154"/>
              <a:gd name="T86" fmla="*/ 2147483647 w 133"/>
              <a:gd name="T87" fmla="*/ 2147483647 h 154"/>
              <a:gd name="T88" fmla="*/ 2147483647 w 133"/>
              <a:gd name="T89" fmla="*/ 2147483647 h 154"/>
              <a:gd name="T90" fmla="*/ 2147483647 w 133"/>
              <a:gd name="T91" fmla="*/ 2147483647 h 154"/>
              <a:gd name="T92" fmla="*/ 2147483647 w 133"/>
              <a:gd name="T93" fmla="*/ 2147483647 h 154"/>
              <a:gd name="T94" fmla="*/ 2147483647 w 133"/>
              <a:gd name="T95" fmla="*/ 2147483647 h 154"/>
              <a:gd name="T96" fmla="*/ 2147483647 w 133"/>
              <a:gd name="T97" fmla="*/ 2147483647 h 154"/>
              <a:gd name="T98" fmla="*/ 2147483647 w 133"/>
              <a:gd name="T99" fmla="*/ 2147483647 h 154"/>
              <a:gd name="T100" fmla="*/ 2147483647 w 133"/>
              <a:gd name="T101" fmla="*/ 2147483647 h 154"/>
              <a:gd name="T102" fmla="*/ 0 w 133"/>
              <a:gd name="T103" fmla="*/ 2147483647 h 154"/>
              <a:gd name="T104" fmla="*/ 0 w 133"/>
              <a:gd name="T105" fmla="*/ 2147483647 h 154"/>
              <a:gd name="T106" fmla="*/ 2147483647 w 133"/>
              <a:gd name="T107" fmla="*/ 2147483647 h 154"/>
              <a:gd name="T108" fmla="*/ 2147483647 w 133"/>
              <a:gd name="T109" fmla="*/ 2147483647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2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272203" y="3304803"/>
            <a:ext cx="209550" cy="244475"/>
          </a:xfrm>
          <a:custGeom>
            <a:avLst/>
            <a:gdLst>
              <a:gd name="T0" fmla="*/ 2147483647 w 485"/>
              <a:gd name="T1" fmla="*/ 2147483647 h 468"/>
              <a:gd name="T2" fmla="*/ 2147483647 w 485"/>
              <a:gd name="T3" fmla="*/ 2147483647 h 468"/>
              <a:gd name="T4" fmla="*/ 2147483647 w 485"/>
              <a:gd name="T5" fmla="*/ 2147483647 h 468"/>
              <a:gd name="T6" fmla="*/ 2147483647 w 485"/>
              <a:gd name="T7" fmla="*/ 2147483647 h 468"/>
              <a:gd name="T8" fmla="*/ 2147483647 w 485"/>
              <a:gd name="T9" fmla="*/ 2147483647 h 468"/>
              <a:gd name="T10" fmla="*/ 2147483647 w 485"/>
              <a:gd name="T11" fmla="*/ 2147483647 h 468"/>
              <a:gd name="T12" fmla="*/ 2147483647 w 485"/>
              <a:gd name="T13" fmla="*/ 2147483647 h 468"/>
              <a:gd name="T14" fmla="*/ 2147483647 w 485"/>
              <a:gd name="T15" fmla="*/ 2147483647 h 468"/>
              <a:gd name="T16" fmla="*/ 2147483647 w 485"/>
              <a:gd name="T17" fmla="*/ 2147483647 h 468"/>
              <a:gd name="T18" fmla="*/ 2147483647 w 485"/>
              <a:gd name="T19" fmla="*/ 2147483647 h 468"/>
              <a:gd name="T20" fmla="*/ 2147483647 w 485"/>
              <a:gd name="T21" fmla="*/ 2147483647 h 468"/>
              <a:gd name="T22" fmla="*/ 2147483647 w 485"/>
              <a:gd name="T23" fmla="*/ 2147483647 h 468"/>
              <a:gd name="T24" fmla="*/ 2147483647 w 485"/>
              <a:gd name="T25" fmla="*/ 2147483647 h 468"/>
              <a:gd name="T26" fmla="*/ 2147483647 w 485"/>
              <a:gd name="T27" fmla="*/ 2147483647 h 468"/>
              <a:gd name="T28" fmla="*/ 2147483647 w 485"/>
              <a:gd name="T29" fmla="*/ 2147483647 h 468"/>
              <a:gd name="T30" fmla="*/ 2147483647 w 485"/>
              <a:gd name="T31" fmla="*/ 2147483647 h 468"/>
              <a:gd name="T32" fmla="*/ 2147483647 w 485"/>
              <a:gd name="T33" fmla="*/ 2147483647 h 468"/>
              <a:gd name="T34" fmla="*/ 2147483647 w 485"/>
              <a:gd name="T35" fmla="*/ 2147483647 h 468"/>
              <a:gd name="T36" fmla="*/ 2147483647 w 485"/>
              <a:gd name="T37" fmla="*/ 2147483647 h 468"/>
              <a:gd name="T38" fmla="*/ 2147483647 w 485"/>
              <a:gd name="T39" fmla="*/ 2147483647 h 468"/>
              <a:gd name="T40" fmla="*/ 2147483647 w 485"/>
              <a:gd name="T41" fmla="*/ 2147483647 h 468"/>
              <a:gd name="T42" fmla="*/ 2147483647 w 485"/>
              <a:gd name="T43" fmla="*/ 2147483647 h 468"/>
              <a:gd name="T44" fmla="*/ 2147483647 w 485"/>
              <a:gd name="T45" fmla="*/ 2147483647 h 468"/>
              <a:gd name="T46" fmla="*/ 2147483647 w 485"/>
              <a:gd name="T47" fmla="*/ 2147483647 h 468"/>
              <a:gd name="T48" fmla="*/ 2147483647 w 485"/>
              <a:gd name="T49" fmla="*/ 2147483647 h 468"/>
              <a:gd name="T50" fmla="*/ 2147483647 w 485"/>
              <a:gd name="T51" fmla="*/ 2147483647 h 468"/>
              <a:gd name="T52" fmla="*/ 2147483647 w 485"/>
              <a:gd name="T53" fmla="*/ 2147483647 h 468"/>
              <a:gd name="T54" fmla="*/ 2147483647 w 485"/>
              <a:gd name="T55" fmla="*/ 2147483647 h 468"/>
              <a:gd name="T56" fmla="*/ 2147483647 w 485"/>
              <a:gd name="T57" fmla="*/ 2147483647 h 468"/>
              <a:gd name="T58" fmla="*/ 2147483647 w 485"/>
              <a:gd name="T59" fmla="*/ 2147483647 h 468"/>
              <a:gd name="T60" fmla="*/ 2147483647 w 485"/>
              <a:gd name="T61" fmla="*/ 2147483647 h 468"/>
              <a:gd name="T62" fmla="*/ 2147483647 w 485"/>
              <a:gd name="T63" fmla="*/ 2147483647 h 468"/>
              <a:gd name="T64" fmla="*/ 2147483647 w 485"/>
              <a:gd name="T65" fmla="*/ 2147483647 h 468"/>
              <a:gd name="T66" fmla="*/ 2147483647 w 485"/>
              <a:gd name="T67" fmla="*/ 2147483647 h 468"/>
              <a:gd name="T68" fmla="*/ 2147483647 w 485"/>
              <a:gd name="T69" fmla="*/ 2147483647 h 468"/>
              <a:gd name="T70" fmla="*/ 2147483647 w 485"/>
              <a:gd name="T71" fmla="*/ 2147483647 h 468"/>
              <a:gd name="T72" fmla="*/ 2147483647 w 485"/>
              <a:gd name="T73" fmla="*/ 2147483647 h 468"/>
              <a:gd name="T74" fmla="*/ 2147483647 w 485"/>
              <a:gd name="T75" fmla="*/ 2147483647 h 468"/>
              <a:gd name="T76" fmla="*/ 2147483647 w 485"/>
              <a:gd name="T77" fmla="*/ 2147483647 h 468"/>
              <a:gd name="T78" fmla="*/ 2147483647 w 485"/>
              <a:gd name="T79" fmla="*/ 2147483647 h 468"/>
              <a:gd name="T80" fmla="*/ 2147483647 w 485"/>
              <a:gd name="T81" fmla="*/ 2147483647 h 468"/>
              <a:gd name="T82" fmla="*/ 2147483647 w 485"/>
              <a:gd name="T83" fmla="*/ 2147483647 h 468"/>
              <a:gd name="T84" fmla="*/ 2147483647 w 485"/>
              <a:gd name="T85" fmla="*/ 2147483647 h 468"/>
              <a:gd name="T86" fmla="*/ 2147483647 w 485"/>
              <a:gd name="T87" fmla="*/ 2147483647 h 468"/>
              <a:gd name="T88" fmla="*/ 2147483647 w 485"/>
              <a:gd name="T89" fmla="*/ 2147483647 h 468"/>
              <a:gd name="T90" fmla="*/ 2147483647 w 485"/>
              <a:gd name="T91" fmla="*/ 2147483647 h 468"/>
              <a:gd name="T92" fmla="*/ 2147483647 w 485"/>
              <a:gd name="T93" fmla="*/ 2147483647 h 468"/>
              <a:gd name="T94" fmla="*/ 2147483647 w 485"/>
              <a:gd name="T95" fmla="*/ 2147483647 h 468"/>
              <a:gd name="T96" fmla="*/ 2147483647 w 485"/>
              <a:gd name="T97" fmla="*/ 2147483647 h 468"/>
              <a:gd name="T98" fmla="*/ 2147483647 w 485"/>
              <a:gd name="T99" fmla="*/ 2147483647 h 468"/>
              <a:gd name="T100" fmla="*/ 2147483647 w 485"/>
              <a:gd name="T101" fmla="*/ 2147483647 h 468"/>
              <a:gd name="T102" fmla="*/ 2147483647 w 485"/>
              <a:gd name="T103" fmla="*/ 2147483647 h 468"/>
              <a:gd name="T104" fmla="*/ 2147483647 w 485"/>
              <a:gd name="T105" fmla="*/ 2147483647 h 468"/>
              <a:gd name="T106" fmla="*/ 2147483647 w 485"/>
              <a:gd name="T107" fmla="*/ 2147483647 h 468"/>
              <a:gd name="T108" fmla="*/ 2147483647 w 485"/>
              <a:gd name="T109" fmla="*/ 2147483647 h 468"/>
              <a:gd name="T110" fmla="*/ 2147483647 w 485"/>
              <a:gd name="T111" fmla="*/ 2147483647 h 468"/>
              <a:gd name="T112" fmla="*/ 2147483647 w 485"/>
              <a:gd name="T113" fmla="*/ 2147483647 h 468"/>
              <a:gd name="T114" fmla="*/ 0 w 485"/>
              <a:gd name="T115" fmla="*/ 2147483647 h 468"/>
              <a:gd name="T116" fmla="*/ 2147483647 w 485"/>
              <a:gd name="T117" fmla="*/ 2147483647 h 468"/>
              <a:gd name="T118" fmla="*/ 2147483647 w 485"/>
              <a:gd name="T119" fmla="*/ 2147483647 h 468"/>
              <a:gd name="T120" fmla="*/ 2147483647 w 485"/>
              <a:gd name="T121" fmla="*/ 2147483647 h 468"/>
              <a:gd name="T122" fmla="*/ 2147483647 w 485"/>
              <a:gd name="T123" fmla="*/ 2147483647 h 468"/>
              <a:gd name="T124" fmla="*/ 2147483647 w 485"/>
              <a:gd name="T125" fmla="*/ 2147483647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3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856028" y="2195140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4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998903" y="2177678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5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035415" y="2185615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6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568815" y="2371353"/>
            <a:ext cx="41275" cy="57150"/>
          </a:xfrm>
          <a:custGeom>
            <a:avLst/>
            <a:gdLst>
              <a:gd name="T0" fmla="*/ 2147483647 w 100"/>
              <a:gd name="T1" fmla="*/ 0 h 42"/>
              <a:gd name="T2" fmla="*/ 2147483647 w 100"/>
              <a:gd name="T3" fmla="*/ 2147483647 h 42"/>
              <a:gd name="T4" fmla="*/ 2147483647 w 100"/>
              <a:gd name="T5" fmla="*/ 2147483647 h 42"/>
              <a:gd name="T6" fmla="*/ 2147483647 w 100"/>
              <a:gd name="T7" fmla="*/ 2147483647 h 42"/>
              <a:gd name="T8" fmla="*/ 2147483647 w 100"/>
              <a:gd name="T9" fmla="*/ 2147483647 h 42"/>
              <a:gd name="T10" fmla="*/ 2147483647 w 100"/>
              <a:gd name="T11" fmla="*/ 2147483647 h 42"/>
              <a:gd name="T12" fmla="*/ 2147483647 w 100"/>
              <a:gd name="T13" fmla="*/ 2147483647 h 42"/>
              <a:gd name="T14" fmla="*/ 2147483647 w 100"/>
              <a:gd name="T15" fmla="*/ 2147483647 h 42"/>
              <a:gd name="T16" fmla="*/ 2147483647 w 100"/>
              <a:gd name="T17" fmla="*/ 2147483647 h 42"/>
              <a:gd name="T18" fmla="*/ 2147483647 w 100"/>
              <a:gd name="T19" fmla="*/ 2147483647 h 42"/>
              <a:gd name="T20" fmla="*/ 2147483647 w 100"/>
              <a:gd name="T21" fmla="*/ 2147483647 h 42"/>
              <a:gd name="T22" fmla="*/ 2147483647 w 100"/>
              <a:gd name="T23" fmla="*/ 2147483647 h 42"/>
              <a:gd name="T24" fmla="*/ 2147483647 w 100"/>
              <a:gd name="T25" fmla="*/ 2147483647 h 42"/>
              <a:gd name="T26" fmla="*/ 2147483647 w 100"/>
              <a:gd name="T27" fmla="*/ 2147483647 h 42"/>
              <a:gd name="T28" fmla="*/ 0 w 100"/>
              <a:gd name="T29" fmla="*/ 2147483647 h 42"/>
              <a:gd name="T30" fmla="*/ 2147483647 w 100"/>
              <a:gd name="T31" fmla="*/ 2147483647 h 42"/>
              <a:gd name="T32" fmla="*/ 2147483647 w 100"/>
              <a:gd name="T33" fmla="*/ 2147483647 h 42"/>
              <a:gd name="T34" fmla="*/ 2147483647 w 100"/>
              <a:gd name="T35" fmla="*/ 2147483647 h 42"/>
              <a:gd name="T36" fmla="*/ 2147483647 w 100"/>
              <a:gd name="T37" fmla="*/ 2147483647 h 42"/>
              <a:gd name="T38" fmla="*/ 2147483647 w 100"/>
              <a:gd name="T39" fmla="*/ 2147483647 h 42"/>
              <a:gd name="T40" fmla="*/ 2147483647 w 100"/>
              <a:gd name="T41" fmla="*/ 2147483647 h 42"/>
              <a:gd name="T42" fmla="*/ 2147483647 w 100"/>
              <a:gd name="T43" fmla="*/ 2147483647 h 42"/>
              <a:gd name="T44" fmla="*/ 2147483647 w 100"/>
              <a:gd name="T45" fmla="*/ 2147483647 h 42"/>
              <a:gd name="T46" fmla="*/ 2147483647 w 100"/>
              <a:gd name="T47" fmla="*/ 2147483647 h 42"/>
              <a:gd name="T48" fmla="*/ 2147483647 w 100"/>
              <a:gd name="T49" fmla="*/ 2147483647 h 42"/>
              <a:gd name="T50" fmla="*/ 2147483647 w 100"/>
              <a:gd name="T51" fmla="*/ 0 h 42"/>
              <a:gd name="T52" fmla="*/ 2147483647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7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478328" y="2230065"/>
            <a:ext cx="15875" cy="58738"/>
          </a:xfrm>
          <a:custGeom>
            <a:avLst/>
            <a:gdLst>
              <a:gd name="T0" fmla="*/ 2147483647 w 40"/>
              <a:gd name="T1" fmla="*/ 2147483647 h 5"/>
              <a:gd name="T2" fmla="*/ 0 w 40"/>
              <a:gd name="T3" fmla="*/ 2147483647 h 5"/>
              <a:gd name="T4" fmla="*/ 2147483647 w 40"/>
              <a:gd name="T5" fmla="*/ 2147483647 h 5"/>
              <a:gd name="T6" fmla="*/ 2147483647 w 40"/>
              <a:gd name="T7" fmla="*/ 2147483647 h 5"/>
              <a:gd name="T8" fmla="*/ 2147483647 w 40"/>
              <a:gd name="T9" fmla="*/ 0 h 5"/>
              <a:gd name="T10" fmla="*/ 2147483647 w 40"/>
              <a:gd name="T11" fmla="*/ 0 h 5"/>
              <a:gd name="T12" fmla="*/ 2147483647 w 40"/>
              <a:gd name="T13" fmla="*/ 0 h 5"/>
              <a:gd name="T14" fmla="*/ 2147483647 w 40"/>
              <a:gd name="T15" fmla="*/ 2147483647 h 5"/>
              <a:gd name="T16" fmla="*/ 2147483647 w 40"/>
              <a:gd name="T17" fmla="*/ 2147483647 h 5"/>
              <a:gd name="T18" fmla="*/ 2147483647 w 40"/>
              <a:gd name="T19" fmla="*/ 2147483647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8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500553" y="2188790"/>
            <a:ext cx="14287" cy="60325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0 w 33"/>
              <a:gd name="T17" fmla="*/ 2147483647 h 31"/>
              <a:gd name="T18" fmla="*/ 0 w 33"/>
              <a:gd name="T19" fmla="*/ 2147483647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79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645015" y="2304678"/>
            <a:ext cx="17463" cy="57150"/>
          </a:xfrm>
          <a:custGeom>
            <a:avLst/>
            <a:gdLst>
              <a:gd name="T0" fmla="*/ 2147483647 w 41"/>
              <a:gd name="T1" fmla="*/ 0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2147483647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0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0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698990" y="2188790"/>
            <a:ext cx="93663" cy="60325"/>
          </a:xfrm>
          <a:custGeom>
            <a:avLst/>
            <a:gdLst>
              <a:gd name="T0" fmla="*/ 2147483647 w 213"/>
              <a:gd name="T1" fmla="*/ 0 h 62"/>
              <a:gd name="T2" fmla="*/ 2147483647 w 213"/>
              <a:gd name="T3" fmla="*/ 0 h 62"/>
              <a:gd name="T4" fmla="*/ 2147483647 w 213"/>
              <a:gd name="T5" fmla="*/ 2147483647 h 62"/>
              <a:gd name="T6" fmla="*/ 2147483647 w 213"/>
              <a:gd name="T7" fmla="*/ 2147483647 h 62"/>
              <a:gd name="T8" fmla="*/ 2147483647 w 213"/>
              <a:gd name="T9" fmla="*/ 2147483647 h 62"/>
              <a:gd name="T10" fmla="*/ 2147483647 w 213"/>
              <a:gd name="T11" fmla="*/ 2147483647 h 62"/>
              <a:gd name="T12" fmla="*/ 2147483647 w 213"/>
              <a:gd name="T13" fmla="*/ 2147483647 h 62"/>
              <a:gd name="T14" fmla="*/ 2147483647 w 213"/>
              <a:gd name="T15" fmla="*/ 2147483647 h 62"/>
              <a:gd name="T16" fmla="*/ 2147483647 w 213"/>
              <a:gd name="T17" fmla="*/ 2147483647 h 62"/>
              <a:gd name="T18" fmla="*/ 2147483647 w 213"/>
              <a:gd name="T19" fmla="*/ 2147483647 h 62"/>
              <a:gd name="T20" fmla="*/ 2147483647 w 213"/>
              <a:gd name="T21" fmla="*/ 2147483647 h 62"/>
              <a:gd name="T22" fmla="*/ 2147483647 w 213"/>
              <a:gd name="T23" fmla="*/ 2147483647 h 62"/>
              <a:gd name="T24" fmla="*/ 2147483647 w 213"/>
              <a:gd name="T25" fmla="*/ 2147483647 h 62"/>
              <a:gd name="T26" fmla="*/ 2147483647 w 213"/>
              <a:gd name="T27" fmla="*/ 2147483647 h 62"/>
              <a:gd name="T28" fmla="*/ 2147483647 w 213"/>
              <a:gd name="T29" fmla="*/ 2147483647 h 62"/>
              <a:gd name="T30" fmla="*/ 2147483647 w 213"/>
              <a:gd name="T31" fmla="*/ 2147483647 h 62"/>
              <a:gd name="T32" fmla="*/ 2147483647 w 213"/>
              <a:gd name="T33" fmla="*/ 2147483647 h 62"/>
              <a:gd name="T34" fmla="*/ 2147483647 w 213"/>
              <a:gd name="T35" fmla="*/ 2147483647 h 62"/>
              <a:gd name="T36" fmla="*/ 2147483647 w 213"/>
              <a:gd name="T37" fmla="*/ 2147483647 h 62"/>
              <a:gd name="T38" fmla="*/ 2147483647 w 213"/>
              <a:gd name="T39" fmla="*/ 2147483647 h 62"/>
              <a:gd name="T40" fmla="*/ 2147483647 w 213"/>
              <a:gd name="T41" fmla="*/ 2147483647 h 62"/>
              <a:gd name="T42" fmla="*/ 2147483647 w 213"/>
              <a:gd name="T43" fmla="*/ 2147483647 h 62"/>
              <a:gd name="T44" fmla="*/ 2147483647 w 213"/>
              <a:gd name="T45" fmla="*/ 2147483647 h 62"/>
              <a:gd name="T46" fmla="*/ 2147483647 w 213"/>
              <a:gd name="T47" fmla="*/ 2147483647 h 62"/>
              <a:gd name="T48" fmla="*/ 2147483647 w 213"/>
              <a:gd name="T49" fmla="*/ 2147483647 h 62"/>
              <a:gd name="T50" fmla="*/ 2147483647 w 213"/>
              <a:gd name="T51" fmla="*/ 2147483647 h 62"/>
              <a:gd name="T52" fmla="*/ 0 w 213"/>
              <a:gd name="T53" fmla="*/ 2147483647 h 62"/>
              <a:gd name="T54" fmla="*/ 2147483647 w 213"/>
              <a:gd name="T55" fmla="*/ 2147483647 h 62"/>
              <a:gd name="T56" fmla="*/ 2147483647 w 213"/>
              <a:gd name="T57" fmla="*/ 2147483647 h 62"/>
              <a:gd name="T58" fmla="*/ 2147483647 w 213"/>
              <a:gd name="T59" fmla="*/ 2147483647 h 62"/>
              <a:gd name="T60" fmla="*/ 2147483647 w 213"/>
              <a:gd name="T61" fmla="*/ 2147483647 h 62"/>
              <a:gd name="T62" fmla="*/ 2147483647 w 213"/>
              <a:gd name="T63" fmla="*/ 2147483647 h 62"/>
              <a:gd name="T64" fmla="*/ 2147483647 w 213"/>
              <a:gd name="T65" fmla="*/ 2147483647 h 62"/>
              <a:gd name="T66" fmla="*/ 2147483647 w 213"/>
              <a:gd name="T67" fmla="*/ 2147483647 h 62"/>
              <a:gd name="T68" fmla="*/ 2147483647 w 213"/>
              <a:gd name="T69" fmla="*/ 2147483647 h 62"/>
              <a:gd name="T70" fmla="*/ 2147483647 w 213"/>
              <a:gd name="T71" fmla="*/ 2147483647 h 62"/>
              <a:gd name="T72" fmla="*/ 2147483647 w 213"/>
              <a:gd name="T73" fmla="*/ 2147483647 h 62"/>
              <a:gd name="T74" fmla="*/ 2147483647 w 213"/>
              <a:gd name="T75" fmla="*/ 0 h 62"/>
              <a:gd name="T76" fmla="*/ 2147483647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1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759315" y="2214190"/>
            <a:ext cx="103188" cy="60325"/>
          </a:xfrm>
          <a:custGeom>
            <a:avLst/>
            <a:gdLst>
              <a:gd name="T0" fmla="*/ 2147483647 w 239"/>
              <a:gd name="T1" fmla="*/ 0 h 56"/>
              <a:gd name="T2" fmla="*/ 2147483647 w 239"/>
              <a:gd name="T3" fmla="*/ 2147483647 h 56"/>
              <a:gd name="T4" fmla="*/ 2147483647 w 239"/>
              <a:gd name="T5" fmla="*/ 2147483647 h 56"/>
              <a:gd name="T6" fmla="*/ 2147483647 w 239"/>
              <a:gd name="T7" fmla="*/ 2147483647 h 56"/>
              <a:gd name="T8" fmla="*/ 2147483647 w 239"/>
              <a:gd name="T9" fmla="*/ 2147483647 h 56"/>
              <a:gd name="T10" fmla="*/ 2147483647 w 239"/>
              <a:gd name="T11" fmla="*/ 2147483647 h 56"/>
              <a:gd name="T12" fmla="*/ 2147483647 w 239"/>
              <a:gd name="T13" fmla="*/ 2147483647 h 56"/>
              <a:gd name="T14" fmla="*/ 2147483647 w 239"/>
              <a:gd name="T15" fmla="*/ 2147483647 h 56"/>
              <a:gd name="T16" fmla="*/ 0 w 239"/>
              <a:gd name="T17" fmla="*/ 2147483647 h 56"/>
              <a:gd name="T18" fmla="*/ 2147483647 w 239"/>
              <a:gd name="T19" fmla="*/ 2147483647 h 56"/>
              <a:gd name="T20" fmla="*/ 2147483647 w 239"/>
              <a:gd name="T21" fmla="*/ 2147483647 h 56"/>
              <a:gd name="T22" fmla="*/ 2147483647 w 239"/>
              <a:gd name="T23" fmla="*/ 2147483647 h 56"/>
              <a:gd name="T24" fmla="*/ 2147483647 w 239"/>
              <a:gd name="T25" fmla="*/ 2147483647 h 56"/>
              <a:gd name="T26" fmla="*/ 2147483647 w 239"/>
              <a:gd name="T27" fmla="*/ 2147483647 h 56"/>
              <a:gd name="T28" fmla="*/ 2147483647 w 239"/>
              <a:gd name="T29" fmla="*/ 2147483647 h 56"/>
              <a:gd name="T30" fmla="*/ 2147483647 w 239"/>
              <a:gd name="T31" fmla="*/ 2147483647 h 56"/>
              <a:gd name="T32" fmla="*/ 2147483647 w 239"/>
              <a:gd name="T33" fmla="*/ 2147483647 h 56"/>
              <a:gd name="T34" fmla="*/ 2147483647 w 239"/>
              <a:gd name="T35" fmla="*/ 2147483647 h 56"/>
              <a:gd name="T36" fmla="*/ 2147483647 w 239"/>
              <a:gd name="T37" fmla="*/ 2147483647 h 56"/>
              <a:gd name="T38" fmla="*/ 2147483647 w 239"/>
              <a:gd name="T39" fmla="*/ 2147483647 h 56"/>
              <a:gd name="T40" fmla="*/ 2147483647 w 239"/>
              <a:gd name="T41" fmla="*/ 2147483647 h 56"/>
              <a:gd name="T42" fmla="*/ 2147483647 w 239"/>
              <a:gd name="T43" fmla="*/ 2147483647 h 56"/>
              <a:gd name="T44" fmla="*/ 2147483647 w 239"/>
              <a:gd name="T45" fmla="*/ 2147483647 h 56"/>
              <a:gd name="T46" fmla="*/ 2147483647 w 239"/>
              <a:gd name="T47" fmla="*/ 2147483647 h 56"/>
              <a:gd name="T48" fmla="*/ 2147483647 w 239"/>
              <a:gd name="T49" fmla="*/ 2147483647 h 56"/>
              <a:gd name="T50" fmla="*/ 2147483647 w 239"/>
              <a:gd name="T51" fmla="*/ 2147483647 h 56"/>
              <a:gd name="T52" fmla="*/ 2147483647 w 239"/>
              <a:gd name="T53" fmla="*/ 2147483647 h 56"/>
              <a:gd name="T54" fmla="*/ 2147483647 w 239"/>
              <a:gd name="T55" fmla="*/ 2147483647 h 56"/>
              <a:gd name="T56" fmla="*/ 2147483647 w 239"/>
              <a:gd name="T57" fmla="*/ 2147483647 h 56"/>
              <a:gd name="T58" fmla="*/ 2147483647 w 239"/>
              <a:gd name="T59" fmla="*/ 2147483647 h 56"/>
              <a:gd name="T60" fmla="*/ 2147483647 w 239"/>
              <a:gd name="T61" fmla="*/ 2147483647 h 56"/>
              <a:gd name="T62" fmla="*/ 2147483647 w 239"/>
              <a:gd name="T63" fmla="*/ 2147483647 h 56"/>
              <a:gd name="T64" fmla="*/ 2147483647 w 239"/>
              <a:gd name="T65" fmla="*/ 2147483647 h 56"/>
              <a:gd name="T66" fmla="*/ 2147483647 w 239"/>
              <a:gd name="T67" fmla="*/ 2147483647 h 56"/>
              <a:gd name="T68" fmla="*/ 2147483647 w 239"/>
              <a:gd name="T69" fmla="*/ 2147483647 h 56"/>
              <a:gd name="T70" fmla="*/ 2147483647 w 239"/>
              <a:gd name="T71" fmla="*/ 2147483647 h 56"/>
              <a:gd name="T72" fmla="*/ 2147483647 w 239"/>
              <a:gd name="T73" fmla="*/ 2147483647 h 56"/>
              <a:gd name="T74" fmla="*/ 2147483647 w 239"/>
              <a:gd name="T75" fmla="*/ 2147483647 h 56"/>
              <a:gd name="T76" fmla="*/ 2147483647 w 239"/>
              <a:gd name="T77" fmla="*/ 2147483647 h 56"/>
              <a:gd name="T78" fmla="*/ 2147483647 w 239"/>
              <a:gd name="T79" fmla="*/ 2147483647 h 56"/>
              <a:gd name="T80" fmla="*/ 2147483647 w 239"/>
              <a:gd name="T81" fmla="*/ 2147483647 h 56"/>
              <a:gd name="T82" fmla="*/ 2147483647 w 239"/>
              <a:gd name="T83" fmla="*/ 2147483647 h 56"/>
              <a:gd name="T84" fmla="*/ 2147483647 w 239"/>
              <a:gd name="T85" fmla="*/ 2147483647 h 56"/>
              <a:gd name="T86" fmla="*/ 2147483647 w 239"/>
              <a:gd name="T87" fmla="*/ 0 h 56"/>
              <a:gd name="T88" fmla="*/ 2147483647 w 239"/>
              <a:gd name="T89" fmla="*/ 2147483647 h 56"/>
              <a:gd name="T90" fmla="*/ 2147483647 w 239"/>
              <a:gd name="T91" fmla="*/ 2147483647 h 56"/>
              <a:gd name="T92" fmla="*/ 2147483647 w 239"/>
              <a:gd name="T93" fmla="*/ 2147483647 h 56"/>
              <a:gd name="T94" fmla="*/ 2147483647 w 239"/>
              <a:gd name="T95" fmla="*/ 2147483647 h 56"/>
              <a:gd name="T96" fmla="*/ 2147483647 w 239"/>
              <a:gd name="T97" fmla="*/ 2147483647 h 56"/>
              <a:gd name="T98" fmla="*/ 2147483647 w 239"/>
              <a:gd name="T99" fmla="*/ 2147483647 h 56"/>
              <a:gd name="T100" fmla="*/ 2147483647 w 239"/>
              <a:gd name="T101" fmla="*/ 2147483647 h 56"/>
              <a:gd name="T102" fmla="*/ 2147483647 w 239"/>
              <a:gd name="T103" fmla="*/ 2147483647 h 56"/>
              <a:gd name="T104" fmla="*/ 2147483647 w 239"/>
              <a:gd name="T105" fmla="*/ 2147483647 h 56"/>
              <a:gd name="T106" fmla="*/ 2147483647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2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876790" y="2228478"/>
            <a:ext cx="82550" cy="57150"/>
          </a:xfrm>
          <a:custGeom>
            <a:avLst/>
            <a:gdLst>
              <a:gd name="T0" fmla="*/ 2147483647 w 187"/>
              <a:gd name="T1" fmla="*/ 2147483647 h 80"/>
              <a:gd name="T2" fmla="*/ 2147483647 w 187"/>
              <a:gd name="T3" fmla="*/ 0 h 80"/>
              <a:gd name="T4" fmla="*/ 2147483647 w 187"/>
              <a:gd name="T5" fmla="*/ 2147483647 h 80"/>
              <a:gd name="T6" fmla="*/ 2147483647 w 187"/>
              <a:gd name="T7" fmla="*/ 2147483647 h 80"/>
              <a:gd name="T8" fmla="*/ 2147483647 w 187"/>
              <a:gd name="T9" fmla="*/ 2147483647 h 80"/>
              <a:gd name="T10" fmla="*/ 2147483647 w 187"/>
              <a:gd name="T11" fmla="*/ 2147483647 h 80"/>
              <a:gd name="T12" fmla="*/ 2147483647 w 187"/>
              <a:gd name="T13" fmla="*/ 2147483647 h 80"/>
              <a:gd name="T14" fmla="*/ 2147483647 w 187"/>
              <a:gd name="T15" fmla="*/ 2147483647 h 80"/>
              <a:gd name="T16" fmla="*/ 2147483647 w 187"/>
              <a:gd name="T17" fmla="*/ 2147483647 h 80"/>
              <a:gd name="T18" fmla="*/ 2147483647 w 187"/>
              <a:gd name="T19" fmla="*/ 2147483647 h 80"/>
              <a:gd name="T20" fmla="*/ 2147483647 w 187"/>
              <a:gd name="T21" fmla="*/ 2147483647 h 80"/>
              <a:gd name="T22" fmla="*/ 2147483647 w 187"/>
              <a:gd name="T23" fmla="*/ 2147483647 h 80"/>
              <a:gd name="T24" fmla="*/ 2147483647 w 187"/>
              <a:gd name="T25" fmla="*/ 2147483647 h 80"/>
              <a:gd name="T26" fmla="*/ 2147483647 w 187"/>
              <a:gd name="T27" fmla="*/ 2147483647 h 80"/>
              <a:gd name="T28" fmla="*/ 2147483647 w 187"/>
              <a:gd name="T29" fmla="*/ 2147483647 h 80"/>
              <a:gd name="T30" fmla="*/ 2147483647 w 187"/>
              <a:gd name="T31" fmla="*/ 2147483647 h 80"/>
              <a:gd name="T32" fmla="*/ 2147483647 w 187"/>
              <a:gd name="T33" fmla="*/ 2147483647 h 80"/>
              <a:gd name="T34" fmla="*/ 2147483647 w 187"/>
              <a:gd name="T35" fmla="*/ 2147483647 h 80"/>
              <a:gd name="T36" fmla="*/ 2147483647 w 187"/>
              <a:gd name="T37" fmla="*/ 2147483647 h 80"/>
              <a:gd name="T38" fmla="*/ 2147483647 w 187"/>
              <a:gd name="T39" fmla="*/ 2147483647 h 80"/>
              <a:gd name="T40" fmla="*/ 2147483647 w 187"/>
              <a:gd name="T41" fmla="*/ 2147483647 h 80"/>
              <a:gd name="T42" fmla="*/ 2147483647 w 187"/>
              <a:gd name="T43" fmla="*/ 2147483647 h 80"/>
              <a:gd name="T44" fmla="*/ 2147483647 w 187"/>
              <a:gd name="T45" fmla="*/ 2147483647 h 80"/>
              <a:gd name="T46" fmla="*/ 2147483647 w 187"/>
              <a:gd name="T47" fmla="*/ 2147483647 h 80"/>
              <a:gd name="T48" fmla="*/ 2147483647 w 187"/>
              <a:gd name="T49" fmla="*/ 2147483647 h 80"/>
              <a:gd name="T50" fmla="*/ 2147483647 w 187"/>
              <a:gd name="T51" fmla="*/ 2147483647 h 80"/>
              <a:gd name="T52" fmla="*/ 2147483647 w 187"/>
              <a:gd name="T53" fmla="*/ 2147483647 h 80"/>
              <a:gd name="T54" fmla="*/ 2147483647 w 187"/>
              <a:gd name="T55" fmla="*/ 2147483647 h 80"/>
              <a:gd name="T56" fmla="*/ 2147483647 w 187"/>
              <a:gd name="T57" fmla="*/ 2147483647 h 80"/>
              <a:gd name="T58" fmla="*/ 2147483647 w 187"/>
              <a:gd name="T59" fmla="*/ 2147483647 h 80"/>
              <a:gd name="T60" fmla="*/ 2147483647 w 187"/>
              <a:gd name="T61" fmla="*/ 2147483647 h 80"/>
              <a:gd name="T62" fmla="*/ 2147483647 w 187"/>
              <a:gd name="T63" fmla="*/ 2147483647 h 80"/>
              <a:gd name="T64" fmla="*/ 2147483647 w 187"/>
              <a:gd name="T65" fmla="*/ 2147483647 h 80"/>
              <a:gd name="T66" fmla="*/ 0 w 187"/>
              <a:gd name="T67" fmla="*/ 2147483647 h 80"/>
              <a:gd name="T68" fmla="*/ 2147483647 w 187"/>
              <a:gd name="T69" fmla="*/ 2147483647 h 80"/>
              <a:gd name="T70" fmla="*/ 2147483647 w 187"/>
              <a:gd name="T71" fmla="*/ 2147483647 h 80"/>
              <a:gd name="T72" fmla="*/ 2147483647 w 187"/>
              <a:gd name="T73" fmla="*/ 2147483647 h 80"/>
              <a:gd name="T74" fmla="*/ 2147483647 w 187"/>
              <a:gd name="T75" fmla="*/ 2147483647 h 80"/>
              <a:gd name="T76" fmla="*/ 2147483647 w 187"/>
              <a:gd name="T77" fmla="*/ 2147483647 h 80"/>
              <a:gd name="T78" fmla="*/ 2147483647 w 187"/>
              <a:gd name="T79" fmla="*/ 2147483647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3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403840" y="2353890"/>
            <a:ext cx="79375" cy="58738"/>
          </a:xfrm>
          <a:custGeom>
            <a:avLst/>
            <a:gdLst>
              <a:gd name="T0" fmla="*/ 2147483647 w 183"/>
              <a:gd name="T1" fmla="*/ 0 h 73"/>
              <a:gd name="T2" fmla="*/ 2147483647 w 183"/>
              <a:gd name="T3" fmla="*/ 0 h 73"/>
              <a:gd name="T4" fmla="*/ 2147483647 w 183"/>
              <a:gd name="T5" fmla="*/ 2147483647 h 73"/>
              <a:gd name="T6" fmla="*/ 2147483647 w 183"/>
              <a:gd name="T7" fmla="*/ 2147483647 h 73"/>
              <a:gd name="T8" fmla="*/ 2147483647 w 183"/>
              <a:gd name="T9" fmla="*/ 2147483647 h 73"/>
              <a:gd name="T10" fmla="*/ 2147483647 w 183"/>
              <a:gd name="T11" fmla="*/ 2147483647 h 73"/>
              <a:gd name="T12" fmla="*/ 2147483647 w 183"/>
              <a:gd name="T13" fmla="*/ 2147483647 h 73"/>
              <a:gd name="T14" fmla="*/ 2147483647 w 183"/>
              <a:gd name="T15" fmla="*/ 2147483647 h 73"/>
              <a:gd name="T16" fmla="*/ 2147483647 w 183"/>
              <a:gd name="T17" fmla="*/ 2147483647 h 73"/>
              <a:gd name="T18" fmla="*/ 2147483647 w 183"/>
              <a:gd name="T19" fmla="*/ 2147483647 h 73"/>
              <a:gd name="T20" fmla="*/ 2147483647 w 183"/>
              <a:gd name="T21" fmla="*/ 2147483647 h 73"/>
              <a:gd name="T22" fmla="*/ 2147483647 w 183"/>
              <a:gd name="T23" fmla="*/ 2147483647 h 73"/>
              <a:gd name="T24" fmla="*/ 2147483647 w 183"/>
              <a:gd name="T25" fmla="*/ 2147483647 h 73"/>
              <a:gd name="T26" fmla="*/ 2147483647 w 183"/>
              <a:gd name="T27" fmla="*/ 2147483647 h 73"/>
              <a:gd name="T28" fmla="*/ 2147483647 w 183"/>
              <a:gd name="T29" fmla="*/ 2147483647 h 73"/>
              <a:gd name="T30" fmla="*/ 2147483647 w 183"/>
              <a:gd name="T31" fmla="*/ 2147483647 h 73"/>
              <a:gd name="T32" fmla="*/ 2147483647 w 183"/>
              <a:gd name="T33" fmla="*/ 2147483647 h 73"/>
              <a:gd name="T34" fmla="*/ 2147483647 w 183"/>
              <a:gd name="T35" fmla="*/ 2147483647 h 73"/>
              <a:gd name="T36" fmla="*/ 2147483647 w 183"/>
              <a:gd name="T37" fmla="*/ 2147483647 h 73"/>
              <a:gd name="T38" fmla="*/ 2147483647 w 183"/>
              <a:gd name="T39" fmla="*/ 2147483647 h 73"/>
              <a:gd name="T40" fmla="*/ 2147483647 w 183"/>
              <a:gd name="T41" fmla="*/ 2147483647 h 73"/>
              <a:gd name="T42" fmla="*/ 2147483647 w 183"/>
              <a:gd name="T43" fmla="*/ 2147483647 h 73"/>
              <a:gd name="T44" fmla="*/ 2147483647 w 183"/>
              <a:gd name="T45" fmla="*/ 2147483647 h 73"/>
              <a:gd name="T46" fmla="*/ 2147483647 w 183"/>
              <a:gd name="T47" fmla="*/ 2147483647 h 73"/>
              <a:gd name="T48" fmla="*/ 2147483647 w 183"/>
              <a:gd name="T49" fmla="*/ 2147483647 h 73"/>
              <a:gd name="T50" fmla="*/ 0 w 183"/>
              <a:gd name="T51" fmla="*/ 2147483647 h 73"/>
              <a:gd name="T52" fmla="*/ 2147483647 w 183"/>
              <a:gd name="T53" fmla="*/ 2147483647 h 73"/>
              <a:gd name="T54" fmla="*/ 2147483647 w 183"/>
              <a:gd name="T55" fmla="*/ 2147483647 h 73"/>
              <a:gd name="T56" fmla="*/ 2147483647 w 183"/>
              <a:gd name="T57" fmla="*/ 2147483647 h 73"/>
              <a:gd name="T58" fmla="*/ 2147483647 w 183"/>
              <a:gd name="T59" fmla="*/ 2147483647 h 73"/>
              <a:gd name="T60" fmla="*/ 2147483647 w 183"/>
              <a:gd name="T61" fmla="*/ 2147483647 h 73"/>
              <a:gd name="T62" fmla="*/ 2147483647 w 183"/>
              <a:gd name="T63" fmla="*/ 0 h 73"/>
              <a:gd name="T64" fmla="*/ 2147483647 w 183"/>
              <a:gd name="T65" fmla="*/ 0 h 73"/>
              <a:gd name="T66" fmla="*/ 214748364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4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470515" y="2371353"/>
            <a:ext cx="33338" cy="57150"/>
          </a:xfrm>
          <a:custGeom>
            <a:avLst/>
            <a:gdLst>
              <a:gd name="T0" fmla="*/ 0 w 79"/>
              <a:gd name="T1" fmla="*/ 2147483647 h 42"/>
              <a:gd name="T2" fmla="*/ 2147483647 w 79"/>
              <a:gd name="T3" fmla="*/ 2147483647 h 42"/>
              <a:gd name="T4" fmla="*/ 2147483647 w 79"/>
              <a:gd name="T5" fmla="*/ 2147483647 h 42"/>
              <a:gd name="T6" fmla="*/ 2147483647 w 79"/>
              <a:gd name="T7" fmla="*/ 0 h 42"/>
              <a:gd name="T8" fmla="*/ 2147483647 w 79"/>
              <a:gd name="T9" fmla="*/ 0 h 42"/>
              <a:gd name="T10" fmla="*/ 2147483647 w 79"/>
              <a:gd name="T11" fmla="*/ 2147483647 h 42"/>
              <a:gd name="T12" fmla="*/ 2147483647 w 79"/>
              <a:gd name="T13" fmla="*/ 2147483647 h 42"/>
              <a:gd name="T14" fmla="*/ 2147483647 w 79"/>
              <a:gd name="T15" fmla="*/ 2147483647 h 42"/>
              <a:gd name="T16" fmla="*/ 2147483647 w 79"/>
              <a:gd name="T17" fmla="*/ 2147483647 h 42"/>
              <a:gd name="T18" fmla="*/ 2147483647 w 79"/>
              <a:gd name="T19" fmla="*/ 2147483647 h 42"/>
              <a:gd name="T20" fmla="*/ 2147483647 w 79"/>
              <a:gd name="T21" fmla="*/ 2147483647 h 42"/>
              <a:gd name="T22" fmla="*/ 2147483647 w 79"/>
              <a:gd name="T23" fmla="*/ 2147483647 h 42"/>
              <a:gd name="T24" fmla="*/ 2147483647 w 79"/>
              <a:gd name="T25" fmla="*/ 2147483647 h 42"/>
              <a:gd name="T26" fmla="*/ 2147483647 w 79"/>
              <a:gd name="T27" fmla="*/ 2147483647 h 42"/>
              <a:gd name="T28" fmla="*/ 2147483647 w 79"/>
              <a:gd name="T29" fmla="*/ 2147483647 h 42"/>
              <a:gd name="T30" fmla="*/ 2147483647 w 79"/>
              <a:gd name="T31" fmla="*/ 2147483647 h 42"/>
              <a:gd name="T32" fmla="*/ 2147483647 w 79"/>
              <a:gd name="T33" fmla="*/ 2147483647 h 42"/>
              <a:gd name="T34" fmla="*/ 2147483647 w 79"/>
              <a:gd name="T35" fmla="*/ 2147483647 h 42"/>
              <a:gd name="T36" fmla="*/ 2147483647 w 79"/>
              <a:gd name="T37" fmla="*/ 2147483647 h 42"/>
              <a:gd name="T38" fmla="*/ 2147483647 w 79"/>
              <a:gd name="T39" fmla="*/ 2147483647 h 42"/>
              <a:gd name="T40" fmla="*/ 2147483647 w 79"/>
              <a:gd name="T41" fmla="*/ 2147483647 h 42"/>
              <a:gd name="T42" fmla="*/ 2147483647 w 79"/>
              <a:gd name="T43" fmla="*/ 2147483647 h 42"/>
              <a:gd name="T44" fmla="*/ 2147483647 w 79"/>
              <a:gd name="T45" fmla="*/ 2147483647 h 42"/>
              <a:gd name="T46" fmla="*/ 0 w 79"/>
              <a:gd name="T47" fmla="*/ 2147483647 h 42"/>
              <a:gd name="T48" fmla="*/ 0 w 79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5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500678" y="2382465"/>
            <a:ext cx="52387" cy="58738"/>
          </a:xfrm>
          <a:custGeom>
            <a:avLst/>
            <a:gdLst>
              <a:gd name="T0" fmla="*/ 2147483647 w 113"/>
              <a:gd name="T1" fmla="*/ 2147483647 h 52"/>
              <a:gd name="T2" fmla="*/ 2147483647 w 113"/>
              <a:gd name="T3" fmla="*/ 2147483647 h 52"/>
              <a:gd name="T4" fmla="*/ 2147483647 w 113"/>
              <a:gd name="T5" fmla="*/ 2147483647 h 52"/>
              <a:gd name="T6" fmla="*/ 2147483647 w 113"/>
              <a:gd name="T7" fmla="*/ 2147483647 h 52"/>
              <a:gd name="T8" fmla="*/ 2147483647 w 113"/>
              <a:gd name="T9" fmla="*/ 2147483647 h 52"/>
              <a:gd name="T10" fmla="*/ 2147483647 w 113"/>
              <a:gd name="T11" fmla="*/ 2147483647 h 52"/>
              <a:gd name="T12" fmla="*/ 2147483647 w 113"/>
              <a:gd name="T13" fmla="*/ 2147483647 h 52"/>
              <a:gd name="T14" fmla="*/ 2147483647 w 113"/>
              <a:gd name="T15" fmla="*/ 2147483647 h 52"/>
              <a:gd name="T16" fmla="*/ 2147483647 w 113"/>
              <a:gd name="T17" fmla="*/ 2147483647 h 52"/>
              <a:gd name="T18" fmla="*/ 2147483647 w 113"/>
              <a:gd name="T19" fmla="*/ 2147483647 h 52"/>
              <a:gd name="T20" fmla="*/ 2147483647 w 113"/>
              <a:gd name="T21" fmla="*/ 2147483647 h 52"/>
              <a:gd name="T22" fmla="*/ 2147483647 w 113"/>
              <a:gd name="T23" fmla="*/ 2147483647 h 52"/>
              <a:gd name="T24" fmla="*/ 2147483647 w 113"/>
              <a:gd name="T25" fmla="*/ 2147483647 h 52"/>
              <a:gd name="T26" fmla="*/ 2147483647 w 113"/>
              <a:gd name="T27" fmla="*/ 2147483647 h 52"/>
              <a:gd name="T28" fmla="*/ 2147483647 w 113"/>
              <a:gd name="T29" fmla="*/ 2147483647 h 52"/>
              <a:gd name="T30" fmla="*/ 2147483647 w 113"/>
              <a:gd name="T31" fmla="*/ 2147483647 h 52"/>
              <a:gd name="T32" fmla="*/ 2147483647 w 113"/>
              <a:gd name="T33" fmla="*/ 2147483647 h 52"/>
              <a:gd name="T34" fmla="*/ 2147483647 w 113"/>
              <a:gd name="T35" fmla="*/ 2147483647 h 52"/>
              <a:gd name="T36" fmla="*/ 0 w 113"/>
              <a:gd name="T37" fmla="*/ 2147483647 h 52"/>
              <a:gd name="T38" fmla="*/ 2147483647 w 113"/>
              <a:gd name="T39" fmla="*/ 2147483647 h 52"/>
              <a:gd name="T40" fmla="*/ 2147483647 w 113"/>
              <a:gd name="T41" fmla="*/ 2147483647 h 52"/>
              <a:gd name="T42" fmla="*/ 2147483647 w 113"/>
              <a:gd name="T43" fmla="*/ 2147483647 h 52"/>
              <a:gd name="T44" fmla="*/ 2147483647 w 113"/>
              <a:gd name="T45" fmla="*/ 2147483647 h 52"/>
              <a:gd name="T46" fmla="*/ 2147483647 w 113"/>
              <a:gd name="T47" fmla="*/ 2147483647 h 52"/>
              <a:gd name="T48" fmla="*/ 2147483647 w 113"/>
              <a:gd name="T49" fmla="*/ 2147483647 h 52"/>
              <a:gd name="T50" fmla="*/ 2147483647 w 113"/>
              <a:gd name="T51" fmla="*/ 2147483647 h 52"/>
              <a:gd name="T52" fmla="*/ 2147483647 w 113"/>
              <a:gd name="T53" fmla="*/ 0 h 52"/>
              <a:gd name="T54" fmla="*/ 2147483647 w 113"/>
              <a:gd name="T55" fmla="*/ 0 h 52"/>
              <a:gd name="T56" fmla="*/ 2147483647 w 113"/>
              <a:gd name="T57" fmla="*/ 2147483647 h 52"/>
              <a:gd name="T58" fmla="*/ 2147483647 w 113"/>
              <a:gd name="T59" fmla="*/ 2147483647 h 52"/>
              <a:gd name="T60" fmla="*/ 2147483647 w 113"/>
              <a:gd name="T61" fmla="*/ 2147483647 h 52"/>
              <a:gd name="T62" fmla="*/ 2147483647 w 113"/>
              <a:gd name="T63" fmla="*/ 2147483647 h 52"/>
              <a:gd name="T64" fmla="*/ 2147483647 w 113"/>
              <a:gd name="T65" fmla="*/ 2147483647 h 52"/>
              <a:gd name="T66" fmla="*/ 2147483647 w 113"/>
              <a:gd name="T67" fmla="*/ 2147483647 h 52"/>
              <a:gd name="T68" fmla="*/ 2147483647 w 113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6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272078" y="2355478"/>
            <a:ext cx="61912" cy="58737"/>
          </a:xfrm>
          <a:custGeom>
            <a:avLst/>
            <a:gdLst>
              <a:gd name="T0" fmla="*/ 0 w 139"/>
              <a:gd name="T1" fmla="*/ 2147483647 h 40"/>
              <a:gd name="T2" fmla="*/ 2147483647 w 139"/>
              <a:gd name="T3" fmla="*/ 2147483647 h 40"/>
              <a:gd name="T4" fmla="*/ 2147483647 w 139"/>
              <a:gd name="T5" fmla="*/ 2147483647 h 40"/>
              <a:gd name="T6" fmla="*/ 2147483647 w 139"/>
              <a:gd name="T7" fmla="*/ 2147483647 h 40"/>
              <a:gd name="T8" fmla="*/ 2147483647 w 139"/>
              <a:gd name="T9" fmla="*/ 2147483647 h 40"/>
              <a:gd name="T10" fmla="*/ 2147483647 w 139"/>
              <a:gd name="T11" fmla="*/ 2147483647 h 40"/>
              <a:gd name="T12" fmla="*/ 2147483647 w 139"/>
              <a:gd name="T13" fmla="*/ 2147483647 h 40"/>
              <a:gd name="T14" fmla="*/ 2147483647 w 139"/>
              <a:gd name="T15" fmla="*/ 0 h 40"/>
              <a:gd name="T16" fmla="*/ 2147483647 w 139"/>
              <a:gd name="T17" fmla="*/ 2147483647 h 40"/>
              <a:gd name="T18" fmla="*/ 2147483647 w 139"/>
              <a:gd name="T19" fmla="*/ 2147483647 h 40"/>
              <a:gd name="T20" fmla="*/ 2147483647 w 139"/>
              <a:gd name="T21" fmla="*/ 2147483647 h 40"/>
              <a:gd name="T22" fmla="*/ 2147483647 w 139"/>
              <a:gd name="T23" fmla="*/ 2147483647 h 40"/>
              <a:gd name="T24" fmla="*/ 2147483647 w 139"/>
              <a:gd name="T25" fmla="*/ 2147483647 h 40"/>
              <a:gd name="T26" fmla="*/ 2147483647 w 139"/>
              <a:gd name="T27" fmla="*/ 2147483647 h 40"/>
              <a:gd name="T28" fmla="*/ 2147483647 w 139"/>
              <a:gd name="T29" fmla="*/ 2147483647 h 40"/>
              <a:gd name="T30" fmla="*/ 2147483647 w 139"/>
              <a:gd name="T31" fmla="*/ 2147483647 h 40"/>
              <a:gd name="T32" fmla="*/ 2147483647 w 139"/>
              <a:gd name="T33" fmla="*/ 2147483647 h 40"/>
              <a:gd name="T34" fmla="*/ 2147483647 w 139"/>
              <a:gd name="T35" fmla="*/ 2147483647 h 40"/>
              <a:gd name="T36" fmla="*/ 2147483647 w 139"/>
              <a:gd name="T37" fmla="*/ 2147483647 h 40"/>
              <a:gd name="T38" fmla="*/ 2147483647 w 139"/>
              <a:gd name="T39" fmla="*/ 2147483647 h 40"/>
              <a:gd name="T40" fmla="*/ 2147483647 w 139"/>
              <a:gd name="T41" fmla="*/ 2147483647 h 40"/>
              <a:gd name="T42" fmla="*/ 0 w 139"/>
              <a:gd name="T43" fmla="*/ 21474836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7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572115" y="2296740"/>
            <a:ext cx="139700" cy="57150"/>
          </a:xfrm>
          <a:custGeom>
            <a:avLst/>
            <a:gdLst>
              <a:gd name="T0" fmla="*/ 2147483647 w 325"/>
              <a:gd name="T1" fmla="*/ 2147483647 h 71"/>
              <a:gd name="T2" fmla="*/ 2147483647 w 325"/>
              <a:gd name="T3" fmla="*/ 2147483647 h 71"/>
              <a:gd name="T4" fmla="*/ 2147483647 w 325"/>
              <a:gd name="T5" fmla="*/ 0 h 71"/>
              <a:gd name="T6" fmla="*/ 2147483647 w 325"/>
              <a:gd name="T7" fmla="*/ 2147483647 h 71"/>
              <a:gd name="T8" fmla="*/ 2147483647 w 325"/>
              <a:gd name="T9" fmla="*/ 2147483647 h 71"/>
              <a:gd name="T10" fmla="*/ 2147483647 w 325"/>
              <a:gd name="T11" fmla="*/ 2147483647 h 71"/>
              <a:gd name="T12" fmla="*/ 2147483647 w 325"/>
              <a:gd name="T13" fmla="*/ 2147483647 h 71"/>
              <a:gd name="T14" fmla="*/ 2147483647 w 325"/>
              <a:gd name="T15" fmla="*/ 2147483647 h 71"/>
              <a:gd name="T16" fmla="*/ 2147483647 w 325"/>
              <a:gd name="T17" fmla="*/ 2147483647 h 71"/>
              <a:gd name="T18" fmla="*/ 2147483647 w 325"/>
              <a:gd name="T19" fmla="*/ 2147483647 h 71"/>
              <a:gd name="T20" fmla="*/ 2147483647 w 325"/>
              <a:gd name="T21" fmla="*/ 2147483647 h 71"/>
              <a:gd name="T22" fmla="*/ 2147483647 w 325"/>
              <a:gd name="T23" fmla="*/ 2147483647 h 71"/>
              <a:gd name="T24" fmla="*/ 2147483647 w 325"/>
              <a:gd name="T25" fmla="*/ 2147483647 h 71"/>
              <a:gd name="T26" fmla="*/ 2147483647 w 325"/>
              <a:gd name="T27" fmla="*/ 2147483647 h 71"/>
              <a:gd name="T28" fmla="*/ 2147483647 w 325"/>
              <a:gd name="T29" fmla="*/ 2147483647 h 71"/>
              <a:gd name="T30" fmla="*/ 2147483647 w 325"/>
              <a:gd name="T31" fmla="*/ 2147483647 h 71"/>
              <a:gd name="T32" fmla="*/ 2147483647 w 325"/>
              <a:gd name="T33" fmla="*/ 2147483647 h 71"/>
              <a:gd name="T34" fmla="*/ 2147483647 w 325"/>
              <a:gd name="T35" fmla="*/ 2147483647 h 71"/>
              <a:gd name="T36" fmla="*/ 2147483647 w 325"/>
              <a:gd name="T37" fmla="*/ 2147483647 h 71"/>
              <a:gd name="T38" fmla="*/ 2147483647 w 325"/>
              <a:gd name="T39" fmla="*/ 2147483647 h 71"/>
              <a:gd name="T40" fmla="*/ 2147483647 w 325"/>
              <a:gd name="T41" fmla="*/ 2147483647 h 71"/>
              <a:gd name="T42" fmla="*/ 2147483647 w 325"/>
              <a:gd name="T43" fmla="*/ 2147483647 h 71"/>
              <a:gd name="T44" fmla="*/ 2147483647 w 325"/>
              <a:gd name="T45" fmla="*/ 2147483647 h 71"/>
              <a:gd name="T46" fmla="*/ 2147483647 w 325"/>
              <a:gd name="T47" fmla="*/ 2147483647 h 71"/>
              <a:gd name="T48" fmla="*/ 2147483647 w 325"/>
              <a:gd name="T49" fmla="*/ 2147483647 h 71"/>
              <a:gd name="T50" fmla="*/ 2147483647 w 325"/>
              <a:gd name="T51" fmla="*/ 2147483647 h 71"/>
              <a:gd name="T52" fmla="*/ 2147483647 w 325"/>
              <a:gd name="T53" fmla="*/ 2147483647 h 71"/>
              <a:gd name="T54" fmla="*/ 2147483647 w 325"/>
              <a:gd name="T55" fmla="*/ 2147483647 h 71"/>
              <a:gd name="T56" fmla="*/ 2147483647 w 325"/>
              <a:gd name="T57" fmla="*/ 2147483647 h 71"/>
              <a:gd name="T58" fmla="*/ 2147483647 w 325"/>
              <a:gd name="T59" fmla="*/ 2147483647 h 71"/>
              <a:gd name="T60" fmla="*/ 2147483647 w 325"/>
              <a:gd name="T61" fmla="*/ 2147483647 h 71"/>
              <a:gd name="T62" fmla="*/ 0 w 325"/>
              <a:gd name="T63" fmla="*/ 2147483647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8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732453" y="2304678"/>
            <a:ext cx="95250" cy="57150"/>
          </a:xfrm>
          <a:custGeom>
            <a:avLst/>
            <a:gdLst>
              <a:gd name="T0" fmla="*/ 2147483647 w 220"/>
              <a:gd name="T1" fmla="*/ 2147483647 h 72"/>
              <a:gd name="T2" fmla="*/ 2147483647 w 220"/>
              <a:gd name="T3" fmla="*/ 2147483647 h 72"/>
              <a:gd name="T4" fmla="*/ 2147483647 w 220"/>
              <a:gd name="T5" fmla="*/ 2147483647 h 72"/>
              <a:gd name="T6" fmla="*/ 2147483647 w 220"/>
              <a:gd name="T7" fmla="*/ 2147483647 h 72"/>
              <a:gd name="T8" fmla="*/ 2147483647 w 220"/>
              <a:gd name="T9" fmla="*/ 2147483647 h 72"/>
              <a:gd name="T10" fmla="*/ 2147483647 w 220"/>
              <a:gd name="T11" fmla="*/ 2147483647 h 72"/>
              <a:gd name="T12" fmla="*/ 2147483647 w 220"/>
              <a:gd name="T13" fmla="*/ 2147483647 h 72"/>
              <a:gd name="T14" fmla="*/ 2147483647 w 220"/>
              <a:gd name="T15" fmla="*/ 2147483647 h 72"/>
              <a:gd name="T16" fmla="*/ 2147483647 w 220"/>
              <a:gd name="T17" fmla="*/ 2147483647 h 72"/>
              <a:gd name="T18" fmla="*/ 2147483647 w 220"/>
              <a:gd name="T19" fmla="*/ 2147483647 h 72"/>
              <a:gd name="T20" fmla="*/ 2147483647 w 220"/>
              <a:gd name="T21" fmla="*/ 2147483647 h 72"/>
              <a:gd name="T22" fmla="*/ 2147483647 w 220"/>
              <a:gd name="T23" fmla="*/ 2147483647 h 72"/>
              <a:gd name="T24" fmla="*/ 2147483647 w 220"/>
              <a:gd name="T25" fmla="*/ 2147483647 h 72"/>
              <a:gd name="T26" fmla="*/ 2147483647 w 220"/>
              <a:gd name="T27" fmla="*/ 2147483647 h 72"/>
              <a:gd name="T28" fmla="*/ 2147483647 w 220"/>
              <a:gd name="T29" fmla="*/ 0 h 72"/>
              <a:gd name="T30" fmla="*/ 2147483647 w 220"/>
              <a:gd name="T31" fmla="*/ 2147483647 h 72"/>
              <a:gd name="T32" fmla="*/ 2147483647 w 220"/>
              <a:gd name="T33" fmla="*/ 2147483647 h 72"/>
              <a:gd name="T34" fmla="*/ 2147483647 w 220"/>
              <a:gd name="T35" fmla="*/ 2147483647 h 72"/>
              <a:gd name="T36" fmla="*/ 2147483647 w 220"/>
              <a:gd name="T37" fmla="*/ 2147483647 h 72"/>
              <a:gd name="T38" fmla="*/ 2147483647 w 220"/>
              <a:gd name="T39" fmla="*/ 2147483647 h 72"/>
              <a:gd name="T40" fmla="*/ 2147483647 w 220"/>
              <a:gd name="T41" fmla="*/ 2147483647 h 72"/>
              <a:gd name="T42" fmla="*/ 2147483647 w 220"/>
              <a:gd name="T43" fmla="*/ 2147483647 h 72"/>
              <a:gd name="T44" fmla="*/ 2147483647 w 220"/>
              <a:gd name="T45" fmla="*/ 2147483647 h 72"/>
              <a:gd name="T46" fmla="*/ 2147483647 w 220"/>
              <a:gd name="T47" fmla="*/ 2147483647 h 72"/>
              <a:gd name="T48" fmla="*/ 2147483647 w 220"/>
              <a:gd name="T49" fmla="*/ 2147483647 h 72"/>
              <a:gd name="T50" fmla="*/ 2147483647 w 220"/>
              <a:gd name="T51" fmla="*/ 2147483647 h 72"/>
              <a:gd name="T52" fmla="*/ 2147483647 w 220"/>
              <a:gd name="T53" fmla="*/ 2147483647 h 72"/>
              <a:gd name="T54" fmla="*/ 2147483647 w 220"/>
              <a:gd name="T55" fmla="*/ 2147483647 h 72"/>
              <a:gd name="T56" fmla="*/ 2147483647 w 220"/>
              <a:gd name="T57" fmla="*/ 2147483647 h 72"/>
              <a:gd name="T58" fmla="*/ 2147483647 w 220"/>
              <a:gd name="T59" fmla="*/ 2147483647 h 72"/>
              <a:gd name="T60" fmla="*/ 2147483647 w 220"/>
              <a:gd name="T61" fmla="*/ 2147483647 h 72"/>
              <a:gd name="T62" fmla="*/ 2147483647 w 220"/>
              <a:gd name="T63" fmla="*/ 2147483647 h 72"/>
              <a:gd name="T64" fmla="*/ 2147483647 w 220"/>
              <a:gd name="T65" fmla="*/ 2147483647 h 72"/>
              <a:gd name="T66" fmla="*/ 2147483647 w 220"/>
              <a:gd name="T67" fmla="*/ 2147483647 h 72"/>
              <a:gd name="T68" fmla="*/ 2147483647 w 220"/>
              <a:gd name="T69" fmla="*/ 2147483647 h 72"/>
              <a:gd name="T70" fmla="*/ 2147483647 w 220"/>
              <a:gd name="T71" fmla="*/ 2147483647 h 72"/>
              <a:gd name="T72" fmla="*/ 2147483647 w 220"/>
              <a:gd name="T73" fmla="*/ 2147483647 h 72"/>
              <a:gd name="T74" fmla="*/ 2147483647 w 220"/>
              <a:gd name="T75" fmla="*/ 2147483647 h 72"/>
              <a:gd name="T76" fmla="*/ 2147483647 w 220"/>
              <a:gd name="T77" fmla="*/ 2147483647 h 72"/>
              <a:gd name="T78" fmla="*/ 2147483647 w 220"/>
              <a:gd name="T79" fmla="*/ 2147483647 h 72"/>
              <a:gd name="T80" fmla="*/ 2147483647 w 220"/>
              <a:gd name="T81" fmla="*/ 2147483647 h 72"/>
              <a:gd name="T82" fmla="*/ 2147483647 w 220"/>
              <a:gd name="T83" fmla="*/ 2147483647 h 72"/>
              <a:gd name="T84" fmla="*/ 2147483647 w 220"/>
              <a:gd name="T85" fmla="*/ 2147483647 h 72"/>
              <a:gd name="T86" fmla="*/ 2147483647 w 220"/>
              <a:gd name="T87" fmla="*/ 2147483647 h 72"/>
              <a:gd name="T88" fmla="*/ 2147483647 w 220"/>
              <a:gd name="T89" fmla="*/ 2147483647 h 72"/>
              <a:gd name="T90" fmla="*/ 2147483647 w 220"/>
              <a:gd name="T91" fmla="*/ 2147483647 h 72"/>
              <a:gd name="T92" fmla="*/ 2147483647 w 220"/>
              <a:gd name="T93" fmla="*/ 2147483647 h 72"/>
              <a:gd name="T94" fmla="*/ 2147483647 w 220"/>
              <a:gd name="T95" fmla="*/ 2147483647 h 72"/>
              <a:gd name="T96" fmla="*/ 2147483647 w 220"/>
              <a:gd name="T97" fmla="*/ 2147483647 h 72"/>
              <a:gd name="T98" fmla="*/ 2147483647 w 220"/>
              <a:gd name="T99" fmla="*/ 2147483647 h 72"/>
              <a:gd name="T100" fmla="*/ 2147483647 w 220"/>
              <a:gd name="T101" fmla="*/ 2147483647 h 72"/>
              <a:gd name="T102" fmla="*/ 2147483647 w 220"/>
              <a:gd name="T103" fmla="*/ 2147483647 h 72"/>
              <a:gd name="T104" fmla="*/ 0 w 220"/>
              <a:gd name="T105" fmla="*/ 2147483647 h 72"/>
              <a:gd name="T106" fmla="*/ 2147483647 w 220"/>
              <a:gd name="T107" fmla="*/ 2147483647 h 72"/>
              <a:gd name="T108" fmla="*/ 2147483647 w 220"/>
              <a:gd name="T109" fmla="*/ 2147483647 h 72"/>
              <a:gd name="T110" fmla="*/ 2147483647 w 220"/>
              <a:gd name="T111" fmla="*/ 2147483647 h 72"/>
              <a:gd name="T112" fmla="*/ 2147483647 w 220"/>
              <a:gd name="T113" fmla="*/ 2147483647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89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692765" y="2352303"/>
            <a:ext cx="63500" cy="58737"/>
          </a:xfrm>
          <a:custGeom>
            <a:avLst/>
            <a:gdLst>
              <a:gd name="T0" fmla="*/ 2147483647 w 146"/>
              <a:gd name="T1" fmla="*/ 2147483647 h 30"/>
              <a:gd name="T2" fmla="*/ 2147483647 w 146"/>
              <a:gd name="T3" fmla="*/ 2147483647 h 30"/>
              <a:gd name="T4" fmla="*/ 2147483647 w 146"/>
              <a:gd name="T5" fmla="*/ 2147483647 h 30"/>
              <a:gd name="T6" fmla="*/ 2147483647 w 146"/>
              <a:gd name="T7" fmla="*/ 2147483647 h 30"/>
              <a:gd name="T8" fmla="*/ 2147483647 w 146"/>
              <a:gd name="T9" fmla="*/ 2147483647 h 30"/>
              <a:gd name="T10" fmla="*/ 2147483647 w 146"/>
              <a:gd name="T11" fmla="*/ 2147483647 h 30"/>
              <a:gd name="T12" fmla="*/ 2147483647 w 146"/>
              <a:gd name="T13" fmla="*/ 2147483647 h 30"/>
              <a:gd name="T14" fmla="*/ 2147483647 w 146"/>
              <a:gd name="T15" fmla="*/ 2147483647 h 30"/>
              <a:gd name="T16" fmla="*/ 2147483647 w 146"/>
              <a:gd name="T17" fmla="*/ 2147483647 h 30"/>
              <a:gd name="T18" fmla="*/ 2147483647 w 146"/>
              <a:gd name="T19" fmla="*/ 2147483647 h 30"/>
              <a:gd name="T20" fmla="*/ 2147483647 w 146"/>
              <a:gd name="T21" fmla="*/ 2147483647 h 30"/>
              <a:gd name="T22" fmla="*/ 2147483647 w 146"/>
              <a:gd name="T23" fmla="*/ 2147483647 h 30"/>
              <a:gd name="T24" fmla="*/ 2147483647 w 146"/>
              <a:gd name="T25" fmla="*/ 2147483647 h 30"/>
              <a:gd name="T26" fmla="*/ 2147483647 w 146"/>
              <a:gd name="T27" fmla="*/ 2147483647 h 30"/>
              <a:gd name="T28" fmla="*/ 2147483647 w 146"/>
              <a:gd name="T29" fmla="*/ 2147483647 h 30"/>
              <a:gd name="T30" fmla="*/ 2147483647 w 146"/>
              <a:gd name="T31" fmla="*/ 2147483647 h 30"/>
              <a:gd name="T32" fmla="*/ 2147483647 w 146"/>
              <a:gd name="T33" fmla="*/ 2147483647 h 30"/>
              <a:gd name="T34" fmla="*/ 2147483647 w 146"/>
              <a:gd name="T35" fmla="*/ 0 h 30"/>
              <a:gd name="T36" fmla="*/ 2147483647 w 146"/>
              <a:gd name="T37" fmla="*/ 2147483647 h 30"/>
              <a:gd name="T38" fmla="*/ 2147483647 w 146"/>
              <a:gd name="T39" fmla="*/ 2147483647 h 30"/>
              <a:gd name="T40" fmla="*/ 2147483647 w 146"/>
              <a:gd name="T41" fmla="*/ 2147483647 h 30"/>
              <a:gd name="T42" fmla="*/ 0 w 146"/>
              <a:gd name="T43" fmla="*/ 2147483647 h 30"/>
              <a:gd name="T44" fmla="*/ 2147483647 w 146"/>
              <a:gd name="T45" fmla="*/ 2147483647 h 30"/>
              <a:gd name="T46" fmla="*/ 2147483647 w 146"/>
              <a:gd name="T47" fmla="*/ 2147483647 h 30"/>
              <a:gd name="T48" fmla="*/ 2147483647 w 146"/>
              <a:gd name="T49" fmla="*/ 2147483647 h 30"/>
              <a:gd name="T50" fmla="*/ 2147483647 w 146"/>
              <a:gd name="T51" fmla="*/ 2147483647 h 30"/>
              <a:gd name="T52" fmla="*/ 2147483647 w 146"/>
              <a:gd name="T53" fmla="*/ 2147483647 h 30"/>
              <a:gd name="T54" fmla="*/ 2147483647 w 146"/>
              <a:gd name="T55" fmla="*/ 2147483647 h 30"/>
              <a:gd name="T56" fmla="*/ 2147483647 w 146"/>
              <a:gd name="T57" fmla="*/ 2147483647 h 30"/>
              <a:gd name="T58" fmla="*/ 2147483647 w 146"/>
              <a:gd name="T59" fmla="*/ 2147483647 h 30"/>
              <a:gd name="T60" fmla="*/ 2147483647 w 146"/>
              <a:gd name="T61" fmla="*/ 2147483647 h 30"/>
              <a:gd name="T62" fmla="*/ 2147483647 w 146"/>
              <a:gd name="T63" fmla="*/ 2147483647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0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672128" y="2349128"/>
            <a:ext cx="20637" cy="58737"/>
          </a:xfrm>
          <a:custGeom>
            <a:avLst/>
            <a:gdLst>
              <a:gd name="T0" fmla="*/ 0 w 53"/>
              <a:gd name="T1" fmla="*/ 2147483647 h 9"/>
              <a:gd name="T2" fmla="*/ 2147483647 w 53"/>
              <a:gd name="T3" fmla="*/ 2147483647 h 9"/>
              <a:gd name="T4" fmla="*/ 2147483647 w 53"/>
              <a:gd name="T5" fmla="*/ 2147483647 h 9"/>
              <a:gd name="T6" fmla="*/ 2147483647 w 53"/>
              <a:gd name="T7" fmla="*/ 2147483647 h 9"/>
              <a:gd name="T8" fmla="*/ 2147483647 w 53"/>
              <a:gd name="T9" fmla="*/ 2147483647 h 9"/>
              <a:gd name="T10" fmla="*/ 2147483647 w 53"/>
              <a:gd name="T11" fmla="*/ 2147483647 h 9"/>
              <a:gd name="T12" fmla="*/ 2147483647 w 53"/>
              <a:gd name="T13" fmla="*/ 2147483647 h 9"/>
              <a:gd name="T14" fmla="*/ 2147483647 w 53"/>
              <a:gd name="T15" fmla="*/ 2147483647 h 9"/>
              <a:gd name="T16" fmla="*/ 2147483647 w 53"/>
              <a:gd name="T17" fmla="*/ 0 h 9"/>
              <a:gd name="T18" fmla="*/ 2147483647 w 53"/>
              <a:gd name="T19" fmla="*/ 0 h 9"/>
              <a:gd name="T20" fmla="*/ 2147483647 w 53"/>
              <a:gd name="T21" fmla="*/ 0 h 9"/>
              <a:gd name="T22" fmla="*/ 2147483647 w 53"/>
              <a:gd name="T23" fmla="*/ 2147483647 h 9"/>
              <a:gd name="T24" fmla="*/ 2147483647 w 53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1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673715" y="234754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  <p:sp>
        <p:nvSpPr>
          <p:cNvPr id="2392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843453" y="2276103"/>
            <a:ext cx="11112" cy="55562"/>
          </a:xfrm>
          <a:custGeom>
            <a:avLst/>
            <a:gdLst>
              <a:gd name="T0" fmla="*/ 0 w 26"/>
              <a:gd name="T1" fmla="*/ 2147483647 h 25"/>
              <a:gd name="T2" fmla="*/ 2147483647 w 26"/>
              <a:gd name="T3" fmla="*/ 2147483647 h 25"/>
              <a:gd name="T4" fmla="*/ 2147483647 w 26"/>
              <a:gd name="T5" fmla="*/ 2147483647 h 25"/>
              <a:gd name="T6" fmla="*/ 2147483647 w 26"/>
              <a:gd name="T7" fmla="*/ 2147483647 h 25"/>
              <a:gd name="T8" fmla="*/ 2147483647 w 26"/>
              <a:gd name="T9" fmla="*/ 2147483647 h 25"/>
              <a:gd name="T10" fmla="*/ 2147483647 w 26"/>
              <a:gd name="T11" fmla="*/ 2147483647 h 25"/>
              <a:gd name="T12" fmla="*/ 2147483647 w 26"/>
              <a:gd name="T13" fmla="*/ 0 h 25"/>
              <a:gd name="T14" fmla="*/ 2147483647 w 26"/>
              <a:gd name="T15" fmla="*/ 2147483647 h 25"/>
              <a:gd name="T16" fmla="*/ 2147483647 w 26"/>
              <a:gd name="T17" fmla="*/ 2147483647 h 25"/>
              <a:gd name="T18" fmla="*/ 2147483647 w 26"/>
              <a:gd name="T19" fmla="*/ 2147483647 h 25"/>
              <a:gd name="T20" fmla="*/ 0 w 26"/>
              <a:gd name="T21" fmla="*/ 2147483647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3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592753" y="2347540"/>
            <a:ext cx="9525" cy="57150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0 h 25"/>
              <a:gd name="T6" fmla="*/ 0 w 33"/>
              <a:gd name="T7" fmla="*/ 0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2147483647 h 25"/>
              <a:gd name="T14" fmla="*/ 2147483647 w 33"/>
              <a:gd name="T15" fmla="*/ 2147483647 h 25"/>
              <a:gd name="T16" fmla="*/ 2147483647 w 33"/>
              <a:gd name="T17" fmla="*/ 2147483647 h 25"/>
              <a:gd name="T18" fmla="*/ 2147483647 w 33"/>
              <a:gd name="T19" fmla="*/ 2147483647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4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546715" y="2311028"/>
            <a:ext cx="9525" cy="57150"/>
          </a:xfrm>
          <a:custGeom>
            <a:avLst/>
            <a:gdLst>
              <a:gd name="T0" fmla="*/ 0 w 20"/>
              <a:gd name="T1" fmla="*/ 0 h 18"/>
              <a:gd name="T2" fmla="*/ 2147483647 w 20"/>
              <a:gd name="T3" fmla="*/ 2147483647 h 18"/>
              <a:gd name="T4" fmla="*/ 2147483647 w 20"/>
              <a:gd name="T5" fmla="*/ 2147483647 h 18"/>
              <a:gd name="T6" fmla="*/ 2147483647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5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046778" y="2880940"/>
            <a:ext cx="12700" cy="58738"/>
          </a:xfrm>
          <a:custGeom>
            <a:avLst/>
            <a:gdLst>
              <a:gd name="T0" fmla="*/ 0 w 33"/>
              <a:gd name="T1" fmla="*/ 2147483647 h 31"/>
              <a:gd name="T2" fmla="*/ 0 w 33"/>
              <a:gd name="T3" fmla="*/ 0 h 31"/>
              <a:gd name="T4" fmla="*/ 2147483647 w 33"/>
              <a:gd name="T5" fmla="*/ 0 h 31"/>
              <a:gd name="T6" fmla="*/ 2147483647 w 33"/>
              <a:gd name="T7" fmla="*/ 0 h 31"/>
              <a:gd name="T8" fmla="*/ 2147483647 w 33"/>
              <a:gd name="T9" fmla="*/ 0 h 31"/>
              <a:gd name="T10" fmla="*/ 2147483647 w 33"/>
              <a:gd name="T11" fmla="*/ 0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0 w 33"/>
              <a:gd name="T29" fmla="*/ 21474836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6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340465" y="2403103"/>
            <a:ext cx="55563" cy="58737"/>
          </a:xfrm>
          <a:custGeom>
            <a:avLst/>
            <a:gdLst>
              <a:gd name="T0" fmla="*/ 2147483647 w 129"/>
              <a:gd name="T1" fmla="*/ 2147483647 h 56"/>
              <a:gd name="T2" fmla="*/ 2147483647 w 129"/>
              <a:gd name="T3" fmla="*/ 2147483647 h 56"/>
              <a:gd name="T4" fmla="*/ 2147483647 w 129"/>
              <a:gd name="T5" fmla="*/ 2147483647 h 56"/>
              <a:gd name="T6" fmla="*/ 0 w 129"/>
              <a:gd name="T7" fmla="*/ 2147483647 h 56"/>
              <a:gd name="T8" fmla="*/ 2147483647 w 129"/>
              <a:gd name="T9" fmla="*/ 2147483647 h 56"/>
              <a:gd name="T10" fmla="*/ 2147483647 w 129"/>
              <a:gd name="T11" fmla="*/ 2147483647 h 56"/>
              <a:gd name="T12" fmla="*/ 2147483647 w 129"/>
              <a:gd name="T13" fmla="*/ 2147483647 h 56"/>
              <a:gd name="T14" fmla="*/ 2147483647 w 129"/>
              <a:gd name="T15" fmla="*/ 2147483647 h 56"/>
              <a:gd name="T16" fmla="*/ 2147483647 w 129"/>
              <a:gd name="T17" fmla="*/ 2147483647 h 56"/>
              <a:gd name="T18" fmla="*/ 2147483647 w 129"/>
              <a:gd name="T19" fmla="*/ 2147483647 h 56"/>
              <a:gd name="T20" fmla="*/ 2147483647 w 129"/>
              <a:gd name="T21" fmla="*/ 2147483647 h 56"/>
              <a:gd name="T22" fmla="*/ 2147483647 w 129"/>
              <a:gd name="T23" fmla="*/ 2147483647 h 56"/>
              <a:gd name="T24" fmla="*/ 2147483647 w 129"/>
              <a:gd name="T25" fmla="*/ 0 h 56"/>
              <a:gd name="T26" fmla="*/ 2147483647 w 129"/>
              <a:gd name="T27" fmla="*/ 2147483647 h 56"/>
              <a:gd name="T28" fmla="*/ 2147483647 w 129"/>
              <a:gd name="T29" fmla="*/ 2147483647 h 56"/>
              <a:gd name="T30" fmla="*/ 2147483647 w 129"/>
              <a:gd name="T31" fmla="*/ 2147483647 h 56"/>
              <a:gd name="T32" fmla="*/ 2147483647 w 129"/>
              <a:gd name="T33" fmla="*/ 2147483647 h 56"/>
              <a:gd name="T34" fmla="*/ 2147483647 w 129"/>
              <a:gd name="T35" fmla="*/ 2147483647 h 56"/>
              <a:gd name="T36" fmla="*/ 2147483647 w 129"/>
              <a:gd name="T37" fmla="*/ 2147483647 h 56"/>
              <a:gd name="T38" fmla="*/ 2147483647 w 129"/>
              <a:gd name="T39" fmla="*/ 2147483647 h 56"/>
              <a:gd name="T40" fmla="*/ 2147483647 w 129"/>
              <a:gd name="T41" fmla="*/ 2147483647 h 56"/>
              <a:gd name="T42" fmla="*/ 2147483647 w 129"/>
              <a:gd name="T43" fmla="*/ 2147483647 h 56"/>
              <a:gd name="T44" fmla="*/ 2147483647 w 129"/>
              <a:gd name="T45" fmla="*/ 2147483647 h 56"/>
              <a:gd name="T46" fmla="*/ 2147483647 w 129"/>
              <a:gd name="T47" fmla="*/ 2147483647 h 56"/>
              <a:gd name="T48" fmla="*/ 2147483647 w 129"/>
              <a:gd name="T49" fmla="*/ 2147483647 h 56"/>
              <a:gd name="T50" fmla="*/ 2147483647 w 129"/>
              <a:gd name="T51" fmla="*/ 2147483647 h 56"/>
              <a:gd name="T52" fmla="*/ 2147483647 w 129"/>
              <a:gd name="T53" fmla="*/ 2147483647 h 56"/>
              <a:gd name="T54" fmla="*/ 2147483647 w 129"/>
              <a:gd name="T55" fmla="*/ 2147483647 h 56"/>
              <a:gd name="T56" fmla="*/ 2147483647 w 129"/>
              <a:gd name="T57" fmla="*/ 2147483647 h 56"/>
              <a:gd name="T58" fmla="*/ 2147483647 w 129"/>
              <a:gd name="T59" fmla="*/ 2147483647 h 56"/>
              <a:gd name="T60" fmla="*/ 2147483647 w 129"/>
              <a:gd name="T61" fmla="*/ 2147483647 h 56"/>
              <a:gd name="T62" fmla="*/ 2147483647 w 129"/>
              <a:gd name="T63" fmla="*/ 2147483647 h 56"/>
              <a:gd name="T64" fmla="*/ 2147483647 w 129"/>
              <a:gd name="T65" fmla="*/ 2147483647 h 56"/>
              <a:gd name="T66" fmla="*/ 2147483647 w 129"/>
              <a:gd name="T67" fmla="*/ 2147483647 h 56"/>
              <a:gd name="T68" fmla="*/ 2147483647 w 129"/>
              <a:gd name="T69" fmla="*/ 2147483647 h 56"/>
              <a:gd name="T70" fmla="*/ 2147483647 w 129"/>
              <a:gd name="T71" fmla="*/ 2147483647 h 56"/>
              <a:gd name="T72" fmla="*/ 2147483647 w 129"/>
              <a:gd name="T73" fmla="*/ 2147483647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7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476990" y="2755528"/>
            <a:ext cx="14288" cy="57150"/>
          </a:xfrm>
          <a:custGeom>
            <a:avLst/>
            <a:gdLst>
              <a:gd name="T0" fmla="*/ 2147483647 w 41"/>
              <a:gd name="T1" fmla="*/ 2147483647 h 42"/>
              <a:gd name="T2" fmla="*/ 0 w 41"/>
              <a:gd name="T3" fmla="*/ 2147483647 h 42"/>
              <a:gd name="T4" fmla="*/ 0 w 41"/>
              <a:gd name="T5" fmla="*/ 2147483647 h 42"/>
              <a:gd name="T6" fmla="*/ 2147483647 w 41"/>
              <a:gd name="T7" fmla="*/ 2147483647 h 42"/>
              <a:gd name="T8" fmla="*/ 2147483647 w 41"/>
              <a:gd name="T9" fmla="*/ 2147483647 h 42"/>
              <a:gd name="T10" fmla="*/ 2147483647 w 41"/>
              <a:gd name="T11" fmla="*/ 2147483647 h 42"/>
              <a:gd name="T12" fmla="*/ 2147483647 w 41"/>
              <a:gd name="T13" fmla="*/ 0 h 42"/>
              <a:gd name="T14" fmla="*/ 2147483647 w 41"/>
              <a:gd name="T15" fmla="*/ 2147483647 h 42"/>
              <a:gd name="T16" fmla="*/ 2147483647 w 41"/>
              <a:gd name="T17" fmla="*/ 2147483647 h 42"/>
              <a:gd name="T18" fmla="*/ 2147483647 w 41"/>
              <a:gd name="T19" fmla="*/ 2147483647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8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626215" y="2868240"/>
            <a:ext cx="42863" cy="60325"/>
          </a:xfrm>
          <a:custGeom>
            <a:avLst/>
            <a:gdLst>
              <a:gd name="T0" fmla="*/ 2147483647 w 93"/>
              <a:gd name="T1" fmla="*/ 2147483647 h 39"/>
              <a:gd name="T2" fmla="*/ 2147483647 w 93"/>
              <a:gd name="T3" fmla="*/ 2147483647 h 39"/>
              <a:gd name="T4" fmla="*/ 2147483647 w 93"/>
              <a:gd name="T5" fmla="*/ 2147483647 h 39"/>
              <a:gd name="T6" fmla="*/ 2147483647 w 93"/>
              <a:gd name="T7" fmla="*/ 2147483647 h 39"/>
              <a:gd name="T8" fmla="*/ 2147483647 w 93"/>
              <a:gd name="T9" fmla="*/ 2147483647 h 39"/>
              <a:gd name="T10" fmla="*/ 2147483647 w 93"/>
              <a:gd name="T11" fmla="*/ 2147483647 h 39"/>
              <a:gd name="T12" fmla="*/ 2147483647 w 93"/>
              <a:gd name="T13" fmla="*/ 2147483647 h 39"/>
              <a:gd name="T14" fmla="*/ 2147483647 w 93"/>
              <a:gd name="T15" fmla="*/ 2147483647 h 39"/>
              <a:gd name="T16" fmla="*/ 2147483647 w 93"/>
              <a:gd name="T17" fmla="*/ 2147483647 h 39"/>
              <a:gd name="T18" fmla="*/ 2147483647 w 93"/>
              <a:gd name="T19" fmla="*/ 2147483647 h 39"/>
              <a:gd name="T20" fmla="*/ 2147483647 w 93"/>
              <a:gd name="T21" fmla="*/ 2147483647 h 39"/>
              <a:gd name="T22" fmla="*/ 2147483647 w 93"/>
              <a:gd name="T23" fmla="*/ 2147483647 h 39"/>
              <a:gd name="T24" fmla="*/ 2147483647 w 93"/>
              <a:gd name="T25" fmla="*/ 2147483647 h 39"/>
              <a:gd name="T26" fmla="*/ 2147483647 w 93"/>
              <a:gd name="T27" fmla="*/ 2147483647 h 39"/>
              <a:gd name="T28" fmla="*/ 2147483647 w 93"/>
              <a:gd name="T29" fmla="*/ 2147483647 h 39"/>
              <a:gd name="T30" fmla="*/ 0 w 93"/>
              <a:gd name="T31" fmla="*/ 2147483647 h 39"/>
              <a:gd name="T32" fmla="*/ 2147483647 w 93"/>
              <a:gd name="T33" fmla="*/ 2147483647 h 39"/>
              <a:gd name="T34" fmla="*/ 2147483647 w 93"/>
              <a:gd name="T35" fmla="*/ 0 h 39"/>
              <a:gd name="T36" fmla="*/ 2147483647 w 93"/>
              <a:gd name="T37" fmla="*/ 0 h 39"/>
              <a:gd name="T38" fmla="*/ 2147483647 w 93"/>
              <a:gd name="T39" fmla="*/ 2147483647 h 39"/>
              <a:gd name="T40" fmla="*/ 2147483647 w 93"/>
              <a:gd name="T41" fmla="*/ 2147483647 h 39"/>
              <a:gd name="T42" fmla="*/ 2147483647 w 93"/>
              <a:gd name="T43" fmla="*/ 2147483647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99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677015" y="2884115"/>
            <a:ext cx="19050" cy="58738"/>
          </a:xfrm>
          <a:custGeom>
            <a:avLst/>
            <a:gdLst>
              <a:gd name="T0" fmla="*/ 2147483647 w 39"/>
              <a:gd name="T1" fmla="*/ 2147483647 h 19"/>
              <a:gd name="T2" fmla="*/ 2147483647 w 39"/>
              <a:gd name="T3" fmla="*/ 2147483647 h 19"/>
              <a:gd name="T4" fmla="*/ 2147483647 w 39"/>
              <a:gd name="T5" fmla="*/ 2147483647 h 19"/>
              <a:gd name="T6" fmla="*/ 2147483647 w 39"/>
              <a:gd name="T7" fmla="*/ 2147483647 h 19"/>
              <a:gd name="T8" fmla="*/ 2147483647 w 39"/>
              <a:gd name="T9" fmla="*/ 2147483647 h 19"/>
              <a:gd name="T10" fmla="*/ 2147483647 w 39"/>
              <a:gd name="T11" fmla="*/ 2147483647 h 19"/>
              <a:gd name="T12" fmla="*/ 0 w 39"/>
              <a:gd name="T13" fmla="*/ 2147483647 h 19"/>
              <a:gd name="T14" fmla="*/ 0 w 39"/>
              <a:gd name="T15" fmla="*/ 0 h 19"/>
              <a:gd name="T16" fmla="*/ 2147483647 w 39"/>
              <a:gd name="T17" fmla="*/ 2147483647 h 19"/>
              <a:gd name="T18" fmla="*/ 2147483647 w 39"/>
              <a:gd name="T19" fmla="*/ 2147483647 h 19"/>
              <a:gd name="T20" fmla="*/ 2147483647 w 39"/>
              <a:gd name="T21" fmla="*/ 2147483647 h 19"/>
              <a:gd name="T22" fmla="*/ 2147483647 w 39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0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542078" y="3011115"/>
            <a:ext cx="14287" cy="57150"/>
          </a:xfrm>
          <a:custGeom>
            <a:avLst/>
            <a:gdLst>
              <a:gd name="T0" fmla="*/ 0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2147483647 w 26"/>
              <a:gd name="T9" fmla="*/ 0 h 36"/>
              <a:gd name="T10" fmla="*/ 2147483647 w 26"/>
              <a:gd name="T11" fmla="*/ 2147483647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2147483647 w 26"/>
              <a:gd name="T27" fmla="*/ 2147483647 h 36"/>
              <a:gd name="T28" fmla="*/ 0 w 26"/>
              <a:gd name="T29" fmla="*/ 2147483647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1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553190" y="3039690"/>
            <a:ext cx="3175" cy="60325"/>
          </a:xfrm>
          <a:custGeom>
            <a:avLst/>
            <a:gdLst>
              <a:gd name="T0" fmla="*/ 0 w 6"/>
              <a:gd name="T1" fmla="*/ 2147483647 h 37"/>
              <a:gd name="T2" fmla="*/ 0 w 6"/>
              <a:gd name="T3" fmla="*/ 0 h 37"/>
              <a:gd name="T4" fmla="*/ 2147483647 w 6"/>
              <a:gd name="T5" fmla="*/ 0 h 37"/>
              <a:gd name="T6" fmla="*/ 2147483647 w 6"/>
              <a:gd name="T7" fmla="*/ 2147483647 h 37"/>
              <a:gd name="T8" fmla="*/ 0 w 6"/>
              <a:gd name="T9" fmla="*/ 2147483647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2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540490" y="3122240"/>
            <a:ext cx="9525" cy="55563"/>
          </a:xfrm>
          <a:custGeom>
            <a:avLst/>
            <a:gdLst>
              <a:gd name="T0" fmla="*/ 0 w 20"/>
              <a:gd name="T1" fmla="*/ 2147483647 h 43"/>
              <a:gd name="T2" fmla="*/ 0 w 20"/>
              <a:gd name="T3" fmla="*/ 2147483647 h 43"/>
              <a:gd name="T4" fmla="*/ 0 w 20"/>
              <a:gd name="T5" fmla="*/ 2147483647 h 43"/>
              <a:gd name="T6" fmla="*/ 2147483647 w 20"/>
              <a:gd name="T7" fmla="*/ 2147483647 h 43"/>
              <a:gd name="T8" fmla="*/ 2147483647 w 20"/>
              <a:gd name="T9" fmla="*/ 0 h 43"/>
              <a:gd name="T10" fmla="*/ 2147483647 w 20"/>
              <a:gd name="T11" fmla="*/ 2147483647 h 43"/>
              <a:gd name="T12" fmla="*/ 2147483647 w 20"/>
              <a:gd name="T13" fmla="*/ 2147483647 h 43"/>
              <a:gd name="T14" fmla="*/ 2147483647 w 20"/>
              <a:gd name="T15" fmla="*/ 2147483647 h 43"/>
              <a:gd name="T16" fmla="*/ 2147483647 w 20"/>
              <a:gd name="T17" fmla="*/ 2147483647 h 43"/>
              <a:gd name="T18" fmla="*/ 2147483647 w 20"/>
              <a:gd name="T19" fmla="*/ 2147483647 h 43"/>
              <a:gd name="T20" fmla="*/ 2147483647 w 20"/>
              <a:gd name="T21" fmla="*/ 2147483647 h 43"/>
              <a:gd name="T22" fmla="*/ 2147483647 w 20"/>
              <a:gd name="T23" fmla="*/ 2147483647 h 43"/>
              <a:gd name="T24" fmla="*/ 2147483647 w 20"/>
              <a:gd name="T25" fmla="*/ 2147483647 h 43"/>
              <a:gd name="T26" fmla="*/ 2147483647 w 20"/>
              <a:gd name="T27" fmla="*/ 2147483647 h 43"/>
              <a:gd name="T28" fmla="*/ 2147483647 w 20"/>
              <a:gd name="T29" fmla="*/ 2147483647 h 43"/>
              <a:gd name="T30" fmla="*/ 2147483647 w 20"/>
              <a:gd name="T31" fmla="*/ 2147483647 h 43"/>
              <a:gd name="T32" fmla="*/ 2147483647 w 20"/>
              <a:gd name="T33" fmla="*/ 2147483647 h 43"/>
              <a:gd name="T34" fmla="*/ 2147483647 w 20"/>
              <a:gd name="T35" fmla="*/ 2147483647 h 43"/>
              <a:gd name="T36" fmla="*/ 0 w 20"/>
              <a:gd name="T37" fmla="*/ 2147483647 h 43"/>
              <a:gd name="T38" fmla="*/ 0 w 20"/>
              <a:gd name="T39" fmla="*/ 214748364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3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518265" y="3157165"/>
            <a:ext cx="0" cy="58738"/>
          </a:xfrm>
          <a:custGeom>
            <a:avLst/>
            <a:gdLst>
              <a:gd name="T0" fmla="*/ 2147483647 h 30"/>
              <a:gd name="T1" fmla="*/ 2147483647 h 30"/>
              <a:gd name="T2" fmla="*/ 2147483647 h 30"/>
              <a:gd name="T3" fmla="*/ 2147483647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4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518265" y="3157165"/>
            <a:ext cx="7938" cy="58738"/>
          </a:xfrm>
          <a:custGeom>
            <a:avLst/>
            <a:gdLst>
              <a:gd name="T0" fmla="*/ 0 w 20"/>
              <a:gd name="T1" fmla="*/ 0 h 24"/>
              <a:gd name="T2" fmla="*/ 2147483647 w 20"/>
              <a:gd name="T3" fmla="*/ 0 h 24"/>
              <a:gd name="T4" fmla="*/ 0 w 20"/>
              <a:gd name="T5" fmla="*/ 2147483647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5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272203" y="2744415"/>
            <a:ext cx="17462" cy="60325"/>
          </a:xfrm>
          <a:custGeom>
            <a:avLst/>
            <a:gdLst>
              <a:gd name="T0" fmla="*/ 0 w 46"/>
              <a:gd name="T1" fmla="*/ 0 h 19"/>
              <a:gd name="T2" fmla="*/ 2147483647 w 46"/>
              <a:gd name="T3" fmla="*/ 2147483647 h 19"/>
              <a:gd name="T4" fmla="*/ 2147483647 w 46"/>
              <a:gd name="T5" fmla="*/ 2147483647 h 19"/>
              <a:gd name="T6" fmla="*/ 2147483647 w 46"/>
              <a:gd name="T7" fmla="*/ 2147483647 h 19"/>
              <a:gd name="T8" fmla="*/ 2147483647 w 46"/>
              <a:gd name="T9" fmla="*/ 2147483647 h 19"/>
              <a:gd name="T10" fmla="*/ 2147483647 w 46"/>
              <a:gd name="T11" fmla="*/ 2147483647 h 19"/>
              <a:gd name="T12" fmla="*/ 2147483647 w 46"/>
              <a:gd name="T13" fmla="*/ 2147483647 h 19"/>
              <a:gd name="T14" fmla="*/ 2147483647 w 46"/>
              <a:gd name="T15" fmla="*/ 2147483647 h 19"/>
              <a:gd name="T16" fmla="*/ 2147483647 w 46"/>
              <a:gd name="T17" fmla="*/ 2147483647 h 19"/>
              <a:gd name="T18" fmla="*/ 2147483647 w 46"/>
              <a:gd name="T19" fmla="*/ 2147483647 h 19"/>
              <a:gd name="T20" fmla="*/ 2147483647 w 46"/>
              <a:gd name="T21" fmla="*/ 2147483647 h 19"/>
              <a:gd name="T22" fmla="*/ 2147483647 w 46"/>
              <a:gd name="T23" fmla="*/ 2147483647 h 19"/>
              <a:gd name="T24" fmla="*/ 2147483647 w 46"/>
              <a:gd name="T25" fmla="*/ 2147483647 h 19"/>
              <a:gd name="T26" fmla="*/ 2147483647 w 46"/>
              <a:gd name="T27" fmla="*/ 2147483647 h 19"/>
              <a:gd name="T28" fmla="*/ 2147483647 w 46"/>
              <a:gd name="T29" fmla="*/ 2147483647 h 19"/>
              <a:gd name="T30" fmla="*/ 2147483647 w 46"/>
              <a:gd name="T31" fmla="*/ 2147483647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6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587740" y="2884115"/>
            <a:ext cx="47625" cy="58738"/>
          </a:xfrm>
          <a:custGeom>
            <a:avLst/>
            <a:gdLst>
              <a:gd name="T0" fmla="*/ 2147483647 w 100"/>
              <a:gd name="T1" fmla="*/ 0 h 55"/>
              <a:gd name="T2" fmla="*/ 2147483647 w 100"/>
              <a:gd name="T3" fmla="*/ 2147483647 h 55"/>
              <a:gd name="T4" fmla="*/ 2147483647 w 100"/>
              <a:gd name="T5" fmla="*/ 2147483647 h 55"/>
              <a:gd name="T6" fmla="*/ 2147483647 w 100"/>
              <a:gd name="T7" fmla="*/ 2147483647 h 55"/>
              <a:gd name="T8" fmla="*/ 0 w 100"/>
              <a:gd name="T9" fmla="*/ 2147483647 h 55"/>
              <a:gd name="T10" fmla="*/ 2147483647 w 100"/>
              <a:gd name="T11" fmla="*/ 2147483647 h 55"/>
              <a:gd name="T12" fmla="*/ 2147483647 w 100"/>
              <a:gd name="T13" fmla="*/ 2147483647 h 55"/>
              <a:gd name="T14" fmla="*/ 2147483647 w 100"/>
              <a:gd name="T15" fmla="*/ 2147483647 h 55"/>
              <a:gd name="T16" fmla="*/ 2147483647 w 100"/>
              <a:gd name="T17" fmla="*/ 2147483647 h 55"/>
              <a:gd name="T18" fmla="*/ 2147483647 w 100"/>
              <a:gd name="T19" fmla="*/ 2147483647 h 55"/>
              <a:gd name="T20" fmla="*/ 2147483647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7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5037003" y="2476128"/>
            <a:ext cx="42862" cy="58737"/>
          </a:xfrm>
          <a:custGeom>
            <a:avLst/>
            <a:gdLst>
              <a:gd name="T0" fmla="*/ 2147483647 w 99"/>
              <a:gd name="T1" fmla="*/ 2147483647 h 51"/>
              <a:gd name="T2" fmla="*/ 2147483647 w 99"/>
              <a:gd name="T3" fmla="*/ 2147483647 h 51"/>
              <a:gd name="T4" fmla="*/ 2147483647 w 99"/>
              <a:gd name="T5" fmla="*/ 0 h 51"/>
              <a:gd name="T6" fmla="*/ 2147483647 w 99"/>
              <a:gd name="T7" fmla="*/ 0 h 51"/>
              <a:gd name="T8" fmla="*/ 2147483647 w 99"/>
              <a:gd name="T9" fmla="*/ 2147483647 h 51"/>
              <a:gd name="T10" fmla="*/ 2147483647 w 99"/>
              <a:gd name="T11" fmla="*/ 2147483647 h 51"/>
              <a:gd name="T12" fmla="*/ 2147483647 w 99"/>
              <a:gd name="T13" fmla="*/ 2147483647 h 51"/>
              <a:gd name="T14" fmla="*/ 2147483647 w 99"/>
              <a:gd name="T15" fmla="*/ 2147483647 h 51"/>
              <a:gd name="T16" fmla="*/ 2147483647 w 99"/>
              <a:gd name="T17" fmla="*/ 2147483647 h 51"/>
              <a:gd name="T18" fmla="*/ 2147483647 w 99"/>
              <a:gd name="T19" fmla="*/ 2147483647 h 51"/>
              <a:gd name="T20" fmla="*/ 2147483647 w 99"/>
              <a:gd name="T21" fmla="*/ 2147483647 h 51"/>
              <a:gd name="T22" fmla="*/ 2147483647 w 99"/>
              <a:gd name="T23" fmla="*/ 2147483647 h 51"/>
              <a:gd name="T24" fmla="*/ 2147483647 w 99"/>
              <a:gd name="T25" fmla="*/ 2147483647 h 51"/>
              <a:gd name="T26" fmla="*/ 2147483647 w 99"/>
              <a:gd name="T27" fmla="*/ 2147483647 h 51"/>
              <a:gd name="T28" fmla="*/ 2147483647 w 99"/>
              <a:gd name="T29" fmla="*/ 2147483647 h 51"/>
              <a:gd name="T30" fmla="*/ 2147483647 w 99"/>
              <a:gd name="T31" fmla="*/ 2147483647 h 51"/>
              <a:gd name="T32" fmla="*/ 2147483647 w 99"/>
              <a:gd name="T33" fmla="*/ 2147483647 h 51"/>
              <a:gd name="T34" fmla="*/ 2147483647 w 99"/>
              <a:gd name="T35" fmla="*/ 2147483647 h 51"/>
              <a:gd name="T36" fmla="*/ 2147483647 w 99"/>
              <a:gd name="T37" fmla="*/ 2147483647 h 51"/>
              <a:gd name="T38" fmla="*/ 2147483647 w 99"/>
              <a:gd name="T39" fmla="*/ 2147483647 h 51"/>
              <a:gd name="T40" fmla="*/ 2147483647 w 99"/>
              <a:gd name="T41" fmla="*/ 2147483647 h 51"/>
              <a:gd name="T42" fmla="*/ 2147483647 w 99"/>
              <a:gd name="T43" fmla="*/ 2147483647 h 51"/>
              <a:gd name="T44" fmla="*/ 2147483647 w 99"/>
              <a:gd name="T45" fmla="*/ 2147483647 h 51"/>
              <a:gd name="T46" fmla="*/ 2147483647 w 99"/>
              <a:gd name="T47" fmla="*/ 2147483647 h 51"/>
              <a:gd name="T48" fmla="*/ 2147483647 w 99"/>
              <a:gd name="T49" fmla="*/ 2147483647 h 51"/>
              <a:gd name="T50" fmla="*/ 2147483647 w 99"/>
              <a:gd name="T51" fmla="*/ 2147483647 h 51"/>
              <a:gd name="T52" fmla="*/ 2147483647 w 99"/>
              <a:gd name="T53" fmla="*/ 2147483647 h 51"/>
              <a:gd name="T54" fmla="*/ 0 w 99"/>
              <a:gd name="T55" fmla="*/ 2147483647 h 51"/>
              <a:gd name="T56" fmla="*/ 2147483647 w 99"/>
              <a:gd name="T57" fmla="*/ 2147483647 h 51"/>
              <a:gd name="T58" fmla="*/ 2147483647 w 99"/>
              <a:gd name="T59" fmla="*/ 2147483647 h 51"/>
              <a:gd name="T60" fmla="*/ 2147483647 w 99"/>
              <a:gd name="T61" fmla="*/ 2147483647 h 51"/>
              <a:gd name="T62" fmla="*/ 2147483647 w 99"/>
              <a:gd name="T63" fmla="*/ 2147483647 h 51"/>
              <a:gd name="T64" fmla="*/ 2147483647 w 99"/>
              <a:gd name="T65" fmla="*/ 2147483647 h 51"/>
              <a:gd name="T66" fmla="*/ 2147483647 w 99"/>
              <a:gd name="T67" fmla="*/ 2147483647 h 51"/>
              <a:gd name="T68" fmla="*/ 2147483647 w 99"/>
              <a:gd name="T69" fmla="*/ 2147483647 h 51"/>
              <a:gd name="T70" fmla="*/ 2147483647 w 99"/>
              <a:gd name="T71" fmla="*/ 2147483647 h 51"/>
              <a:gd name="T72" fmla="*/ 2147483647 w 99"/>
              <a:gd name="T73" fmla="*/ 2147483647 h 51"/>
              <a:gd name="T74" fmla="*/ 2147483647 w 99"/>
              <a:gd name="T75" fmla="*/ 2147483647 h 51"/>
              <a:gd name="T76" fmla="*/ 2147483647 w 99"/>
              <a:gd name="T77" fmla="*/ 2147483647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8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5071928" y="2288803"/>
            <a:ext cx="228600" cy="163512"/>
          </a:xfrm>
          <a:custGeom>
            <a:avLst/>
            <a:gdLst>
              <a:gd name="T0" fmla="*/ 2147483647 w 525"/>
              <a:gd name="T1" fmla="*/ 2147483647 h 311"/>
              <a:gd name="T2" fmla="*/ 2147483647 w 525"/>
              <a:gd name="T3" fmla="*/ 2147483647 h 311"/>
              <a:gd name="T4" fmla="*/ 2147483647 w 525"/>
              <a:gd name="T5" fmla="*/ 2147483647 h 311"/>
              <a:gd name="T6" fmla="*/ 2147483647 w 525"/>
              <a:gd name="T7" fmla="*/ 2147483647 h 311"/>
              <a:gd name="T8" fmla="*/ 2147483647 w 525"/>
              <a:gd name="T9" fmla="*/ 2147483647 h 311"/>
              <a:gd name="T10" fmla="*/ 2147483647 w 525"/>
              <a:gd name="T11" fmla="*/ 2147483647 h 311"/>
              <a:gd name="T12" fmla="*/ 2147483647 w 525"/>
              <a:gd name="T13" fmla="*/ 2147483647 h 311"/>
              <a:gd name="T14" fmla="*/ 2147483647 w 525"/>
              <a:gd name="T15" fmla="*/ 2147483647 h 311"/>
              <a:gd name="T16" fmla="*/ 2147483647 w 525"/>
              <a:gd name="T17" fmla="*/ 2147483647 h 311"/>
              <a:gd name="T18" fmla="*/ 2147483647 w 525"/>
              <a:gd name="T19" fmla="*/ 2147483647 h 311"/>
              <a:gd name="T20" fmla="*/ 2147483647 w 525"/>
              <a:gd name="T21" fmla="*/ 2147483647 h 311"/>
              <a:gd name="T22" fmla="*/ 2147483647 w 525"/>
              <a:gd name="T23" fmla="*/ 2147483647 h 311"/>
              <a:gd name="T24" fmla="*/ 2147483647 w 525"/>
              <a:gd name="T25" fmla="*/ 2147483647 h 311"/>
              <a:gd name="T26" fmla="*/ 2147483647 w 525"/>
              <a:gd name="T27" fmla="*/ 2147483647 h 311"/>
              <a:gd name="T28" fmla="*/ 2147483647 w 525"/>
              <a:gd name="T29" fmla="*/ 2147483647 h 311"/>
              <a:gd name="T30" fmla="*/ 2147483647 w 525"/>
              <a:gd name="T31" fmla="*/ 2147483647 h 311"/>
              <a:gd name="T32" fmla="*/ 2147483647 w 525"/>
              <a:gd name="T33" fmla="*/ 2147483647 h 311"/>
              <a:gd name="T34" fmla="*/ 2147483647 w 525"/>
              <a:gd name="T35" fmla="*/ 2147483647 h 311"/>
              <a:gd name="T36" fmla="*/ 2147483647 w 525"/>
              <a:gd name="T37" fmla="*/ 2147483647 h 311"/>
              <a:gd name="T38" fmla="*/ 2147483647 w 525"/>
              <a:gd name="T39" fmla="*/ 2147483647 h 311"/>
              <a:gd name="T40" fmla="*/ 2147483647 w 525"/>
              <a:gd name="T41" fmla="*/ 2147483647 h 311"/>
              <a:gd name="T42" fmla="*/ 2147483647 w 525"/>
              <a:gd name="T43" fmla="*/ 2147483647 h 311"/>
              <a:gd name="T44" fmla="*/ 2147483647 w 525"/>
              <a:gd name="T45" fmla="*/ 2147483647 h 311"/>
              <a:gd name="T46" fmla="*/ 2147483647 w 525"/>
              <a:gd name="T47" fmla="*/ 2147483647 h 311"/>
              <a:gd name="T48" fmla="*/ 2147483647 w 525"/>
              <a:gd name="T49" fmla="*/ 2147483647 h 311"/>
              <a:gd name="T50" fmla="*/ 2147483647 w 525"/>
              <a:gd name="T51" fmla="*/ 2147483647 h 311"/>
              <a:gd name="T52" fmla="*/ 2147483647 w 525"/>
              <a:gd name="T53" fmla="*/ 2147483647 h 311"/>
              <a:gd name="T54" fmla="*/ 2147483647 w 525"/>
              <a:gd name="T55" fmla="*/ 2147483647 h 311"/>
              <a:gd name="T56" fmla="*/ 2147483647 w 525"/>
              <a:gd name="T57" fmla="*/ 2147483647 h 311"/>
              <a:gd name="T58" fmla="*/ 2147483647 w 525"/>
              <a:gd name="T59" fmla="*/ 2147483647 h 311"/>
              <a:gd name="T60" fmla="*/ 2147483647 w 525"/>
              <a:gd name="T61" fmla="*/ 2147483647 h 311"/>
              <a:gd name="T62" fmla="*/ 2147483647 w 525"/>
              <a:gd name="T63" fmla="*/ 2147483647 h 311"/>
              <a:gd name="T64" fmla="*/ 2147483647 w 525"/>
              <a:gd name="T65" fmla="*/ 2147483647 h 311"/>
              <a:gd name="T66" fmla="*/ 2147483647 w 525"/>
              <a:gd name="T67" fmla="*/ 2147483647 h 311"/>
              <a:gd name="T68" fmla="*/ 2147483647 w 525"/>
              <a:gd name="T69" fmla="*/ 2147483647 h 311"/>
              <a:gd name="T70" fmla="*/ 2147483647 w 525"/>
              <a:gd name="T71" fmla="*/ 2147483647 h 311"/>
              <a:gd name="T72" fmla="*/ 2147483647 w 525"/>
              <a:gd name="T73" fmla="*/ 2147483647 h 311"/>
              <a:gd name="T74" fmla="*/ 2147483647 w 525"/>
              <a:gd name="T75" fmla="*/ 2147483647 h 311"/>
              <a:gd name="T76" fmla="*/ 0 w 525"/>
              <a:gd name="T77" fmla="*/ 2147483647 h 311"/>
              <a:gd name="T78" fmla="*/ 2147483647 w 525"/>
              <a:gd name="T79" fmla="*/ 2147483647 h 311"/>
              <a:gd name="T80" fmla="*/ 2147483647 w 525"/>
              <a:gd name="T81" fmla="*/ 2147483647 h 311"/>
              <a:gd name="T82" fmla="*/ 2147483647 w 525"/>
              <a:gd name="T83" fmla="*/ 2147483647 h 311"/>
              <a:gd name="T84" fmla="*/ 2147483647 w 525"/>
              <a:gd name="T85" fmla="*/ 2147483647 h 311"/>
              <a:gd name="T86" fmla="*/ 2147483647 w 525"/>
              <a:gd name="T87" fmla="*/ 2147483647 h 311"/>
              <a:gd name="T88" fmla="*/ 2147483647 w 525"/>
              <a:gd name="T89" fmla="*/ 2147483647 h 311"/>
              <a:gd name="T90" fmla="*/ 2147483647 w 525"/>
              <a:gd name="T91" fmla="*/ 2147483647 h 311"/>
              <a:gd name="T92" fmla="*/ 2147483647 w 525"/>
              <a:gd name="T93" fmla="*/ 2147483647 h 311"/>
              <a:gd name="T94" fmla="*/ 2147483647 w 525"/>
              <a:gd name="T95" fmla="*/ 2147483647 h 311"/>
              <a:gd name="T96" fmla="*/ 2147483647 w 525"/>
              <a:gd name="T97" fmla="*/ 2147483647 h 311"/>
              <a:gd name="T98" fmla="*/ 2147483647 w 525"/>
              <a:gd name="T99" fmla="*/ 2147483647 h 311"/>
              <a:gd name="T100" fmla="*/ 2147483647 w 525"/>
              <a:gd name="T101" fmla="*/ 2147483647 h 311"/>
              <a:gd name="T102" fmla="*/ 2147483647 w 525"/>
              <a:gd name="T103" fmla="*/ 2147483647 h 311"/>
              <a:gd name="T104" fmla="*/ 2147483647 w 525"/>
              <a:gd name="T105" fmla="*/ 2147483647 h 311"/>
              <a:gd name="T106" fmla="*/ 2147483647 w 525"/>
              <a:gd name="T107" fmla="*/ 2147483647 h 311"/>
              <a:gd name="T108" fmla="*/ 2147483647 w 525"/>
              <a:gd name="T109" fmla="*/ 2147483647 h 311"/>
              <a:gd name="T110" fmla="*/ 2147483647 w 525"/>
              <a:gd name="T111" fmla="*/ 2147483647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9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863965" y="2599953"/>
            <a:ext cx="31750" cy="55562"/>
          </a:xfrm>
          <a:custGeom>
            <a:avLst/>
            <a:gdLst>
              <a:gd name="T0" fmla="*/ 2147483647 w 79"/>
              <a:gd name="T1" fmla="*/ 0 h 38"/>
              <a:gd name="T2" fmla="*/ 2147483647 w 79"/>
              <a:gd name="T3" fmla="*/ 2147483647 h 38"/>
              <a:gd name="T4" fmla="*/ 2147483647 w 79"/>
              <a:gd name="T5" fmla="*/ 2147483647 h 38"/>
              <a:gd name="T6" fmla="*/ 2147483647 w 79"/>
              <a:gd name="T7" fmla="*/ 2147483647 h 38"/>
              <a:gd name="T8" fmla="*/ 2147483647 w 79"/>
              <a:gd name="T9" fmla="*/ 2147483647 h 38"/>
              <a:gd name="T10" fmla="*/ 2147483647 w 79"/>
              <a:gd name="T11" fmla="*/ 2147483647 h 38"/>
              <a:gd name="T12" fmla="*/ 2147483647 w 79"/>
              <a:gd name="T13" fmla="*/ 2147483647 h 38"/>
              <a:gd name="T14" fmla="*/ 2147483647 w 79"/>
              <a:gd name="T15" fmla="*/ 2147483647 h 38"/>
              <a:gd name="T16" fmla="*/ 2147483647 w 79"/>
              <a:gd name="T17" fmla="*/ 2147483647 h 38"/>
              <a:gd name="T18" fmla="*/ 2147483647 w 79"/>
              <a:gd name="T19" fmla="*/ 2147483647 h 38"/>
              <a:gd name="T20" fmla="*/ 2147483647 w 79"/>
              <a:gd name="T21" fmla="*/ 2147483647 h 38"/>
              <a:gd name="T22" fmla="*/ 2147483647 w 79"/>
              <a:gd name="T23" fmla="*/ 2147483647 h 38"/>
              <a:gd name="T24" fmla="*/ 2147483647 w 79"/>
              <a:gd name="T25" fmla="*/ 2147483647 h 38"/>
              <a:gd name="T26" fmla="*/ 2147483647 w 79"/>
              <a:gd name="T27" fmla="*/ 2147483647 h 38"/>
              <a:gd name="T28" fmla="*/ 2147483647 w 79"/>
              <a:gd name="T29" fmla="*/ 2147483647 h 38"/>
              <a:gd name="T30" fmla="*/ 2147483647 w 79"/>
              <a:gd name="T31" fmla="*/ 2147483647 h 38"/>
              <a:gd name="T32" fmla="*/ 2147483647 w 79"/>
              <a:gd name="T33" fmla="*/ 2147483647 h 38"/>
              <a:gd name="T34" fmla="*/ 2147483647 w 79"/>
              <a:gd name="T35" fmla="*/ 2147483647 h 38"/>
              <a:gd name="T36" fmla="*/ 2147483647 w 79"/>
              <a:gd name="T37" fmla="*/ 2147483647 h 38"/>
              <a:gd name="T38" fmla="*/ 2147483647 w 79"/>
              <a:gd name="T39" fmla="*/ 2147483647 h 38"/>
              <a:gd name="T40" fmla="*/ 2147483647 w 79"/>
              <a:gd name="T41" fmla="*/ 2147483647 h 38"/>
              <a:gd name="T42" fmla="*/ 2147483647 w 79"/>
              <a:gd name="T43" fmla="*/ 2147483647 h 38"/>
              <a:gd name="T44" fmla="*/ 2147483647 w 79"/>
              <a:gd name="T45" fmla="*/ 2147483647 h 38"/>
              <a:gd name="T46" fmla="*/ 0 w 79"/>
              <a:gd name="T47" fmla="*/ 2147483647 h 38"/>
              <a:gd name="T48" fmla="*/ 0 w 79"/>
              <a:gd name="T49" fmla="*/ 2147483647 h 38"/>
              <a:gd name="T50" fmla="*/ 2147483647 w 79"/>
              <a:gd name="T51" fmla="*/ 2147483647 h 38"/>
              <a:gd name="T52" fmla="*/ 2147483647 w 79"/>
              <a:gd name="T53" fmla="*/ 2147483647 h 38"/>
              <a:gd name="T54" fmla="*/ 2147483647 w 79"/>
              <a:gd name="T55" fmla="*/ 2147483647 h 38"/>
              <a:gd name="T56" fmla="*/ 2147483647 w 79"/>
              <a:gd name="T57" fmla="*/ 2147483647 h 38"/>
              <a:gd name="T58" fmla="*/ 2147483647 w 79"/>
              <a:gd name="T59" fmla="*/ 2147483647 h 38"/>
              <a:gd name="T60" fmla="*/ 214748364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0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169015" y="2896815"/>
            <a:ext cx="196850" cy="268288"/>
          </a:xfrm>
          <a:custGeom>
            <a:avLst/>
            <a:gdLst>
              <a:gd name="T0" fmla="*/ 2147483647 w 459"/>
              <a:gd name="T1" fmla="*/ 2147483647 h 511"/>
              <a:gd name="T2" fmla="*/ 2147483647 w 459"/>
              <a:gd name="T3" fmla="*/ 2147483647 h 511"/>
              <a:gd name="T4" fmla="*/ 0 w 459"/>
              <a:gd name="T5" fmla="*/ 0 h 511"/>
              <a:gd name="T6" fmla="*/ 2147483647 w 459"/>
              <a:gd name="T7" fmla="*/ 2147483647 h 511"/>
              <a:gd name="T8" fmla="*/ 2147483647 w 459"/>
              <a:gd name="T9" fmla="*/ 2147483647 h 511"/>
              <a:gd name="T10" fmla="*/ 2147483647 w 459"/>
              <a:gd name="T11" fmla="*/ 2147483647 h 511"/>
              <a:gd name="T12" fmla="*/ 2147483647 w 459"/>
              <a:gd name="T13" fmla="*/ 2147483647 h 511"/>
              <a:gd name="T14" fmla="*/ 2147483647 w 459"/>
              <a:gd name="T15" fmla="*/ 2147483647 h 511"/>
              <a:gd name="T16" fmla="*/ 2147483647 w 459"/>
              <a:gd name="T17" fmla="*/ 2147483647 h 511"/>
              <a:gd name="T18" fmla="*/ 2147483647 w 459"/>
              <a:gd name="T19" fmla="*/ 2147483647 h 511"/>
              <a:gd name="T20" fmla="*/ 2147483647 w 459"/>
              <a:gd name="T21" fmla="*/ 2147483647 h 511"/>
              <a:gd name="T22" fmla="*/ 2147483647 w 459"/>
              <a:gd name="T23" fmla="*/ 2147483647 h 511"/>
              <a:gd name="T24" fmla="*/ 2147483647 w 459"/>
              <a:gd name="T25" fmla="*/ 2147483647 h 511"/>
              <a:gd name="T26" fmla="*/ 2147483647 w 459"/>
              <a:gd name="T27" fmla="*/ 2147483647 h 511"/>
              <a:gd name="T28" fmla="*/ 2147483647 w 459"/>
              <a:gd name="T29" fmla="*/ 2147483647 h 511"/>
              <a:gd name="T30" fmla="*/ 2147483647 w 459"/>
              <a:gd name="T31" fmla="*/ 2147483647 h 511"/>
              <a:gd name="T32" fmla="*/ 2147483647 w 459"/>
              <a:gd name="T33" fmla="*/ 2147483647 h 511"/>
              <a:gd name="T34" fmla="*/ 2147483647 w 459"/>
              <a:gd name="T35" fmla="*/ 2147483647 h 511"/>
              <a:gd name="T36" fmla="*/ 2147483647 w 459"/>
              <a:gd name="T37" fmla="*/ 2147483647 h 511"/>
              <a:gd name="T38" fmla="*/ 2147483647 w 459"/>
              <a:gd name="T39" fmla="*/ 2147483647 h 511"/>
              <a:gd name="T40" fmla="*/ 2147483647 w 459"/>
              <a:gd name="T41" fmla="*/ 2147483647 h 511"/>
              <a:gd name="T42" fmla="*/ 2147483647 w 459"/>
              <a:gd name="T43" fmla="*/ 2147483647 h 511"/>
              <a:gd name="T44" fmla="*/ 2147483647 w 459"/>
              <a:gd name="T45" fmla="*/ 2147483647 h 511"/>
              <a:gd name="T46" fmla="*/ 2147483647 w 459"/>
              <a:gd name="T47" fmla="*/ 2147483647 h 511"/>
              <a:gd name="T48" fmla="*/ 2147483647 w 459"/>
              <a:gd name="T49" fmla="*/ 2147483647 h 511"/>
              <a:gd name="T50" fmla="*/ 2147483647 w 459"/>
              <a:gd name="T51" fmla="*/ 2147483647 h 511"/>
              <a:gd name="T52" fmla="*/ 2147483647 w 459"/>
              <a:gd name="T53" fmla="*/ 2147483647 h 511"/>
              <a:gd name="T54" fmla="*/ 2147483647 w 459"/>
              <a:gd name="T55" fmla="*/ 2147483647 h 511"/>
              <a:gd name="T56" fmla="*/ 2147483647 w 459"/>
              <a:gd name="T57" fmla="*/ 2147483647 h 511"/>
              <a:gd name="T58" fmla="*/ 2147483647 w 459"/>
              <a:gd name="T59" fmla="*/ 2147483647 h 511"/>
              <a:gd name="T60" fmla="*/ 2147483647 w 459"/>
              <a:gd name="T61" fmla="*/ 2147483647 h 511"/>
              <a:gd name="T62" fmla="*/ 2147483647 w 459"/>
              <a:gd name="T63" fmla="*/ 2147483647 h 511"/>
              <a:gd name="T64" fmla="*/ 2147483647 w 459"/>
              <a:gd name="T65" fmla="*/ 2147483647 h 511"/>
              <a:gd name="T66" fmla="*/ 2147483647 w 459"/>
              <a:gd name="T67" fmla="*/ 2147483647 h 511"/>
              <a:gd name="T68" fmla="*/ 2147483647 w 459"/>
              <a:gd name="T69" fmla="*/ 2147483647 h 511"/>
              <a:gd name="T70" fmla="*/ 2147483647 w 459"/>
              <a:gd name="T71" fmla="*/ 2147483647 h 511"/>
              <a:gd name="T72" fmla="*/ 2147483647 w 459"/>
              <a:gd name="T73" fmla="*/ 2147483647 h 511"/>
              <a:gd name="T74" fmla="*/ 2147483647 w 459"/>
              <a:gd name="T75" fmla="*/ 2147483647 h 511"/>
              <a:gd name="T76" fmla="*/ 2147483647 w 459"/>
              <a:gd name="T77" fmla="*/ 2147483647 h 511"/>
              <a:gd name="T78" fmla="*/ 2147483647 w 459"/>
              <a:gd name="T79" fmla="*/ 2147483647 h 511"/>
              <a:gd name="T80" fmla="*/ 2147483647 w 459"/>
              <a:gd name="T81" fmla="*/ 2147483647 h 511"/>
              <a:gd name="T82" fmla="*/ 2147483647 w 459"/>
              <a:gd name="T83" fmla="*/ 2147483647 h 511"/>
              <a:gd name="T84" fmla="*/ 2147483647 w 459"/>
              <a:gd name="T85" fmla="*/ 2147483647 h 511"/>
              <a:gd name="T86" fmla="*/ 2147483647 w 459"/>
              <a:gd name="T87" fmla="*/ 2147483647 h 511"/>
              <a:gd name="T88" fmla="*/ 2147483647 w 459"/>
              <a:gd name="T89" fmla="*/ 2147483647 h 511"/>
              <a:gd name="T90" fmla="*/ 2147483647 w 459"/>
              <a:gd name="T91" fmla="*/ 2147483647 h 511"/>
              <a:gd name="T92" fmla="*/ 2147483647 w 459"/>
              <a:gd name="T93" fmla="*/ 214748364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grpSp>
        <p:nvGrpSpPr>
          <p:cNvPr id="2411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959340" y="2852365"/>
            <a:ext cx="671513" cy="384175"/>
            <a:chOff x="4115" y="1551"/>
            <a:chExt cx="504" cy="244"/>
          </a:xfrm>
          <a:solidFill>
            <a:schemeClr val="bg1">
              <a:lumMod val="75000"/>
            </a:schemeClr>
          </a:solidFill>
        </p:grpSpPr>
        <p:sp>
          <p:nvSpPr>
            <p:cNvPr id="2447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0 w 240"/>
                <a:gd name="T1" fmla="*/ 3 h 259"/>
                <a:gd name="T2" fmla="*/ 1 w 240"/>
                <a:gd name="T3" fmla="*/ 3 h 259"/>
                <a:gd name="T4" fmla="*/ 1 w 240"/>
                <a:gd name="T5" fmla="*/ 3 h 259"/>
                <a:gd name="T6" fmla="*/ 2 w 240"/>
                <a:gd name="T7" fmla="*/ 3 h 259"/>
                <a:gd name="T8" fmla="*/ 2 w 240"/>
                <a:gd name="T9" fmla="*/ 2 h 259"/>
                <a:gd name="T10" fmla="*/ 3 w 240"/>
                <a:gd name="T11" fmla="*/ 1 h 259"/>
                <a:gd name="T12" fmla="*/ 3 w 240"/>
                <a:gd name="T13" fmla="*/ 0 h 259"/>
                <a:gd name="T14" fmla="*/ 3 w 240"/>
                <a:gd name="T15" fmla="*/ 0 h 259"/>
                <a:gd name="T16" fmla="*/ 2 w 240"/>
                <a:gd name="T17" fmla="*/ 0 h 259"/>
                <a:gd name="T18" fmla="*/ 2 w 240"/>
                <a:gd name="T19" fmla="*/ 1 h 259"/>
                <a:gd name="T20" fmla="*/ 2 w 240"/>
                <a:gd name="T21" fmla="*/ 1 h 259"/>
                <a:gd name="T22" fmla="*/ 2 w 240"/>
                <a:gd name="T23" fmla="*/ 2 h 259"/>
                <a:gd name="T24" fmla="*/ 1 w 240"/>
                <a:gd name="T25" fmla="*/ 2 h 259"/>
                <a:gd name="T26" fmla="*/ 1 w 240"/>
                <a:gd name="T27" fmla="*/ 3 h 259"/>
                <a:gd name="T28" fmla="*/ 0 w 240"/>
                <a:gd name="T29" fmla="*/ 3 h 259"/>
                <a:gd name="T30" fmla="*/ 0 w 240"/>
                <a:gd name="T31" fmla="*/ 3 h 259"/>
                <a:gd name="T32" fmla="*/ 0 w 240"/>
                <a:gd name="T33" fmla="*/ 3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48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0 w 259"/>
                <a:gd name="T1" fmla="*/ 1 h 104"/>
                <a:gd name="T2" fmla="*/ 0 w 259"/>
                <a:gd name="T3" fmla="*/ 1 h 104"/>
                <a:gd name="T4" fmla="*/ 1 w 259"/>
                <a:gd name="T5" fmla="*/ 1 h 104"/>
                <a:gd name="T6" fmla="*/ 1 w 259"/>
                <a:gd name="T7" fmla="*/ 1 h 104"/>
                <a:gd name="T8" fmla="*/ 1 w 259"/>
                <a:gd name="T9" fmla="*/ 1 h 104"/>
                <a:gd name="T10" fmla="*/ 2 w 259"/>
                <a:gd name="T11" fmla="*/ 1 h 104"/>
                <a:gd name="T12" fmla="*/ 3 w 259"/>
                <a:gd name="T13" fmla="*/ 0 h 104"/>
                <a:gd name="T14" fmla="*/ 3 w 259"/>
                <a:gd name="T15" fmla="*/ 0 h 104"/>
                <a:gd name="T16" fmla="*/ 3 w 259"/>
                <a:gd name="T17" fmla="*/ 0 h 104"/>
                <a:gd name="T18" fmla="*/ 2 w 259"/>
                <a:gd name="T19" fmla="*/ 0 h 104"/>
                <a:gd name="T20" fmla="*/ 2 w 259"/>
                <a:gd name="T21" fmla="*/ 0 h 104"/>
                <a:gd name="T22" fmla="*/ 1 w 259"/>
                <a:gd name="T23" fmla="*/ 0 h 104"/>
                <a:gd name="T24" fmla="*/ 1 w 259"/>
                <a:gd name="T25" fmla="*/ 0 h 104"/>
                <a:gd name="T26" fmla="*/ 0 w 259"/>
                <a:gd name="T27" fmla="*/ 1 h 104"/>
                <a:gd name="T28" fmla="*/ 0 w 259"/>
                <a:gd name="T29" fmla="*/ 1 h 104"/>
                <a:gd name="T30" fmla="*/ 0 w 259"/>
                <a:gd name="T31" fmla="*/ 1 h 104"/>
                <a:gd name="T32" fmla="*/ 0 w 259"/>
                <a:gd name="T33" fmla="*/ 1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412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5016365" y="3601665"/>
            <a:ext cx="530225" cy="511175"/>
          </a:xfrm>
          <a:custGeom>
            <a:avLst/>
            <a:gdLst>
              <a:gd name="T0" fmla="*/ 2147483647 w 1227"/>
              <a:gd name="T1" fmla="*/ 2147483647 h 979"/>
              <a:gd name="T2" fmla="*/ 2147483647 w 1227"/>
              <a:gd name="T3" fmla="*/ 2147483647 h 979"/>
              <a:gd name="T4" fmla="*/ 2147483647 w 1227"/>
              <a:gd name="T5" fmla="*/ 2147483647 h 979"/>
              <a:gd name="T6" fmla="*/ 2147483647 w 1227"/>
              <a:gd name="T7" fmla="*/ 2147483647 h 979"/>
              <a:gd name="T8" fmla="*/ 2147483647 w 1227"/>
              <a:gd name="T9" fmla="*/ 2147483647 h 979"/>
              <a:gd name="T10" fmla="*/ 2147483647 w 1227"/>
              <a:gd name="T11" fmla="*/ 2147483647 h 979"/>
              <a:gd name="T12" fmla="*/ 2147483647 w 1227"/>
              <a:gd name="T13" fmla="*/ 2147483647 h 979"/>
              <a:gd name="T14" fmla="*/ 2147483647 w 1227"/>
              <a:gd name="T15" fmla="*/ 2147483647 h 979"/>
              <a:gd name="T16" fmla="*/ 2147483647 w 1227"/>
              <a:gd name="T17" fmla="*/ 2147483647 h 979"/>
              <a:gd name="T18" fmla="*/ 2147483647 w 1227"/>
              <a:gd name="T19" fmla="*/ 2147483647 h 979"/>
              <a:gd name="T20" fmla="*/ 2147483647 w 1227"/>
              <a:gd name="T21" fmla="*/ 2147483647 h 979"/>
              <a:gd name="T22" fmla="*/ 2147483647 w 1227"/>
              <a:gd name="T23" fmla="*/ 2147483647 h 979"/>
              <a:gd name="T24" fmla="*/ 2147483647 w 1227"/>
              <a:gd name="T25" fmla="*/ 2147483647 h 979"/>
              <a:gd name="T26" fmla="*/ 2147483647 w 1227"/>
              <a:gd name="T27" fmla="*/ 2147483647 h 979"/>
              <a:gd name="T28" fmla="*/ 2147483647 w 1227"/>
              <a:gd name="T29" fmla="*/ 2147483647 h 979"/>
              <a:gd name="T30" fmla="*/ 2147483647 w 1227"/>
              <a:gd name="T31" fmla="*/ 2147483647 h 979"/>
              <a:gd name="T32" fmla="*/ 2147483647 w 1227"/>
              <a:gd name="T33" fmla="*/ 2147483647 h 979"/>
              <a:gd name="T34" fmla="*/ 2147483647 w 1227"/>
              <a:gd name="T35" fmla="*/ 2147483647 h 979"/>
              <a:gd name="T36" fmla="*/ 2147483647 w 1227"/>
              <a:gd name="T37" fmla="*/ 2147483647 h 979"/>
              <a:gd name="T38" fmla="*/ 2147483647 w 1227"/>
              <a:gd name="T39" fmla="*/ 2147483647 h 979"/>
              <a:gd name="T40" fmla="*/ 2147483647 w 1227"/>
              <a:gd name="T41" fmla="*/ 2147483647 h 979"/>
              <a:gd name="T42" fmla="*/ 2147483647 w 1227"/>
              <a:gd name="T43" fmla="*/ 2147483647 h 979"/>
              <a:gd name="T44" fmla="*/ 2147483647 w 1227"/>
              <a:gd name="T45" fmla="*/ 2147483647 h 979"/>
              <a:gd name="T46" fmla="*/ 2147483647 w 1227"/>
              <a:gd name="T47" fmla="*/ 2147483647 h 979"/>
              <a:gd name="T48" fmla="*/ 2147483647 w 1227"/>
              <a:gd name="T49" fmla="*/ 2147483647 h 979"/>
              <a:gd name="T50" fmla="*/ 2147483647 w 1227"/>
              <a:gd name="T51" fmla="*/ 2147483647 h 979"/>
              <a:gd name="T52" fmla="*/ 2147483647 w 1227"/>
              <a:gd name="T53" fmla="*/ 2147483647 h 979"/>
              <a:gd name="T54" fmla="*/ 2147483647 w 1227"/>
              <a:gd name="T55" fmla="*/ 2147483647 h 979"/>
              <a:gd name="T56" fmla="*/ 2147483647 w 1227"/>
              <a:gd name="T57" fmla="*/ 2147483647 h 979"/>
              <a:gd name="T58" fmla="*/ 0 w 1227"/>
              <a:gd name="T59" fmla="*/ 2147483647 h 979"/>
              <a:gd name="T60" fmla="*/ 2147483647 w 1227"/>
              <a:gd name="T61" fmla="*/ 2147483647 h 979"/>
              <a:gd name="T62" fmla="*/ 2147483647 w 1227"/>
              <a:gd name="T63" fmla="*/ 2147483647 h 979"/>
              <a:gd name="T64" fmla="*/ 2147483647 w 1227"/>
              <a:gd name="T65" fmla="*/ 2147483647 h 979"/>
              <a:gd name="T66" fmla="*/ 2147483647 w 1227"/>
              <a:gd name="T67" fmla="*/ 2147483647 h 979"/>
              <a:gd name="T68" fmla="*/ 2147483647 w 1227"/>
              <a:gd name="T69" fmla="*/ 2147483647 h 979"/>
              <a:gd name="T70" fmla="*/ 2147483647 w 1227"/>
              <a:gd name="T71" fmla="*/ 2147483647 h 979"/>
              <a:gd name="T72" fmla="*/ 2147483647 w 1227"/>
              <a:gd name="T73" fmla="*/ 2147483647 h 979"/>
              <a:gd name="T74" fmla="*/ 2147483647 w 1227"/>
              <a:gd name="T75" fmla="*/ 2147483647 h 979"/>
              <a:gd name="T76" fmla="*/ 2147483647 w 1227"/>
              <a:gd name="T77" fmla="*/ 2147483647 h 979"/>
              <a:gd name="T78" fmla="*/ 2147483647 w 1227"/>
              <a:gd name="T79" fmla="*/ 2147483647 h 979"/>
              <a:gd name="T80" fmla="*/ 2147483647 w 1227"/>
              <a:gd name="T81" fmla="*/ 2147483647 h 979"/>
              <a:gd name="T82" fmla="*/ 2147483647 w 1227"/>
              <a:gd name="T83" fmla="*/ 2147483647 h 979"/>
              <a:gd name="T84" fmla="*/ 2147483647 w 1227"/>
              <a:gd name="T85" fmla="*/ 2147483647 h 979"/>
              <a:gd name="T86" fmla="*/ 2147483647 w 1227"/>
              <a:gd name="T87" fmla="*/ 2147483647 h 979"/>
              <a:gd name="T88" fmla="*/ 2147483647 w 1227"/>
              <a:gd name="T89" fmla="*/ 2147483647 h 979"/>
              <a:gd name="T90" fmla="*/ 2147483647 w 1227"/>
              <a:gd name="T91" fmla="*/ 2147483647 h 979"/>
              <a:gd name="T92" fmla="*/ 2147483647 w 1227"/>
              <a:gd name="T93" fmla="*/ 2147483647 h 979"/>
              <a:gd name="T94" fmla="*/ 2147483647 w 1227"/>
              <a:gd name="T95" fmla="*/ 2147483647 h 979"/>
              <a:gd name="T96" fmla="*/ 2147483647 w 1227"/>
              <a:gd name="T97" fmla="*/ 2147483647 h 979"/>
              <a:gd name="T98" fmla="*/ 2147483647 w 1227"/>
              <a:gd name="T99" fmla="*/ 2147483647 h 979"/>
              <a:gd name="T100" fmla="*/ 2147483647 w 1227"/>
              <a:gd name="T101" fmla="*/ 2147483647 h 979"/>
              <a:gd name="T102" fmla="*/ 2147483647 w 1227"/>
              <a:gd name="T103" fmla="*/ 2147483647 h 979"/>
              <a:gd name="T104" fmla="*/ 2147483647 w 1227"/>
              <a:gd name="T105" fmla="*/ 2147483647 h 979"/>
              <a:gd name="T106" fmla="*/ 2147483647 w 1227"/>
              <a:gd name="T107" fmla="*/ 2147483647 h 979"/>
              <a:gd name="T108" fmla="*/ 2147483647 w 1227"/>
              <a:gd name="T109" fmla="*/ 2147483647 h 979"/>
              <a:gd name="T110" fmla="*/ 2147483647 w 1227"/>
              <a:gd name="T111" fmla="*/ 2147483647 h 979"/>
              <a:gd name="T112" fmla="*/ 2147483647 w 1227"/>
              <a:gd name="T113" fmla="*/ 2147483647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3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490903" y="3146053"/>
            <a:ext cx="57150" cy="57150"/>
          </a:xfrm>
          <a:custGeom>
            <a:avLst/>
            <a:gdLst>
              <a:gd name="T0" fmla="*/ 2147483647 w 146"/>
              <a:gd name="T1" fmla="*/ 2147483647 h 81"/>
              <a:gd name="T2" fmla="*/ 2147483647 w 146"/>
              <a:gd name="T3" fmla="*/ 2147483647 h 81"/>
              <a:gd name="T4" fmla="*/ 2147483647 w 146"/>
              <a:gd name="T5" fmla="*/ 2147483647 h 81"/>
              <a:gd name="T6" fmla="*/ 2147483647 w 146"/>
              <a:gd name="T7" fmla="*/ 2147483647 h 81"/>
              <a:gd name="T8" fmla="*/ 2147483647 w 146"/>
              <a:gd name="T9" fmla="*/ 2147483647 h 81"/>
              <a:gd name="T10" fmla="*/ 2147483647 w 146"/>
              <a:gd name="T11" fmla="*/ 2147483647 h 81"/>
              <a:gd name="T12" fmla="*/ 2147483647 w 146"/>
              <a:gd name="T13" fmla="*/ 2147483647 h 81"/>
              <a:gd name="T14" fmla="*/ 2147483647 w 146"/>
              <a:gd name="T15" fmla="*/ 2147483647 h 81"/>
              <a:gd name="T16" fmla="*/ 2147483647 w 146"/>
              <a:gd name="T17" fmla="*/ 2147483647 h 81"/>
              <a:gd name="T18" fmla="*/ 2147483647 w 146"/>
              <a:gd name="T19" fmla="*/ 2147483647 h 81"/>
              <a:gd name="T20" fmla="*/ 2147483647 w 146"/>
              <a:gd name="T21" fmla="*/ 2147483647 h 81"/>
              <a:gd name="T22" fmla="*/ 2147483647 w 146"/>
              <a:gd name="T23" fmla="*/ 2147483647 h 81"/>
              <a:gd name="T24" fmla="*/ 2147483647 w 146"/>
              <a:gd name="T25" fmla="*/ 2147483647 h 81"/>
              <a:gd name="T26" fmla="*/ 2147483647 w 146"/>
              <a:gd name="T27" fmla="*/ 2147483647 h 81"/>
              <a:gd name="T28" fmla="*/ 0 w 146"/>
              <a:gd name="T29" fmla="*/ 2147483647 h 81"/>
              <a:gd name="T30" fmla="*/ 0 w 146"/>
              <a:gd name="T31" fmla="*/ 2147483647 h 81"/>
              <a:gd name="T32" fmla="*/ 0 w 146"/>
              <a:gd name="T33" fmla="*/ 2147483647 h 81"/>
              <a:gd name="T34" fmla="*/ 0 w 146"/>
              <a:gd name="T35" fmla="*/ 2147483647 h 81"/>
              <a:gd name="T36" fmla="*/ 0 w 146"/>
              <a:gd name="T37" fmla="*/ 2147483647 h 81"/>
              <a:gd name="T38" fmla="*/ 2147483647 w 146"/>
              <a:gd name="T39" fmla="*/ 2147483647 h 81"/>
              <a:gd name="T40" fmla="*/ 2147483647 w 146"/>
              <a:gd name="T41" fmla="*/ 2147483647 h 81"/>
              <a:gd name="T42" fmla="*/ 2147483647 w 146"/>
              <a:gd name="T43" fmla="*/ 2147483647 h 81"/>
              <a:gd name="T44" fmla="*/ 2147483647 w 146"/>
              <a:gd name="T45" fmla="*/ 2147483647 h 81"/>
              <a:gd name="T46" fmla="*/ 2147483647 w 146"/>
              <a:gd name="T47" fmla="*/ 2147483647 h 81"/>
              <a:gd name="T48" fmla="*/ 2147483647 w 146"/>
              <a:gd name="T49" fmla="*/ 2147483647 h 81"/>
              <a:gd name="T50" fmla="*/ 2147483647 w 146"/>
              <a:gd name="T51" fmla="*/ 2147483647 h 81"/>
              <a:gd name="T52" fmla="*/ 2147483647 w 146"/>
              <a:gd name="T53" fmla="*/ 2147483647 h 81"/>
              <a:gd name="T54" fmla="*/ 2147483647 w 146"/>
              <a:gd name="T55" fmla="*/ 2147483647 h 81"/>
              <a:gd name="T56" fmla="*/ 2147483647 w 146"/>
              <a:gd name="T57" fmla="*/ 0 h 81"/>
              <a:gd name="T58" fmla="*/ 2147483647 w 146"/>
              <a:gd name="T59" fmla="*/ 2147483647 h 81"/>
              <a:gd name="T60" fmla="*/ 2147483647 w 146"/>
              <a:gd name="T61" fmla="*/ 2147483647 h 81"/>
              <a:gd name="T62" fmla="*/ 2147483647 w 146"/>
              <a:gd name="T63" fmla="*/ 2147483647 h 81"/>
              <a:gd name="T64" fmla="*/ 2147483647 w 146"/>
              <a:gd name="T65" fmla="*/ 2147483647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4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230553" y="3358778"/>
            <a:ext cx="15875" cy="57150"/>
          </a:xfrm>
          <a:custGeom>
            <a:avLst/>
            <a:gdLst>
              <a:gd name="T0" fmla="*/ 2147483647 w 34"/>
              <a:gd name="T1" fmla="*/ 2147483647 h 49"/>
              <a:gd name="T2" fmla="*/ 2147483647 w 34"/>
              <a:gd name="T3" fmla="*/ 2147483647 h 49"/>
              <a:gd name="T4" fmla="*/ 2147483647 w 34"/>
              <a:gd name="T5" fmla="*/ 2147483647 h 49"/>
              <a:gd name="T6" fmla="*/ 2147483647 w 34"/>
              <a:gd name="T7" fmla="*/ 2147483647 h 49"/>
              <a:gd name="T8" fmla="*/ 2147483647 w 34"/>
              <a:gd name="T9" fmla="*/ 2147483647 h 49"/>
              <a:gd name="T10" fmla="*/ 2147483647 w 34"/>
              <a:gd name="T11" fmla="*/ 2147483647 h 49"/>
              <a:gd name="T12" fmla="*/ 2147483647 w 34"/>
              <a:gd name="T13" fmla="*/ 2147483647 h 49"/>
              <a:gd name="T14" fmla="*/ 2147483647 w 34"/>
              <a:gd name="T15" fmla="*/ 2147483647 h 49"/>
              <a:gd name="T16" fmla="*/ 2147483647 w 34"/>
              <a:gd name="T17" fmla="*/ 0 h 49"/>
              <a:gd name="T18" fmla="*/ 2147483647 w 34"/>
              <a:gd name="T19" fmla="*/ 0 h 49"/>
              <a:gd name="T20" fmla="*/ 0 w 34"/>
              <a:gd name="T21" fmla="*/ 0 h 49"/>
              <a:gd name="T22" fmla="*/ 2147483647 w 34"/>
              <a:gd name="T23" fmla="*/ 2147483647 h 49"/>
              <a:gd name="T24" fmla="*/ 2147483647 w 34"/>
              <a:gd name="T25" fmla="*/ 2147483647 h 49"/>
              <a:gd name="T26" fmla="*/ 2147483647 w 34"/>
              <a:gd name="T27" fmla="*/ 2147483647 h 49"/>
              <a:gd name="T28" fmla="*/ 2147483647 w 34"/>
              <a:gd name="T29" fmla="*/ 2147483647 h 49"/>
              <a:gd name="T30" fmla="*/ 2147483647 w 34"/>
              <a:gd name="T31" fmla="*/ 2147483647 h 49"/>
              <a:gd name="T32" fmla="*/ 2147483647 w 34"/>
              <a:gd name="T33" fmla="*/ 2147483647 h 49"/>
              <a:gd name="T34" fmla="*/ 2147483647 w 34"/>
              <a:gd name="T35" fmla="*/ 2147483647 h 49"/>
              <a:gd name="T36" fmla="*/ 2147483647 w 34"/>
              <a:gd name="T37" fmla="*/ 2147483647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5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822565" y="3704853"/>
            <a:ext cx="28575" cy="57150"/>
          </a:xfrm>
          <a:custGeom>
            <a:avLst/>
            <a:gdLst>
              <a:gd name="T0" fmla="*/ 2147483647 w 60"/>
              <a:gd name="T1" fmla="*/ 0 h 74"/>
              <a:gd name="T2" fmla="*/ 2147483647 w 60"/>
              <a:gd name="T3" fmla="*/ 2147483647 h 74"/>
              <a:gd name="T4" fmla="*/ 2147483647 w 60"/>
              <a:gd name="T5" fmla="*/ 2147483647 h 74"/>
              <a:gd name="T6" fmla="*/ 2147483647 w 60"/>
              <a:gd name="T7" fmla="*/ 2147483647 h 74"/>
              <a:gd name="T8" fmla="*/ 2147483647 w 60"/>
              <a:gd name="T9" fmla="*/ 2147483647 h 74"/>
              <a:gd name="T10" fmla="*/ 2147483647 w 60"/>
              <a:gd name="T11" fmla="*/ 2147483647 h 74"/>
              <a:gd name="T12" fmla="*/ 2147483647 w 60"/>
              <a:gd name="T13" fmla="*/ 2147483647 h 74"/>
              <a:gd name="T14" fmla="*/ 2147483647 w 60"/>
              <a:gd name="T15" fmla="*/ 2147483647 h 74"/>
              <a:gd name="T16" fmla="*/ 2147483647 w 60"/>
              <a:gd name="T17" fmla="*/ 2147483647 h 74"/>
              <a:gd name="T18" fmla="*/ 2147483647 w 60"/>
              <a:gd name="T19" fmla="*/ 2147483647 h 74"/>
              <a:gd name="T20" fmla="*/ 2147483647 w 60"/>
              <a:gd name="T21" fmla="*/ 2147483647 h 74"/>
              <a:gd name="T22" fmla="*/ 2147483647 w 60"/>
              <a:gd name="T23" fmla="*/ 2147483647 h 74"/>
              <a:gd name="T24" fmla="*/ 2147483647 w 60"/>
              <a:gd name="T25" fmla="*/ 2147483647 h 74"/>
              <a:gd name="T26" fmla="*/ 2147483647 w 60"/>
              <a:gd name="T27" fmla="*/ 2147483647 h 74"/>
              <a:gd name="T28" fmla="*/ 0 w 60"/>
              <a:gd name="T29" fmla="*/ 2147483647 h 74"/>
              <a:gd name="T30" fmla="*/ 2147483647 w 60"/>
              <a:gd name="T31" fmla="*/ 2147483647 h 74"/>
              <a:gd name="T32" fmla="*/ 2147483647 w 60"/>
              <a:gd name="T33" fmla="*/ 2147483647 h 74"/>
              <a:gd name="T34" fmla="*/ 2147483647 w 60"/>
              <a:gd name="T35" fmla="*/ 2147483647 h 74"/>
              <a:gd name="T36" fmla="*/ 2147483647 w 60"/>
              <a:gd name="T37" fmla="*/ 2147483647 h 74"/>
              <a:gd name="T38" fmla="*/ 2147483647 w 60"/>
              <a:gd name="T39" fmla="*/ 2147483647 h 74"/>
              <a:gd name="T40" fmla="*/ 2147483647 w 60"/>
              <a:gd name="T41" fmla="*/ 2147483647 h 74"/>
              <a:gd name="T42" fmla="*/ 2147483647 w 60"/>
              <a:gd name="T43" fmla="*/ 2147483647 h 74"/>
              <a:gd name="T44" fmla="*/ 2147483647 w 60"/>
              <a:gd name="T45" fmla="*/ 2147483647 h 74"/>
              <a:gd name="T46" fmla="*/ 2147483647 w 60"/>
              <a:gd name="T47" fmla="*/ 0 h 74"/>
              <a:gd name="T48" fmla="*/ 2147483647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6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763828" y="3720728"/>
            <a:ext cx="23812" cy="60325"/>
          </a:xfrm>
          <a:custGeom>
            <a:avLst/>
            <a:gdLst>
              <a:gd name="T0" fmla="*/ 2147483647 w 47"/>
              <a:gd name="T1" fmla="*/ 2147483647 h 45"/>
              <a:gd name="T2" fmla="*/ 2147483647 w 47"/>
              <a:gd name="T3" fmla="*/ 2147483647 h 45"/>
              <a:gd name="T4" fmla="*/ 2147483647 w 47"/>
              <a:gd name="T5" fmla="*/ 2147483647 h 45"/>
              <a:gd name="T6" fmla="*/ 2147483647 w 47"/>
              <a:gd name="T7" fmla="*/ 2147483647 h 45"/>
              <a:gd name="T8" fmla="*/ 2147483647 w 47"/>
              <a:gd name="T9" fmla="*/ 2147483647 h 45"/>
              <a:gd name="T10" fmla="*/ 2147483647 w 47"/>
              <a:gd name="T11" fmla="*/ 2147483647 h 45"/>
              <a:gd name="T12" fmla="*/ 2147483647 w 47"/>
              <a:gd name="T13" fmla="*/ 0 h 45"/>
              <a:gd name="T14" fmla="*/ 2147483647 w 47"/>
              <a:gd name="T15" fmla="*/ 2147483647 h 45"/>
              <a:gd name="T16" fmla="*/ 2147483647 w 47"/>
              <a:gd name="T17" fmla="*/ 2147483647 h 45"/>
              <a:gd name="T18" fmla="*/ 2147483647 w 47"/>
              <a:gd name="T19" fmla="*/ 2147483647 h 45"/>
              <a:gd name="T20" fmla="*/ 2147483647 w 47"/>
              <a:gd name="T21" fmla="*/ 2147483647 h 45"/>
              <a:gd name="T22" fmla="*/ 2147483647 w 47"/>
              <a:gd name="T23" fmla="*/ 2147483647 h 45"/>
              <a:gd name="T24" fmla="*/ 2147483647 w 47"/>
              <a:gd name="T25" fmla="*/ 2147483647 h 45"/>
              <a:gd name="T26" fmla="*/ 2147483647 w 47"/>
              <a:gd name="T27" fmla="*/ 2147483647 h 45"/>
              <a:gd name="T28" fmla="*/ 2147483647 w 47"/>
              <a:gd name="T29" fmla="*/ 2147483647 h 45"/>
              <a:gd name="T30" fmla="*/ 2147483647 w 47"/>
              <a:gd name="T31" fmla="*/ 2147483647 h 45"/>
              <a:gd name="T32" fmla="*/ 2147483647 w 47"/>
              <a:gd name="T33" fmla="*/ 2147483647 h 45"/>
              <a:gd name="T34" fmla="*/ 2147483647 w 47"/>
              <a:gd name="T35" fmla="*/ 2147483647 h 45"/>
              <a:gd name="T36" fmla="*/ 0 w 47"/>
              <a:gd name="T37" fmla="*/ 2147483647 h 45"/>
              <a:gd name="T38" fmla="*/ 2147483647 w 47"/>
              <a:gd name="T39" fmla="*/ 2147483647 h 45"/>
              <a:gd name="T40" fmla="*/ 2147483647 w 47"/>
              <a:gd name="T41" fmla="*/ 2147483647 h 45"/>
              <a:gd name="T42" fmla="*/ 2147483647 w 47"/>
              <a:gd name="T43" fmla="*/ 2147483647 h 45"/>
              <a:gd name="T44" fmla="*/ 2147483647 w 47"/>
              <a:gd name="T45" fmla="*/ 2147483647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7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738428" y="3714378"/>
            <a:ext cx="6350" cy="57150"/>
          </a:xfrm>
          <a:custGeom>
            <a:avLst/>
            <a:gdLst>
              <a:gd name="T0" fmla="*/ 2147483647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0 w 26"/>
              <a:gd name="T9" fmla="*/ 0 h 36"/>
              <a:gd name="T10" fmla="*/ 2147483647 w 26"/>
              <a:gd name="T11" fmla="*/ 0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8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5010015" y="3442915"/>
            <a:ext cx="174625" cy="158750"/>
          </a:xfrm>
          <a:custGeom>
            <a:avLst/>
            <a:gdLst>
              <a:gd name="T0" fmla="*/ 2147483647 w 405"/>
              <a:gd name="T1" fmla="*/ 2147483647 h 302"/>
              <a:gd name="T2" fmla="*/ 2147483647 w 405"/>
              <a:gd name="T3" fmla="*/ 2147483647 h 302"/>
              <a:gd name="T4" fmla="*/ 2147483647 w 405"/>
              <a:gd name="T5" fmla="*/ 2147483647 h 302"/>
              <a:gd name="T6" fmla="*/ 2147483647 w 405"/>
              <a:gd name="T7" fmla="*/ 2147483647 h 302"/>
              <a:gd name="T8" fmla="*/ 2147483647 w 405"/>
              <a:gd name="T9" fmla="*/ 2147483647 h 302"/>
              <a:gd name="T10" fmla="*/ 2147483647 w 405"/>
              <a:gd name="T11" fmla="*/ 2147483647 h 302"/>
              <a:gd name="T12" fmla="*/ 2147483647 w 405"/>
              <a:gd name="T13" fmla="*/ 2147483647 h 302"/>
              <a:gd name="T14" fmla="*/ 2147483647 w 405"/>
              <a:gd name="T15" fmla="*/ 2147483647 h 302"/>
              <a:gd name="T16" fmla="*/ 2147483647 w 405"/>
              <a:gd name="T17" fmla="*/ 2147483647 h 302"/>
              <a:gd name="T18" fmla="*/ 2147483647 w 405"/>
              <a:gd name="T19" fmla="*/ 2147483647 h 302"/>
              <a:gd name="T20" fmla="*/ 2147483647 w 405"/>
              <a:gd name="T21" fmla="*/ 2147483647 h 302"/>
              <a:gd name="T22" fmla="*/ 2147483647 w 405"/>
              <a:gd name="T23" fmla="*/ 2147483647 h 302"/>
              <a:gd name="T24" fmla="*/ 2147483647 w 405"/>
              <a:gd name="T25" fmla="*/ 2147483647 h 302"/>
              <a:gd name="T26" fmla="*/ 2147483647 w 405"/>
              <a:gd name="T27" fmla="*/ 2147483647 h 302"/>
              <a:gd name="T28" fmla="*/ 2147483647 w 405"/>
              <a:gd name="T29" fmla="*/ 2147483647 h 302"/>
              <a:gd name="T30" fmla="*/ 2147483647 w 405"/>
              <a:gd name="T31" fmla="*/ 2147483647 h 302"/>
              <a:gd name="T32" fmla="*/ 2147483647 w 405"/>
              <a:gd name="T33" fmla="*/ 2147483647 h 302"/>
              <a:gd name="T34" fmla="*/ 2147483647 w 405"/>
              <a:gd name="T35" fmla="*/ 2147483647 h 302"/>
              <a:gd name="T36" fmla="*/ 2147483647 w 405"/>
              <a:gd name="T37" fmla="*/ 2147483647 h 302"/>
              <a:gd name="T38" fmla="*/ 2147483647 w 405"/>
              <a:gd name="T39" fmla="*/ 2147483647 h 302"/>
              <a:gd name="T40" fmla="*/ 2147483647 w 405"/>
              <a:gd name="T41" fmla="*/ 2147483647 h 302"/>
              <a:gd name="T42" fmla="*/ 2147483647 w 405"/>
              <a:gd name="T43" fmla="*/ 2147483647 h 302"/>
              <a:gd name="T44" fmla="*/ 2147483647 w 405"/>
              <a:gd name="T45" fmla="*/ 2147483647 h 302"/>
              <a:gd name="T46" fmla="*/ 2147483647 w 405"/>
              <a:gd name="T47" fmla="*/ 2147483647 h 302"/>
              <a:gd name="T48" fmla="*/ 2147483647 w 405"/>
              <a:gd name="T49" fmla="*/ 2147483647 h 302"/>
              <a:gd name="T50" fmla="*/ 2147483647 w 405"/>
              <a:gd name="T51" fmla="*/ 2147483647 h 302"/>
              <a:gd name="T52" fmla="*/ 2147483647 w 405"/>
              <a:gd name="T53" fmla="*/ 2147483647 h 302"/>
              <a:gd name="T54" fmla="*/ 2147483647 w 405"/>
              <a:gd name="T55" fmla="*/ 2147483647 h 302"/>
              <a:gd name="T56" fmla="*/ 2147483647 w 405"/>
              <a:gd name="T57" fmla="*/ 2147483647 h 302"/>
              <a:gd name="T58" fmla="*/ 2147483647 w 405"/>
              <a:gd name="T59" fmla="*/ 2147483647 h 302"/>
              <a:gd name="T60" fmla="*/ 2147483647 w 405"/>
              <a:gd name="T61" fmla="*/ 2147483647 h 302"/>
              <a:gd name="T62" fmla="*/ 2147483647 w 405"/>
              <a:gd name="T63" fmla="*/ 2147483647 h 302"/>
              <a:gd name="T64" fmla="*/ 2147483647 w 405"/>
              <a:gd name="T65" fmla="*/ 2147483647 h 302"/>
              <a:gd name="T66" fmla="*/ 2147483647 w 405"/>
              <a:gd name="T67" fmla="*/ 2147483647 h 302"/>
              <a:gd name="T68" fmla="*/ 2147483647 w 405"/>
              <a:gd name="T69" fmla="*/ 2147483647 h 302"/>
              <a:gd name="T70" fmla="*/ 2147483647 w 405"/>
              <a:gd name="T71" fmla="*/ 2147483647 h 302"/>
              <a:gd name="T72" fmla="*/ 2147483647 w 405"/>
              <a:gd name="T73" fmla="*/ 2147483647 h 302"/>
              <a:gd name="T74" fmla="*/ 2147483647 w 405"/>
              <a:gd name="T75" fmla="*/ 2147483647 h 302"/>
              <a:gd name="T76" fmla="*/ 2147483647 w 405"/>
              <a:gd name="T77" fmla="*/ 2147483647 h 302"/>
              <a:gd name="T78" fmla="*/ 2147483647 w 405"/>
              <a:gd name="T79" fmla="*/ 2147483647 h 302"/>
              <a:gd name="T80" fmla="*/ 2147483647 w 405"/>
              <a:gd name="T81" fmla="*/ 2147483647 h 302"/>
              <a:gd name="T82" fmla="*/ 2147483647 w 405"/>
              <a:gd name="T83" fmla="*/ 2147483647 h 302"/>
              <a:gd name="T84" fmla="*/ 2147483647 w 405"/>
              <a:gd name="T85" fmla="*/ 2147483647 h 302"/>
              <a:gd name="T86" fmla="*/ 2147483647 w 405"/>
              <a:gd name="T87" fmla="*/ 2147483647 h 302"/>
              <a:gd name="T88" fmla="*/ 2147483647 w 405"/>
              <a:gd name="T89" fmla="*/ 2147483647 h 302"/>
              <a:gd name="T90" fmla="*/ 2147483647 w 405"/>
              <a:gd name="T91" fmla="*/ 2147483647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19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7103928" y="3823915"/>
            <a:ext cx="42862" cy="79375"/>
          </a:xfrm>
          <a:custGeom>
            <a:avLst/>
            <a:gdLst>
              <a:gd name="T0" fmla="*/ 2147483647 w 100"/>
              <a:gd name="T1" fmla="*/ 2147483647 h 155"/>
              <a:gd name="T2" fmla="*/ 2147483647 w 100"/>
              <a:gd name="T3" fmla="*/ 2147483647 h 155"/>
              <a:gd name="T4" fmla="*/ 2147483647 w 100"/>
              <a:gd name="T5" fmla="*/ 2147483647 h 155"/>
              <a:gd name="T6" fmla="*/ 2147483647 w 100"/>
              <a:gd name="T7" fmla="*/ 2147483647 h 155"/>
              <a:gd name="T8" fmla="*/ 2147483647 w 100"/>
              <a:gd name="T9" fmla="*/ 2147483647 h 155"/>
              <a:gd name="T10" fmla="*/ 2147483647 w 100"/>
              <a:gd name="T11" fmla="*/ 2147483647 h 155"/>
              <a:gd name="T12" fmla="*/ 2147483647 w 100"/>
              <a:gd name="T13" fmla="*/ 2147483647 h 155"/>
              <a:gd name="T14" fmla="*/ 2147483647 w 100"/>
              <a:gd name="T15" fmla="*/ 2147483647 h 155"/>
              <a:gd name="T16" fmla="*/ 2147483647 w 100"/>
              <a:gd name="T17" fmla="*/ 2147483647 h 155"/>
              <a:gd name="T18" fmla="*/ 2147483647 w 100"/>
              <a:gd name="T19" fmla="*/ 2147483647 h 155"/>
              <a:gd name="T20" fmla="*/ 2147483647 w 100"/>
              <a:gd name="T21" fmla="*/ 2147483647 h 155"/>
              <a:gd name="T22" fmla="*/ 2147483647 w 100"/>
              <a:gd name="T23" fmla="*/ 2147483647 h 155"/>
              <a:gd name="T24" fmla="*/ 2147483647 w 100"/>
              <a:gd name="T25" fmla="*/ 2147483647 h 155"/>
              <a:gd name="T26" fmla="*/ 2147483647 w 100"/>
              <a:gd name="T27" fmla="*/ 2147483647 h 155"/>
              <a:gd name="T28" fmla="*/ 2147483647 w 100"/>
              <a:gd name="T29" fmla="*/ 2147483647 h 155"/>
              <a:gd name="T30" fmla="*/ 2147483647 w 100"/>
              <a:gd name="T31" fmla="*/ 2147483647 h 155"/>
              <a:gd name="T32" fmla="*/ 2147483647 w 100"/>
              <a:gd name="T33" fmla="*/ 2147483647 h 155"/>
              <a:gd name="T34" fmla="*/ 2147483647 w 100"/>
              <a:gd name="T35" fmla="*/ 2147483647 h 155"/>
              <a:gd name="T36" fmla="*/ 2147483647 w 100"/>
              <a:gd name="T37" fmla="*/ 2147483647 h 155"/>
              <a:gd name="T38" fmla="*/ 2147483647 w 100"/>
              <a:gd name="T39" fmla="*/ 2147483647 h 155"/>
              <a:gd name="T40" fmla="*/ 2147483647 w 100"/>
              <a:gd name="T41" fmla="*/ 2147483647 h 155"/>
              <a:gd name="T42" fmla="*/ 2147483647 w 100"/>
              <a:gd name="T43" fmla="*/ 2147483647 h 155"/>
              <a:gd name="T44" fmla="*/ 2147483647 w 100"/>
              <a:gd name="T45" fmla="*/ 2147483647 h 155"/>
              <a:gd name="T46" fmla="*/ 0 w 100"/>
              <a:gd name="T47" fmla="*/ 2147483647 h 155"/>
              <a:gd name="T48" fmla="*/ 0 w 100"/>
              <a:gd name="T49" fmla="*/ 2147483647 h 155"/>
              <a:gd name="T50" fmla="*/ 0 w 100"/>
              <a:gd name="T51" fmla="*/ 2147483647 h 155"/>
              <a:gd name="T52" fmla="*/ 0 w 100"/>
              <a:gd name="T53" fmla="*/ 2147483647 h 155"/>
              <a:gd name="T54" fmla="*/ 0 w 100"/>
              <a:gd name="T55" fmla="*/ 2147483647 h 155"/>
              <a:gd name="T56" fmla="*/ 0 w 100"/>
              <a:gd name="T57" fmla="*/ 2147483647 h 155"/>
              <a:gd name="T58" fmla="*/ 2147483647 w 100"/>
              <a:gd name="T59" fmla="*/ 2147483647 h 155"/>
              <a:gd name="T60" fmla="*/ 2147483647 w 100"/>
              <a:gd name="T61" fmla="*/ 2147483647 h 155"/>
              <a:gd name="T62" fmla="*/ 2147483647 w 100"/>
              <a:gd name="T63" fmla="*/ 2147483647 h 155"/>
              <a:gd name="T64" fmla="*/ 2147483647 w 100"/>
              <a:gd name="T65" fmla="*/ 2147483647 h 155"/>
              <a:gd name="T66" fmla="*/ 2147483647 w 100"/>
              <a:gd name="T67" fmla="*/ 2147483647 h 155"/>
              <a:gd name="T68" fmla="*/ 2147483647 w 100"/>
              <a:gd name="T69" fmla="*/ 2147483647 h 155"/>
              <a:gd name="T70" fmla="*/ 2147483647 w 100"/>
              <a:gd name="T71" fmla="*/ 2147483647 h 155"/>
              <a:gd name="T72" fmla="*/ 2147483647 w 100"/>
              <a:gd name="T73" fmla="*/ 2147483647 h 155"/>
              <a:gd name="T74" fmla="*/ 2147483647 w 100"/>
              <a:gd name="T75" fmla="*/ 2147483647 h 155"/>
              <a:gd name="T76" fmla="*/ 2147483647 w 100"/>
              <a:gd name="T77" fmla="*/ 2147483647 h 155"/>
              <a:gd name="T78" fmla="*/ 2147483647 w 100"/>
              <a:gd name="T79" fmla="*/ 0 h 155"/>
              <a:gd name="T80" fmla="*/ 2147483647 w 100"/>
              <a:gd name="T81" fmla="*/ 0 h 155"/>
              <a:gd name="T82" fmla="*/ 2147483647 w 100"/>
              <a:gd name="T83" fmla="*/ 0 h 155"/>
              <a:gd name="T84" fmla="*/ 2147483647 w 100"/>
              <a:gd name="T85" fmla="*/ 2147483647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420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751253" y="3292103"/>
            <a:ext cx="482600" cy="201612"/>
            <a:chOff x="3289" y="1830"/>
            <a:chExt cx="363" cy="128"/>
          </a:xfrm>
          <a:solidFill>
            <a:schemeClr val="bg1">
              <a:lumMod val="75000"/>
            </a:schemeClr>
          </a:solidFill>
        </p:grpSpPr>
        <p:sp>
          <p:nvSpPr>
            <p:cNvPr id="2442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0 w 13"/>
                <a:gd name="T11" fmla="*/ 0 h 7"/>
                <a:gd name="T12" fmla="*/ 0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3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0 h 8"/>
                <a:gd name="T2" fmla="*/ 0 w 34"/>
                <a:gd name="T3" fmla="*/ 0 h 8"/>
                <a:gd name="T4" fmla="*/ 0 w 34"/>
                <a:gd name="T5" fmla="*/ 0 h 8"/>
                <a:gd name="T6" fmla="*/ 0 w 34"/>
                <a:gd name="T7" fmla="*/ 0 h 8"/>
                <a:gd name="T8" fmla="*/ 0 w 34"/>
                <a:gd name="T9" fmla="*/ 0 h 8"/>
                <a:gd name="T10" fmla="*/ 0 w 34"/>
                <a:gd name="T11" fmla="*/ 0 h 8"/>
                <a:gd name="T12" fmla="*/ 0 w 34"/>
                <a:gd name="T13" fmla="*/ 0 h 8"/>
                <a:gd name="T14" fmla="*/ 0 w 34"/>
                <a:gd name="T15" fmla="*/ 0 h 8"/>
                <a:gd name="T16" fmla="*/ 0 w 34"/>
                <a:gd name="T17" fmla="*/ 0 h 8"/>
                <a:gd name="T18" fmla="*/ 0 w 34"/>
                <a:gd name="T19" fmla="*/ 0 h 8"/>
                <a:gd name="T20" fmla="*/ 0 w 34"/>
                <a:gd name="T21" fmla="*/ 0 h 8"/>
                <a:gd name="T22" fmla="*/ 0 w 34"/>
                <a:gd name="T23" fmla="*/ 0 h 8"/>
                <a:gd name="T24" fmla="*/ 0 w 34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4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0 h 24"/>
                <a:gd name="T2" fmla="*/ 0 w 13"/>
                <a:gd name="T3" fmla="*/ 0 h 24"/>
                <a:gd name="T4" fmla="*/ 0 w 13"/>
                <a:gd name="T5" fmla="*/ 0 h 24"/>
                <a:gd name="T6" fmla="*/ 0 w 13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5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0 h 69"/>
                <a:gd name="T2" fmla="*/ 0 w 107"/>
                <a:gd name="T3" fmla="*/ 0 h 69"/>
                <a:gd name="T4" fmla="*/ 0 w 107"/>
                <a:gd name="T5" fmla="*/ 1 h 69"/>
                <a:gd name="T6" fmla="*/ 0 w 107"/>
                <a:gd name="T7" fmla="*/ 1 h 69"/>
                <a:gd name="T8" fmla="*/ 0 w 107"/>
                <a:gd name="T9" fmla="*/ 1 h 69"/>
                <a:gd name="T10" fmla="*/ 0 w 107"/>
                <a:gd name="T11" fmla="*/ 1 h 69"/>
                <a:gd name="T12" fmla="*/ 1 w 107"/>
                <a:gd name="T13" fmla="*/ 1 h 69"/>
                <a:gd name="T14" fmla="*/ 1 w 107"/>
                <a:gd name="T15" fmla="*/ 1 h 69"/>
                <a:gd name="T16" fmla="*/ 1 w 107"/>
                <a:gd name="T17" fmla="*/ 1 h 69"/>
                <a:gd name="T18" fmla="*/ 1 w 107"/>
                <a:gd name="T19" fmla="*/ 0 h 69"/>
                <a:gd name="T20" fmla="*/ 1 w 107"/>
                <a:gd name="T21" fmla="*/ 0 h 69"/>
                <a:gd name="T22" fmla="*/ 1 w 107"/>
                <a:gd name="T23" fmla="*/ 0 h 69"/>
                <a:gd name="T24" fmla="*/ 1 w 107"/>
                <a:gd name="T25" fmla="*/ 0 h 69"/>
                <a:gd name="T26" fmla="*/ 1 w 107"/>
                <a:gd name="T27" fmla="*/ 0 h 69"/>
                <a:gd name="T28" fmla="*/ 1 w 107"/>
                <a:gd name="T29" fmla="*/ 0 h 69"/>
                <a:gd name="T30" fmla="*/ 1 w 107"/>
                <a:gd name="T31" fmla="*/ 0 h 69"/>
                <a:gd name="T32" fmla="*/ 1 w 107"/>
                <a:gd name="T33" fmla="*/ 0 h 69"/>
                <a:gd name="T34" fmla="*/ 1 w 107"/>
                <a:gd name="T35" fmla="*/ 0 h 69"/>
                <a:gd name="T36" fmla="*/ 1 w 107"/>
                <a:gd name="T37" fmla="*/ 0 h 69"/>
                <a:gd name="T38" fmla="*/ 1 w 107"/>
                <a:gd name="T39" fmla="*/ 0 h 69"/>
                <a:gd name="T40" fmla="*/ 0 w 107"/>
                <a:gd name="T41" fmla="*/ 0 h 69"/>
                <a:gd name="T42" fmla="*/ 0 w 107"/>
                <a:gd name="T43" fmla="*/ 0 h 69"/>
                <a:gd name="T44" fmla="*/ 0 w 107"/>
                <a:gd name="T45" fmla="*/ 0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6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11 w 1070"/>
                <a:gd name="T1" fmla="*/ 2 h 382"/>
                <a:gd name="T2" fmla="*/ 11 w 1070"/>
                <a:gd name="T3" fmla="*/ 1 h 382"/>
                <a:gd name="T4" fmla="*/ 11 w 1070"/>
                <a:gd name="T5" fmla="*/ 1 h 382"/>
                <a:gd name="T6" fmla="*/ 11 w 1070"/>
                <a:gd name="T7" fmla="*/ 0 h 382"/>
                <a:gd name="T8" fmla="*/ 9 w 1070"/>
                <a:gd name="T9" fmla="*/ 0 h 382"/>
                <a:gd name="T10" fmla="*/ 9 w 1070"/>
                <a:gd name="T11" fmla="*/ 1 h 382"/>
                <a:gd name="T12" fmla="*/ 8 w 1070"/>
                <a:gd name="T13" fmla="*/ 1 h 382"/>
                <a:gd name="T14" fmla="*/ 7 w 1070"/>
                <a:gd name="T15" fmla="*/ 1 h 382"/>
                <a:gd name="T16" fmla="*/ 7 w 1070"/>
                <a:gd name="T17" fmla="*/ 1 h 382"/>
                <a:gd name="T18" fmla="*/ 7 w 1070"/>
                <a:gd name="T19" fmla="*/ 0 h 382"/>
                <a:gd name="T20" fmla="*/ 6 w 1070"/>
                <a:gd name="T21" fmla="*/ 0 h 382"/>
                <a:gd name="T22" fmla="*/ 6 w 1070"/>
                <a:gd name="T23" fmla="*/ 0 h 382"/>
                <a:gd name="T24" fmla="*/ 5 w 1070"/>
                <a:gd name="T25" fmla="*/ 0 h 382"/>
                <a:gd name="T26" fmla="*/ 5 w 1070"/>
                <a:gd name="T27" fmla="*/ 0 h 382"/>
                <a:gd name="T28" fmla="*/ 3 w 1070"/>
                <a:gd name="T29" fmla="*/ 0 h 382"/>
                <a:gd name="T30" fmla="*/ 3 w 1070"/>
                <a:gd name="T31" fmla="*/ 1 h 382"/>
                <a:gd name="T32" fmla="*/ 2 w 1070"/>
                <a:gd name="T33" fmla="*/ 1 h 382"/>
                <a:gd name="T34" fmla="*/ 2 w 1070"/>
                <a:gd name="T35" fmla="*/ 1 h 382"/>
                <a:gd name="T36" fmla="*/ 2 w 1070"/>
                <a:gd name="T37" fmla="*/ 1 h 382"/>
                <a:gd name="T38" fmla="*/ 1 w 1070"/>
                <a:gd name="T39" fmla="*/ 1 h 382"/>
                <a:gd name="T40" fmla="*/ 1 w 1070"/>
                <a:gd name="T41" fmla="*/ 1 h 382"/>
                <a:gd name="T42" fmla="*/ 0 w 1070"/>
                <a:gd name="T43" fmla="*/ 1 h 382"/>
                <a:gd name="T44" fmla="*/ 0 w 1070"/>
                <a:gd name="T45" fmla="*/ 2 h 382"/>
                <a:gd name="T46" fmla="*/ 0 w 1070"/>
                <a:gd name="T47" fmla="*/ 2 h 382"/>
                <a:gd name="T48" fmla="*/ 0 w 1070"/>
                <a:gd name="T49" fmla="*/ 2 h 382"/>
                <a:gd name="T50" fmla="*/ 0 w 1070"/>
                <a:gd name="T51" fmla="*/ 3 h 382"/>
                <a:gd name="T52" fmla="*/ 1 w 1070"/>
                <a:gd name="T53" fmla="*/ 3 h 382"/>
                <a:gd name="T54" fmla="*/ 1 w 1070"/>
                <a:gd name="T55" fmla="*/ 3 h 382"/>
                <a:gd name="T56" fmla="*/ 1 w 1070"/>
                <a:gd name="T57" fmla="*/ 3 h 382"/>
                <a:gd name="T58" fmla="*/ 1 w 1070"/>
                <a:gd name="T59" fmla="*/ 4 h 382"/>
                <a:gd name="T60" fmla="*/ 2 w 1070"/>
                <a:gd name="T61" fmla="*/ 4 h 382"/>
                <a:gd name="T62" fmla="*/ 3 w 1070"/>
                <a:gd name="T63" fmla="*/ 5 h 382"/>
                <a:gd name="T64" fmla="*/ 3 w 1070"/>
                <a:gd name="T65" fmla="*/ 4 h 382"/>
                <a:gd name="T66" fmla="*/ 3 w 1070"/>
                <a:gd name="T67" fmla="*/ 4 h 382"/>
                <a:gd name="T68" fmla="*/ 3 w 1070"/>
                <a:gd name="T69" fmla="*/ 4 h 382"/>
                <a:gd name="T70" fmla="*/ 4 w 1070"/>
                <a:gd name="T71" fmla="*/ 4 h 382"/>
                <a:gd name="T72" fmla="*/ 4 w 1070"/>
                <a:gd name="T73" fmla="*/ 4 h 382"/>
                <a:gd name="T74" fmla="*/ 5 w 1070"/>
                <a:gd name="T75" fmla="*/ 5 h 382"/>
                <a:gd name="T76" fmla="*/ 5 w 1070"/>
                <a:gd name="T77" fmla="*/ 4 h 382"/>
                <a:gd name="T78" fmla="*/ 6 w 1070"/>
                <a:gd name="T79" fmla="*/ 4 h 382"/>
                <a:gd name="T80" fmla="*/ 6 w 1070"/>
                <a:gd name="T81" fmla="*/ 4 h 382"/>
                <a:gd name="T82" fmla="*/ 7 w 1070"/>
                <a:gd name="T83" fmla="*/ 4 h 382"/>
                <a:gd name="T84" fmla="*/ 7 w 1070"/>
                <a:gd name="T85" fmla="*/ 5 h 382"/>
                <a:gd name="T86" fmla="*/ 7 w 1070"/>
                <a:gd name="T87" fmla="*/ 5 h 382"/>
                <a:gd name="T88" fmla="*/ 7 w 1070"/>
                <a:gd name="T89" fmla="*/ 5 h 382"/>
                <a:gd name="T90" fmla="*/ 8 w 1070"/>
                <a:gd name="T91" fmla="*/ 4 h 382"/>
                <a:gd name="T92" fmla="*/ 9 w 1070"/>
                <a:gd name="T93" fmla="*/ 4 h 382"/>
                <a:gd name="T94" fmla="*/ 9 w 1070"/>
                <a:gd name="T95" fmla="*/ 4 h 382"/>
                <a:gd name="T96" fmla="*/ 10 w 1070"/>
                <a:gd name="T97" fmla="*/ 4 h 382"/>
                <a:gd name="T98" fmla="*/ 11 w 1070"/>
                <a:gd name="T99" fmla="*/ 4 h 382"/>
                <a:gd name="T100" fmla="*/ 11 w 1070"/>
                <a:gd name="T101" fmla="*/ 4 h 382"/>
                <a:gd name="T102" fmla="*/ 12 w 1070"/>
                <a:gd name="T103" fmla="*/ 4 h 382"/>
                <a:gd name="T104" fmla="*/ 12 w 1070"/>
                <a:gd name="T105" fmla="*/ 3 h 382"/>
                <a:gd name="T106" fmla="*/ 12 w 1070"/>
                <a:gd name="T107" fmla="*/ 3 h 382"/>
                <a:gd name="T108" fmla="*/ 12 w 1070"/>
                <a:gd name="T109" fmla="*/ 2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421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739890" y="4444628"/>
            <a:ext cx="100013" cy="122237"/>
          </a:xfrm>
          <a:custGeom>
            <a:avLst/>
            <a:gdLst>
              <a:gd name="T0" fmla="*/ 2147483647 w 226"/>
              <a:gd name="T1" fmla="*/ 2147483647 h 237"/>
              <a:gd name="T2" fmla="*/ 2147483647 w 226"/>
              <a:gd name="T3" fmla="*/ 2147483647 h 237"/>
              <a:gd name="T4" fmla="*/ 2147483647 w 226"/>
              <a:gd name="T5" fmla="*/ 2147483647 h 237"/>
              <a:gd name="T6" fmla="*/ 2147483647 w 226"/>
              <a:gd name="T7" fmla="*/ 2147483647 h 237"/>
              <a:gd name="T8" fmla="*/ 2147483647 w 226"/>
              <a:gd name="T9" fmla="*/ 2147483647 h 237"/>
              <a:gd name="T10" fmla="*/ 2147483647 w 226"/>
              <a:gd name="T11" fmla="*/ 2147483647 h 237"/>
              <a:gd name="T12" fmla="*/ 2147483647 w 226"/>
              <a:gd name="T13" fmla="*/ 2147483647 h 237"/>
              <a:gd name="T14" fmla="*/ 2147483647 w 226"/>
              <a:gd name="T15" fmla="*/ 2147483647 h 237"/>
              <a:gd name="T16" fmla="*/ 2147483647 w 226"/>
              <a:gd name="T17" fmla="*/ 2147483647 h 237"/>
              <a:gd name="T18" fmla="*/ 2147483647 w 226"/>
              <a:gd name="T19" fmla="*/ 2147483647 h 237"/>
              <a:gd name="T20" fmla="*/ 2147483647 w 226"/>
              <a:gd name="T21" fmla="*/ 2147483647 h 237"/>
              <a:gd name="T22" fmla="*/ 2147483647 w 226"/>
              <a:gd name="T23" fmla="*/ 2147483647 h 237"/>
              <a:gd name="T24" fmla="*/ 2147483647 w 226"/>
              <a:gd name="T25" fmla="*/ 2147483647 h 237"/>
              <a:gd name="T26" fmla="*/ 2147483647 w 226"/>
              <a:gd name="T27" fmla="*/ 2147483647 h 237"/>
              <a:gd name="T28" fmla="*/ 2147483647 w 226"/>
              <a:gd name="T29" fmla="*/ 2147483647 h 237"/>
              <a:gd name="T30" fmla="*/ 2147483647 w 226"/>
              <a:gd name="T31" fmla="*/ 2147483647 h 237"/>
              <a:gd name="T32" fmla="*/ 2147483647 w 226"/>
              <a:gd name="T33" fmla="*/ 2147483647 h 237"/>
              <a:gd name="T34" fmla="*/ 2147483647 w 226"/>
              <a:gd name="T35" fmla="*/ 2147483647 h 237"/>
              <a:gd name="T36" fmla="*/ 2147483647 w 226"/>
              <a:gd name="T37" fmla="*/ 2147483647 h 237"/>
              <a:gd name="T38" fmla="*/ 2147483647 w 226"/>
              <a:gd name="T39" fmla="*/ 2147483647 h 237"/>
              <a:gd name="T40" fmla="*/ 2147483647 w 226"/>
              <a:gd name="T41" fmla="*/ 2147483647 h 237"/>
              <a:gd name="T42" fmla="*/ 2147483647 w 226"/>
              <a:gd name="T43" fmla="*/ 2147483647 h 237"/>
              <a:gd name="T44" fmla="*/ 2147483647 w 226"/>
              <a:gd name="T45" fmla="*/ 2147483647 h 237"/>
              <a:gd name="T46" fmla="*/ 2147483647 w 226"/>
              <a:gd name="T47" fmla="*/ 2147483647 h 237"/>
              <a:gd name="T48" fmla="*/ 2147483647 w 226"/>
              <a:gd name="T49" fmla="*/ 2147483647 h 237"/>
              <a:gd name="T50" fmla="*/ 2147483647 w 226"/>
              <a:gd name="T51" fmla="*/ 2147483647 h 237"/>
              <a:gd name="T52" fmla="*/ 2147483647 w 226"/>
              <a:gd name="T53" fmla="*/ 2147483647 h 237"/>
              <a:gd name="T54" fmla="*/ 2147483647 w 226"/>
              <a:gd name="T55" fmla="*/ 2147483647 h 237"/>
              <a:gd name="T56" fmla="*/ 2147483647 w 226"/>
              <a:gd name="T57" fmla="*/ 2147483647 h 237"/>
              <a:gd name="T58" fmla="*/ 0 w 226"/>
              <a:gd name="T59" fmla="*/ 2147483647 h 237"/>
              <a:gd name="T60" fmla="*/ 2147483647 w 226"/>
              <a:gd name="T61" fmla="*/ 2147483647 h 237"/>
              <a:gd name="T62" fmla="*/ 2147483647 w 226"/>
              <a:gd name="T63" fmla="*/ 2147483647 h 237"/>
              <a:gd name="T64" fmla="*/ 2147483647 w 226"/>
              <a:gd name="T65" fmla="*/ 2147483647 h 237"/>
              <a:gd name="T66" fmla="*/ 2147483647 w 226"/>
              <a:gd name="T67" fmla="*/ 2147483647 h 237"/>
              <a:gd name="T68" fmla="*/ 2147483647 w 226"/>
              <a:gd name="T69" fmla="*/ 2147483647 h 237"/>
              <a:gd name="T70" fmla="*/ 2147483647 w 226"/>
              <a:gd name="T71" fmla="*/ 2147483647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2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684828" y="3881065"/>
            <a:ext cx="207962" cy="458788"/>
          </a:xfrm>
          <a:custGeom>
            <a:avLst/>
            <a:gdLst>
              <a:gd name="T0" fmla="*/ 2147483647 w 478"/>
              <a:gd name="T1" fmla="*/ 2147483647 h 875"/>
              <a:gd name="T2" fmla="*/ 2147483647 w 478"/>
              <a:gd name="T3" fmla="*/ 2147483647 h 875"/>
              <a:gd name="T4" fmla="*/ 2147483647 w 478"/>
              <a:gd name="T5" fmla="*/ 2147483647 h 875"/>
              <a:gd name="T6" fmla="*/ 2147483647 w 478"/>
              <a:gd name="T7" fmla="*/ 2147483647 h 875"/>
              <a:gd name="T8" fmla="*/ 2147483647 w 478"/>
              <a:gd name="T9" fmla="*/ 2147483647 h 875"/>
              <a:gd name="T10" fmla="*/ 2147483647 w 478"/>
              <a:gd name="T11" fmla="*/ 2147483647 h 875"/>
              <a:gd name="T12" fmla="*/ 2147483647 w 478"/>
              <a:gd name="T13" fmla="*/ 2147483647 h 875"/>
              <a:gd name="T14" fmla="*/ 2147483647 w 478"/>
              <a:gd name="T15" fmla="*/ 2147483647 h 875"/>
              <a:gd name="T16" fmla="*/ 2147483647 w 478"/>
              <a:gd name="T17" fmla="*/ 2147483647 h 875"/>
              <a:gd name="T18" fmla="*/ 2147483647 w 478"/>
              <a:gd name="T19" fmla="*/ 2147483647 h 875"/>
              <a:gd name="T20" fmla="*/ 2147483647 w 478"/>
              <a:gd name="T21" fmla="*/ 2147483647 h 875"/>
              <a:gd name="T22" fmla="*/ 2147483647 w 478"/>
              <a:gd name="T23" fmla="*/ 2147483647 h 875"/>
              <a:gd name="T24" fmla="*/ 2147483647 w 478"/>
              <a:gd name="T25" fmla="*/ 2147483647 h 875"/>
              <a:gd name="T26" fmla="*/ 2147483647 w 478"/>
              <a:gd name="T27" fmla="*/ 2147483647 h 875"/>
              <a:gd name="T28" fmla="*/ 2147483647 w 478"/>
              <a:gd name="T29" fmla="*/ 2147483647 h 875"/>
              <a:gd name="T30" fmla="*/ 2147483647 w 478"/>
              <a:gd name="T31" fmla="*/ 2147483647 h 875"/>
              <a:gd name="T32" fmla="*/ 2147483647 w 478"/>
              <a:gd name="T33" fmla="*/ 2147483647 h 875"/>
              <a:gd name="T34" fmla="*/ 2147483647 w 478"/>
              <a:gd name="T35" fmla="*/ 2147483647 h 875"/>
              <a:gd name="T36" fmla="*/ 2147483647 w 478"/>
              <a:gd name="T37" fmla="*/ 2147483647 h 875"/>
              <a:gd name="T38" fmla="*/ 2147483647 w 478"/>
              <a:gd name="T39" fmla="*/ 2147483647 h 875"/>
              <a:gd name="T40" fmla="*/ 2147483647 w 478"/>
              <a:gd name="T41" fmla="*/ 2147483647 h 875"/>
              <a:gd name="T42" fmla="*/ 2147483647 w 478"/>
              <a:gd name="T43" fmla="*/ 2147483647 h 875"/>
              <a:gd name="T44" fmla="*/ 2147483647 w 478"/>
              <a:gd name="T45" fmla="*/ 2147483647 h 875"/>
              <a:gd name="T46" fmla="*/ 2147483647 w 478"/>
              <a:gd name="T47" fmla="*/ 2147483647 h 875"/>
              <a:gd name="T48" fmla="*/ 2147483647 w 478"/>
              <a:gd name="T49" fmla="*/ 2147483647 h 875"/>
              <a:gd name="T50" fmla="*/ 2147483647 w 478"/>
              <a:gd name="T51" fmla="*/ 2147483647 h 875"/>
              <a:gd name="T52" fmla="*/ 2147483647 w 478"/>
              <a:gd name="T53" fmla="*/ 2147483647 h 875"/>
              <a:gd name="T54" fmla="*/ 2147483647 w 478"/>
              <a:gd name="T55" fmla="*/ 2147483647 h 875"/>
              <a:gd name="T56" fmla="*/ 2147483647 w 478"/>
              <a:gd name="T57" fmla="*/ 2147483647 h 875"/>
              <a:gd name="T58" fmla="*/ 2147483647 w 478"/>
              <a:gd name="T59" fmla="*/ 2147483647 h 875"/>
              <a:gd name="T60" fmla="*/ 2147483647 w 478"/>
              <a:gd name="T61" fmla="*/ 2147483647 h 875"/>
              <a:gd name="T62" fmla="*/ 2147483647 w 478"/>
              <a:gd name="T63" fmla="*/ 2147483647 h 875"/>
              <a:gd name="T64" fmla="*/ 2147483647 w 478"/>
              <a:gd name="T65" fmla="*/ 2147483647 h 875"/>
              <a:gd name="T66" fmla="*/ 2147483647 w 478"/>
              <a:gd name="T67" fmla="*/ 2147483647 h 875"/>
              <a:gd name="T68" fmla="*/ 2147483647 w 478"/>
              <a:gd name="T69" fmla="*/ 2147483647 h 875"/>
              <a:gd name="T70" fmla="*/ 2147483647 w 478"/>
              <a:gd name="T71" fmla="*/ 2147483647 h 875"/>
              <a:gd name="T72" fmla="*/ 2147483647 w 478"/>
              <a:gd name="T73" fmla="*/ 2147483647 h 875"/>
              <a:gd name="T74" fmla="*/ 2147483647 w 478"/>
              <a:gd name="T75" fmla="*/ 2147483647 h 875"/>
              <a:gd name="T76" fmla="*/ 2147483647 w 478"/>
              <a:gd name="T77" fmla="*/ 2147483647 h 875"/>
              <a:gd name="T78" fmla="*/ 2147483647 w 478"/>
              <a:gd name="T79" fmla="*/ 2147483647 h 875"/>
              <a:gd name="T80" fmla="*/ 2147483647 w 478"/>
              <a:gd name="T81" fmla="*/ 2147483647 h 875"/>
              <a:gd name="T82" fmla="*/ 2147483647 w 478"/>
              <a:gd name="T83" fmla="*/ 2147483647 h 875"/>
              <a:gd name="T84" fmla="*/ 2147483647 w 478"/>
              <a:gd name="T85" fmla="*/ 2147483647 h 875"/>
              <a:gd name="T86" fmla="*/ 2147483647 w 478"/>
              <a:gd name="T87" fmla="*/ 2147483647 h 875"/>
              <a:gd name="T88" fmla="*/ 2147483647 w 478"/>
              <a:gd name="T89" fmla="*/ 2147483647 h 875"/>
              <a:gd name="T90" fmla="*/ 2147483647 w 478"/>
              <a:gd name="T91" fmla="*/ 2147483647 h 875"/>
              <a:gd name="T92" fmla="*/ 2147483647 w 478"/>
              <a:gd name="T93" fmla="*/ 2147483647 h 875"/>
              <a:gd name="T94" fmla="*/ 2147483647 w 478"/>
              <a:gd name="T95" fmla="*/ 2147483647 h 875"/>
              <a:gd name="T96" fmla="*/ 2147483647 w 478"/>
              <a:gd name="T97" fmla="*/ 2147483647 h 875"/>
              <a:gd name="T98" fmla="*/ 2147483647 w 478"/>
              <a:gd name="T99" fmla="*/ 2147483647 h 875"/>
              <a:gd name="T100" fmla="*/ 2147483647 w 478"/>
              <a:gd name="T101" fmla="*/ 2147483647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3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772140" y="4566865"/>
            <a:ext cx="25400" cy="57150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4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464040" y="3825503"/>
            <a:ext cx="174625" cy="271462"/>
          </a:xfrm>
          <a:custGeom>
            <a:avLst/>
            <a:gdLst>
              <a:gd name="T0" fmla="*/ 2147483647 w 399"/>
              <a:gd name="T1" fmla="*/ 2147483647 h 518"/>
              <a:gd name="T2" fmla="*/ 2147483647 w 399"/>
              <a:gd name="T3" fmla="*/ 2147483647 h 518"/>
              <a:gd name="T4" fmla="*/ 2147483647 w 399"/>
              <a:gd name="T5" fmla="*/ 2147483647 h 518"/>
              <a:gd name="T6" fmla="*/ 2147483647 w 399"/>
              <a:gd name="T7" fmla="*/ 2147483647 h 518"/>
              <a:gd name="T8" fmla="*/ 2147483647 w 399"/>
              <a:gd name="T9" fmla="*/ 2147483647 h 518"/>
              <a:gd name="T10" fmla="*/ 2147483647 w 399"/>
              <a:gd name="T11" fmla="*/ 2147483647 h 518"/>
              <a:gd name="T12" fmla="*/ 2147483647 w 399"/>
              <a:gd name="T13" fmla="*/ 2147483647 h 518"/>
              <a:gd name="T14" fmla="*/ 2147483647 w 399"/>
              <a:gd name="T15" fmla="*/ 2147483647 h 518"/>
              <a:gd name="T16" fmla="*/ 2147483647 w 399"/>
              <a:gd name="T17" fmla="*/ 2147483647 h 518"/>
              <a:gd name="T18" fmla="*/ 2147483647 w 399"/>
              <a:gd name="T19" fmla="*/ 2147483647 h 518"/>
              <a:gd name="T20" fmla="*/ 2147483647 w 399"/>
              <a:gd name="T21" fmla="*/ 2147483647 h 518"/>
              <a:gd name="T22" fmla="*/ 2147483647 w 399"/>
              <a:gd name="T23" fmla="*/ 2147483647 h 518"/>
              <a:gd name="T24" fmla="*/ 2147483647 w 399"/>
              <a:gd name="T25" fmla="*/ 2147483647 h 518"/>
              <a:gd name="T26" fmla="*/ 2147483647 w 399"/>
              <a:gd name="T27" fmla="*/ 2147483647 h 518"/>
              <a:gd name="T28" fmla="*/ 2147483647 w 399"/>
              <a:gd name="T29" fmla="*/ 2147483647 h 518"/>
              <a:gd name="T30" fmla="*/ 2147483647 w 399"/>
              <a:gd name="T31" fmla="*/ 2147483647 h 518"/>
              <a:gd name="T32" fmla="*/ 2147483647 w 399"/>
              <a:gd name="T33" fmla="*/ 2147483647 h 518"/>
              <a:gd name="T34" fmla="*/ 2147483647 w 399"/>
              <a:gd name="T35" fmla="*/ 2147483647 h 518"/>
              <a:gd name="T36" fmla="*/ 2147483647 w 399"/>
              <a:gd name="T37" fmla="*/ 2147483647 h 518"/>
              <a:gd name="T38" fmla="*/ 2147483647 w 399"/>
              <a:gd name="T39" fmla="*/ 2147483647 h 518"/>
              <a:gd name="T40" fmla="*/ 2147483647 w 399"/>
              <a:gd name="T41" fmla="*/ 2147483647 h 518"/>
              <a:gd name="T42" fmla="*/ 2147483647 w 399"/>
              <a:gd name="T43" fmla="*/ 2147483647 h 518"/>
              <a:gd name="T44" fmla="*/ 2147483647 w 399"/>
              <a:gd name="T45" fmla="*/ 2147483647 h 518"/>
              <a:gd name="T46" fmla="*/ 2147483647 w 399"/>
              <a:gd name="T47" fmla="*/ 2147483647 h 518"/>
              <a:gd name="T48" fmla="*/ 2147483647 w 399"/>
              <a:gd name="T49" fmla="*/ 2147483647 h 518"/>
              <a:gd name="T50" fmla="*/ 2147483647 w 399"/>
              <a:gd name="T51" fmla="*/ 2147483647 h 518"/>
              <a:gd name="T52" fmla="*/ 2147483647 w 399"/>
              <a:gd name="T53" fmla="*/ 2147483647 h 518"/>
              <a:gd name="T54" fmla="*/ 2147483647 w 399"/>
              <a:gd name="T55" fmla="*/ 2147483647 h 518"/>
              <a:gd name="T56" fmla="*/ 2147483647 w 399"/>
              <a:gd name="T57" fmla="*/ 2147483647 h 518"/>
              <a:gd name="T58" fmla="*/ 2147483647 w 399"/>
              <a:gd name="T59" fmla="*/ 2147483647 h 518"/>
              <a:gd name="T60" fmla="*/ 2147483647 w 399"/>
              <a:gd name="T61" fmla="*/ 2147483647 h 518"/>
              <a:gd name="T62" fmla="*/ 2147483647 w 399"/>
              <a:gd name="T63" fmla="*/ 2147483647 h 518"/>
              <a:gd name="T64" fmla="*/ 2147483647 w 399"/>
              <a:gd name="T65" fmla="*/ 2147483647 h 518"/>
              <a:gd name="T66" fmla="*/ 2147483647 w 399"/>
              <a:gd name="T67" fmla="*/ 2147483647 h 518"/>
              <a:gd name="T68" fmla="*/ 2147483647 w 399"/>
              <a:gd name="T69" fmla="*/ 2147483647 h 518"/>
              <a:gd name="T70" fmla="*/ 2147483647 w 399"/>
              <a:gd name="T71" fmla="*/ 2147483647 h 518"/>
              <a:gd name="T72" fmla="*/ 2147483647 w 399"/>
              <a:gd name="T73" fmla="*/ 2147483647 h 518"/>
              <a:gd name="T74" fmla="*/ 2147483647 w 399"/>
              <a:gd name="T75" fmla="*/ 2147483647 h 518"/>
              <a:gd name="T76" fmla="*/ 2147483647 w 399"/>
              <a:gd name="T77" fmla="*/ 2147483647 h 518"/>
              <a:gd name="T78" fmla="*/ 2147483647 w 399"/>
              <a:gd name="T79" fmla="*/ 2147483647 h 518"/>
              <a:gd name="T80" fmla="*/ 2147483647 w 399"/>
              <a:gd name="T81" fmla="*/ 2147483647 h 518"/>
              <a:gd name="T82" fmla="*/ 2147483647 w 399"/>
              <a:gd name="T83" fmla="*/ 2147483647 h 518"/>
              <a:gd name="T84" fmla="*/ 2147483647 w 399"/>
              <a:gd name="T85" fmla="*/ 2147483647 h 518"/>
              <a:gd name="T86" fmla="*/ 0 w 399"/>
              <a:gd name="T87" fmla="*/ 2147483647 h 518"/>
              <a:gd name="T88" fmla="*/ 2147483647 w 399"/>
              <a:gd name="T89" fmla="*/ 2147483647 h 518"/>
              <a:gd name="T90" fmla="*/ 2147483647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25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190865" y="3879478"/>
            <a:ext cx="376238" cy="385762"/>
          </a:xfrm>
          <a:custGeom>
            <a:avLst/>
            <a:gdLst>
              <a:gd name="T0" fmla="*/ 2147483647 w 866"/>
              <a:gd name="T1" fmla="*/ 2147483647 h 740"/>
              <a:gd name="T2" fmla="*/ 2147483647 w 866"/>
              <a:gd name="T3" fmla="*/ 2147483647 h 740"/>
              <a:gd name="T4" fmla="*/ 2147483647 w 866"/>
              <a:gd name="T5" fmla="*/ 2147483647 h 740"/>
              <a:gd name="T6" fmla="*/ 2147483647 w 866"/>
              <a:gd name="T7" fmla="*/ 2147483647 h 740"/>
              <a:gd name="T8" fmla="*/ 2147483647 w 866"/>
              <a:gd name="T9" fmla="*/ 2147483647 h 740"/>
              <a:gd name="T10" fmla="*/ 2147483647 w 866"/>
              <a:gd name="T11" fmla="*/ 2147483647 h 740"/>
              <a:gd name="T12" fmla="*/ 2147483647 w 866"/>
              <a:gd name="T13" fmla="*/ 2147483647 h 740"/>
              <a:gd name="T14" fmla="*/ 2147483647 w 866"/>
              <a:gd name="T15" fmla="*/ 2147483647 h 740"/>
              <a:gd name="T16" fmla="*/ 2147483647 w 866"/>
              <a:gd name="T17" fmla="*/ 2147483647 h 740"/>
              <a:gd name="T18" fmla="*/ 2147483647 w 866"/>
              <a:gd name="T19" fmla="*/ 2147483647 h 740"/>
              <a:gd name="T20" fmla="*/ 2147483647 w 866"/>
              <a:gd name="T21" fmla="*/ 2147483647 h 740"/>
              <a:gd name="T22" fmla="*/ 2147483647 w 866"/>
              <a:gd name="T23" fmla="*/ 2147483647 h 740"/>
              <a:gd name="T24" fmla="*/ 2147483647 w 866"/>
              <a:gd name="T25" fmla="*/ 2147483647 h 740"/>
              <a:gd name="T26" fmla="*/ 2147483647 w 866"/>
              <a:gd name="T27" fmla="*/ 2147483647 h 740"/>
              <a:gd name="T28" fmla="*/ 2147483647 w 866"/>
              <a:gd name="T29" fmla="*/ 2147483647 h 740"/>
              <a:gd name="T30" fmla="*/ 2147483647 w 866"/>
              <a:gd name="T31" fmla="*/ 2147483647 h 740"/>
              <a:gd name="T32" fmla="*/ 2147483647 w 866"/>
              <a:gd name="T33" fmla="*/ 2147483647 h 740"/>
              <a:gd name="T34" fmla="*/ 2147483647 w 866"/>
              <a:gd name="T35" fmla="*/ 2147483647 h 740"/>
              <a:gd name="T36" fmla="*/ 2147483647 w 866"/>
              <a:gd name="T37" fmla="*/ 2147483647 h 740"/>
              <a:gd name="T38" fmla="*/ 2147483647 w 866"/>
              <a:gd name="T39" fmla="*/ 2147483647 h 740"/>
              <a:gd name="T40" fmla="*/ 2147483647 w 866"/>
              <a:gd name="T41" fmla="*/ 2147483647 h 740"/>
              <a:gd name="T42" fmla="*/ 2147483647 w 866"/>
              <a:gd name="T43" fmla="*/ 2147483647 h 740"/>
              <a:gd name="T44" fmla="*/ 2147483647 w 866"/>
              <a:gd name="T45" fmla="*/ 2147483647 h 740"/>
              <a:gd name="T46" fmla="*/ 2147483647 w 866"/>
              <a:gd name="T47" fmla="*/ 2147483647 h 740"/>
              <a:gd name="T48" fmla="*/ 2147483647 w 866"/>
              <a:gd name="T49" fmla="*/ 2147483647 h 740"/>
              <a:gd name="T50" fmla="*/ 2147483647 w 866"/>
              <a:gd name="T51" fmla="*/ 2147483647 h 740"/>
              <a:gd name="T52" fmla="*/ 2147483647 w 866"/>
              <a:gd name="T53" fmla="*/ 2147483647 h 740"/>
              <a:gd name="T54" fmla="*/ 2147483647 w 866"/>
              <a:gd name="T55" fmla="*/ 2147483647 h 740"/>
              <a:gd name="T56" fmla="*/ 2147483647 w 866"/>
              <a:gd name="T57" fmla="*/ 2147483647 h 740"/>
              <a:gd name="T58" fmla="*/ 2147483647 w 866"/>
              <a:gd name="T59" fmla="*/ 2147483647 h 740"/>
              <a:gd name="T60" fmla="*/ 2147483647 w 866"/>
              <a:gd name="T61" fmla="*/ 2147483647 h 740"/>
              <a:gd name="T62" fmla="*/ 2147483647 w 866"/>
              <a:gd name="T63" fmla="*/ 2147483647 h 740"/>
              <a:gd name="T64" fmla="*/ 2147483647 w 866"/>
              <a:gd name="T65" fmla="*/ 2147483647 h 740"/>
              <a:gd name="T66" fmla="*/ 2147483647 w 866"/>
              <a:gd name="T67" fmla="*/ 2147483647 h 740"/>
              <a:gd name="T68" fmla="*/ 2147483647 w 866"/>
              <a:gd name="T69" fmla="*/ 2147483647 h 740"/>
              <a:gd name="T70" fmla="*/ 2147483647 w 866"/>
              <a:gd name="T71" fmla="*/ 2147483647 h 740"/>
              <a:gd name="T72" fmla="*/ 2147483647 w 866"/>
              <a:gd name="T73" fmla="*/ 2147483647 h 740"/>
              <a:gd name="T74" fmla="*/ 2147483647 w 866"/>
              <a:gd name="T75" fmla="*/ 2147483647 h 740"/>
              <a:gd name="T76" fmla="*/ 2147483647 w 866"/>
              <a:gd name="T77" fmla="*/ 2147483647 h 740"/>
              <a:gd name="T78" fmla="*/ 2147483647 w 866"/>
              <a:gd name="T79" fmla="*/ 2147483647 h 740"/>
              <a:gd name="T80" fmla="*/ 2147483647 w 866"/>
              <a:gd name="T81" fmla="*/ 2147483647 h 740"/>
              <a:gd name="T82" fmla="*/ 2147483647 w 866"/>
              <a:gd name="T83" fmla="*/ 2147483647 h 740"/>
              <a:gd name="T84" fmla="*/ 2147483647 w 866"/>
              <a:gd name="T85" fmla="*/ 2147483647 h 740"/>
              <a:gd name="T86" fmla="*/ 2147483647 w 866"/>
              <a:gd name="T87" fmla="*/ 2147483647 h 740"/>
              <a:gd name="T88" fmla="*/ 2147483647 w 866"/>
              <a:gd name="T89" fmla="*/ 2147483647 h 740"/>
              <a:gd name="T90" fmla="*/ 2147483647 w 866"/>
              <a:gd name="T91" fmla="*/ 2147483647 h 740"/>
              <a:gd name="T92" fmla="*/ 2147483647 w 866"/>
              <a:gd name="T93" fmla="*/ 2147483647 h 740"/>
              <a:gd name="T94" fmla="*/ 2147483647 w 866"/>
              <a:gd name="T95" fmla="*/ 2147483647 h 740"/>
              <a:gd name="T96" fmla="*/ 2147483647 w 866"/>
              <a:gd name="T97" fmla="*/ 2147483647 h 740"/>
              <a:gd name="T98" fmla="*/ 2147483647 w 866"/>
              <a:gd name="T99" fmla="*/ 2147483647 h 740"/>
              <a:gd name="T100" fmla="*/ 2147483647 w 866"/>
              <a:gd name="T101" fmla="*/ 2147483647 h 740"/>
              <a:gd name="T102" fmla="*/ 2147483647 w 866"/>
              <a:gd name="T103" fmla="*/ 2147483647 h 740"/>
              <a:gd name="T104" fmla="*/ 2147483647 w 866"/>
              <a:gd name="T105" fmla="*/ 2147483647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6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860665" y="3496890"/>
            <a:ext cx="300038" cy="260350"/>
          </a:xfrm>
          <a:custGeom>
            <a:avLst/>
            <a:gdLst>
              <a:gd name="T0" fmla="*/ 2147483647 w 697"/>
              <a:gd name="T1" fmla="*/ 2147483647 h 500"/>
              <a:gd name="T2" fmla="*/ 2147483647 w 697"/>
              <a:gd name="T3" fmla="*/ 2147483647 h 500"/>
              <a:gd name="T4" fmla="*/ 2147483647 w 697"/>
              <a:gd name="T5" fmla="*/ 2147483647 h 500"/>
              <a:gd name="T6" fmla="*/ 2147483647 w 697"/>
              <a:gd name="T7" fmla="*/ 2147483647 h 500"/>
              <a:gd name="T8" fmla="*/ 2147483647 w 697"/>
              <a:gd name="T9" fmla="*/ 2147483647 h 500"/>
              <a:gd name="T10" fmla="*/ 2147483647 w 697"/>
              <a:gd name="T11" fmla="*/ 2147483647 h 500"/>
              <a:gd name="T12" fmla="*/ 2147483647 w 697"/>
              <a:gd name="T13" fmla="*/ 2147483647 h 500"/>
              <a:gd name="T14" fmla="*/ 2147483647 w 697"/>
              <a:gd name="T15" fmla="*/ 2147483647 h 500"/>
              <a:gd name="T16" fmla="*/ 2147483647 w 697"/>
              <a:gd name="T17" fmla="*/ 2147483647 h 500"/>
              <a:gd name="T18" fmla="*/ 2147483647 w 697"/>
              <a:gd name="T19" fmla="*/ 2147483647 h 500"/>
              <a:gd name="T20" fmla="*/ 2147483647 w 697"/>
              <a:gd name="T21" fmla="*/ 2147483647 h 500"/>
              <a:gd name="T22" fmla="*/ 2147483647 w 697"/>
              <a:gd name="T23" fmla="*/ 2147483647 h 500"/>
              <a:gd name="T24" fmla="*/ 2147483647 w 697"/>
              <a:gd name="T25" fmla="*/ 2147483647 h 500"/>
              <a:gd name="T26" fmla="*/ 2147483647 w 697"/>
              <a:gd name="T27" fmla="*/ 2147483647 h 500"/>
              <a:gd name="T28" fmla="*/ 2147483647 w 697"/>
              <a:gd name="T29" fmla="*/ 2147483647 h 500"/>
              <a:gd name="T30" fmla="*/ 2147483647 w 697"/>
              <a:gd name="T31" fmla="*/ 2147483647 h 500"/>
              <a:gd name="T32" fmla="*/ 2147483647 w 697"/>
              <a:gd name="T33" fmla="*/ 2147483647 h 500"/>
              <a:gd name="T34" fmla="*/ 2147483647 w 697"/>
              <a:gd name="T35" fmla="*/ 2147483647 h 500"/>
              <a:gd name="T36" fmla="*/ 2147483647 w 697"/>
              <a:gd name="T37" fmla="*/ 2147483647 h 500"/>
              <a:gd name="T38" fmla="*/ 2147483647 w 697"/>
              <a:gd name="T39" fmla="*/ 2147483647 h 500"/>
              <a:gd name="T40" fmla="*/ 2147483647 w 697"/>
              <a:gd name="T41" fmla="*/ 2147483647 h 500"/>
              <a:gd name="T42" fmla="*/ 2147483647 w 697"/>
              <a:gd name="T43" fmla="*/ 2147483647 h 500"/>
              <a:gd name="T44" fmla="*/ 2147483647 w 697"/>
              <a:gd name="T45" fmla="*/ 2147483647 h 500"/>
              <a:gd name="T46" fmla="*/ 2147483647 w 697"/>
              <a:gd name="T47" fmla="*/ 2147483647 h 500"/>
              <a:gd name="T48" fmla="*/ 2147483647 w 697"/>
              <a:gd name="T49" fmla="*/ 2147483647 h 500"/>
              <a:gd name="T50" fmla="*/ 2147483647 w 697"/>
              <a:gd name="T51" fmla="*/ 2147483647 h 500"/>
              <a:gd name="T52" fmla="*/ 2147483647 w 697"/>
              <a:gd name="T53" fmla="*/ 2147483647 h 500"/>
              <a:gd name="T54" fmla="*/ 2147483647 w 697"/>
              <a:gd name="T55" fmla="*/ 2147483647 h 500"/>
              <a:gd name="T56" fmla="*/ 2147483647 w 697"/>
              <a:gd name="T57" fmla="*/ 2147483647 h 500"/>
              <a:gd name="T58" fmla="*/ 2147483647 w 697"/>
              <a:gd name="T59" fmla="*/ 2147483647 h 500"/>
              <a:gd name="T60" fmla="*/ 2147483647 w 697"/>
              <a:gd name="T61" fmla="*/ 2147483647 h 500"/>
              <a:gd name="T62" fmla="*/ 2147483647 w 697"/>
              <a:gd name="T63" fmla="*/ 2147483647 h 500"/>
              <a:gd name="T64" fmla="*/ 2147483647 w 697"/>
              <a:gd name="T65" fmla="*/ 2147483647 h 500"/>
              <a:gd name="T66" fmla="*/ 2147483647 w 697"/>
              <a:gd name="T67" fmla="*/ 2147483647 h 500"/>
              <a:gd name="T68" fmla="*/ 2147483647 w 697"/>
              <a:gd name="T69" fmla="*/ 2147483647 h 500"/>
              <a:gd name="T70" fmla="*/ 2147483647 w 697"/>
              <a:gd name="T71" fmla="*/ 2147483647 h 500"/>
              <a:gd name="T72" fmla="*/ 2147483647 w 697"/>
              <a:gd name="T73" fmla="*/ 2147483647 h 500"/>
              <a:gd name="T74" fmla="*/ 2147483647 w 697"/>
              <a:gd name="T75" fmla="*/ 2147483647 h 500"/>
              <a:gd name="T76" fmla="*/ 2147483647 w 697"/>
              <a:gd name="T77" fmla="*/ 2147483647 h 500"/>
              <a:gd name="T78" fmla="*/ 2147483647 w 697"/>
              <a:gd name="T79" fmla="*/ 2147483647 h 500"/>
              <a:gd name="T80" fmla="*/ 2147483647 w 697"/>
              <a:gd name="T81" fmla="*/ 2147483647 h 500"/>
              <a:gd name="T82" fmla="*/ 2147483647 w 697"/>
              <a:gd name="T83" fmla="*/ 2147483647 h 500"/>
              <a:gd name="T84" fmla="*/ 2147483647 w 697"/>
              <a:gd name="T85" fmla="*/ 2147483647 h 500"/>
              <a:gd name="T86" fmla="*/ 2147483647 w 697"/>
              <a:gd name="T87" fmla="*/ 2147483647 h 500"/>
              <a:gd name="T88" fmla="*/ 2147483647 w 697"/>
              <a:gd name="T89" fmla="*/ 2147483647 h 500"/>
              <a:gd name="T90" fmla="*/ 2147483647 w 697"/>
              <a:gd name="T91" fmla="*/ 2147483647 h 500"/>
              <a:gd name="T92" fmla="*/ 2147483647 w 697"/>
              <a:gd name="T93" fmla="*/ 2147483647 h 500"/>
              <a:gd name="T94" fmla="*/ 2147483647 w 697"/>
              <a:gd name="T95" fmla="*/ 2147483647 h 500"/>
              <a:gd name="T96" fmla="*/ 2147483647 w 697"/>
              <a:gd name="T97" fmla="*/ 2147483647 h 500"/>
              <a:gd name="T98" fmla="*/ 2147483647 w 697"/>
              <a:gd name="T99" fmla="*/ 2147483647 h 500"/>
              <a:gd name="T100" fmla="*/ 2147483647 w 697"/>
              <a:gd name="T101" fmla="*/ 2147483647 h 500"/>
              <a:gd name="T102" fmla="*/ 2147483647 w 697"/>
              <a:gd name="T103" fmla="*/ 2147483647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7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560753" y="2426915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28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071928" y="2411040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29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214803" y="2393578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30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251315" y="2401515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562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GB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Based on current levels of coverage we think that 3 countries may be eligible for pre-elimination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44940" y="5589240"/>
            <a:ext cx="132889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Botswana</a:t>
            </a:r>
          </a:p>
          <a:p>
            <a:r>
              <a:rPr lang="en-GB" dirty="0" smtClean="0"/>
              <a:t>South Africa</a:t>
            </a:r>
          </a:p>
          <a:p>
            <a:r>
              <a:rPr lang="en-GB" dirty="0" smtClean="0"/>
              <a:t>Rwa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3893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468560" y="2132855"/>
            <a:ext cx="9036478" cy="4464497"/>
            <a:chOff x="-143998" y="1700807"/>
            <a:chExt cx="9036478" cy="4464497"/>
          </a:xfrm>
        </p:grpSpPr>
        <p:sp>
          <p:nvSpPr>
            <p:cNvPr id="4" name="Right Arrow 3"/>
            <p:cNvSpPr>
              <a:spLocks/>
            </p:cNvSpPr>
            <p:nvPr/>
          </p:nvSpPr>
          <p:spPr>
            <a:xfrm>
              <a:off x="-143998" y="3165830"/>
              <a:ext cx="7704856" cy="1123950"/>
            </a:xfrm>
            <a:prstGeom prst="rightArrow">
              <a:avLst>
                <a:gd name="adj1" fmla="val 50000"/>
                <a:gd name="adj2" fmla="val 22034"/>
              </a:avLst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tint val="66000"/>
                    <a:satMod val="160000"/>
                  </a:schemeClr>
                </a:gs>
                <a:gs pos="69000">
                  <a:srgbClr val="DAE8FD"/>
                </a:gs>
                <a:gs pos="34000">
                  <a:schemeClr val="tx2">
                    <a:lumMod val="40000"/>
                    <a:lumOff val="60000"/>
                    <a:tint val="44500"/>
                    <a:satMod val="160000"/>
                  </a:schemeClr>
                </a:gs>
                <a:gs pos="100000">
                  <a:schemeClr val="tx2">
                    <a:lumMod val="40000"/>
                    <a:lumOff val="60000"/>
                    <a:tint val="23500"/>
                    <a:satMod val="160000"/>
                  </a:schemeClr>
                </a:gs>
              </a:gsLst>
              <a:lin ang="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6" name="Text Box 3"/>
            <p:cNvSpPr txBox="1">
              <a:spLocks/>
            </p:cNvSpPr>
            <p:nvPr/>
          </p:nvSpPr>
          <p:spPr>
            <a:xfrm>
              <a:off x="5759367" y="3575405"/>
              <a:ext cx="1143305" cy="276225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GB" sz="1400" b="1" dirty="0">
                  <a:ea typeface="SimSun"/>
                  <a:cs typeface="Arial"/>
                </a:rPr>
                <a:t>E</a:t>
              </a:r>
              <a:r>
                <a:rPr lang="en-GB" sz="1400" b="1" dirty="0" smtClean="0">
                  <a:ea typeface="SimSun"/>
                  <a:cs typeface="Arial"/>
                </a:rPr>
                <a:t>limination</a:t>
              </a:r>
              <a:endParaRPr lang="en-GB" sz="1100" dirty="0">
                <a:effectLst/>
                <a:ea typeface="SimSun"/>
                <a:cs typeface="Arial"/>
              </a:endParaRPr>
            </a:p>
          </p:txBody>
        </p:sp>
        <p:sp>
          <p:nvSpPr>
            <p:cNvPr id="7" name="Text Box 4"/>
            <p:cNvSpPr txBox="1">
              <a:spLocks/>
            </p:cNvSpPr>
            <p:nvPr/>
          </p:nvSpPr>
          <p:spPr>
            <a:xfrm>
              <a:off x="2808330" y="3575405"/>
              <a:ext cx="1504950" cy="276225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GB" sz="1400" b="1" dirty="0" smtClean="0">
                  <a:effectLst/>
                  <a:ea typeface="SimSun"/>
                  <a:cs typeface="Arial"/>
                </a:rPr>
                <a:t>Pre-Elimination</a:t>
              </a:r>
              <a:endParaRPr lang="en-GB" sz="1100" dirty="0">
                <a:effectLst/>
                <a:ea typeface="SimSun"/>
                <a:cs typeface="Arial"/>
              </a:endParaRPr>
            </a:p>
          </p:txBody>
        </p:sp>
        <p:sp>
          <p:nvSpPr>
            <p:cNvPr id="16" name="Notched Right Arrow 15"/>
            <p:cNvSpPr/>
            <p:nvPr/>
          </p:nvSpPr>
          <p:spPr>
            <a:xfrm rot="5400000">
              <a:off x="2813340" y="2651178"/>
              <a:ext cx="1148812" cy="400200"/>
            </a:xfrm>
            <a:prstGeom prst="notchedRightArrow">
              <a:avLst>
                <a:gd name="adj1" fmla="val 50000"/>
                <a:gd name="adj2" fmla="val 51275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Text Box 5"/>
            <p:cNvSpPr txBox="1"/>
            <p:nvPr/>
          </p:nvSpPr>
          <p:spPr>
            <a:xfrm>
              <a:off x="1753946" y="1700807"/>
              <a:ext cx="3286632" cy="936105"/>
            </a:xfrm>
            <a:prstGeom prst="rect">
              <a:avLst/>
            </a:prstGeom>
            <a:solidFill>
              <a:schemeClr val="lt1"/>
            </a:solidFill>
            <a:ln w="6350">
              <a:solidFill>
                <a:prstClr val="black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GB" sz="1400" dirty="0" smtClean="0">
                  <a:effectLst/>
                  <a:ea typeface="SimSun"/>
                  <a:cs typeface="Arial"/>
                </a:rPr>
                <a:t>Coverage </a:t>
              </a:r>
              <a:r>
                <a:rPr lang="en-US" sz="1400" dirty="0"/>
                <a:t>≥</a:t>
              </a:r>
              <a:r>
                <a:rPr lang="en-GB" sz="1400" dirty="0" smtClean="0">
                  <a:ea typeface="SimSun"/>
                  <a:cs typeface="Arial"/>
                </a:rPr>
                <a:t>90% for testing </a:t>
              </a:r>
              <a:r>
                <a:rPr lang="en-GB" sz="1400" dirty="0">
                  <a:ea typeface="SimSun"/>
                  <a:cs typeface="Arial"/>
                </a:rPr>
                <a:t> </a:t>
              </a:r>
              <a:r>
                <a:rPr lang="en-GB" sz="1400" dirty="0" smtClean="0">
                  <a:ea typeface="SimSun"/>
                  <a:cs typeface="Arial"/>
                </a:rPr>
                <a:t>and treatment. HIV 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MTCT rate &lt;5% or &lt;2% if formula fed. </a:t>
              </a:r>
            </a:p>
            <a:p>
              <a:pPr>
                <a:spcAft>
                  <a:spcPts val="0"/>
                </a:spcAft>
              </a:pPr>
              <a:r>
                <a:rPr lang="en-GB" sz="1400" b="1" dirty="0" smtClean="0">
                  <a:ea typeface="SimSun"/>
                  <a:cs typeface="Arial"/>
                </a:rPr>
                <a:t>NO CASE RATE REQUIREMENT for HIV </a:t>
              </a:r>
              <a:r>
                <a:rPr lang="en-GB" sz="1400" b="1" dirty="0" smtClean="0">
                  <a:solidFill>
                    <a:srgbClr val="FF0000"/>
                  </a:solidFill>
                  <a:ea typeface="SimSun"/>
                  <a:cs typeface="Arial"/>
                </a:rPr>
                <a:t>plus a country plan </a:t>
              </a:r>
              <a:endParaRPr lang="en-GB" sz="1400" b="1" dirty="0">
                <a:solidFill>
                  <a:srgbClr val="FF0000"/>
                </a:solidFill>
                <a:effectLst/>
                <a:ea typeface="SimSun"/>
                <a:cs typeface="Arial"/>
              </a:endParaRPr>
            </a:p>
            <a:p>
              <a:pPr>
                <a:spcAft>
                  <a:spcPts val="0"/>
                </a:spcAft>
              </a:pPr>
              <a:r>
                <a:rPr lang="en-GB" sz="1400" dirty="0">
                  <a:effectLst/>
                  <a:ea typeface="SimSun"/>
                  <a:cs typeface="Arial"/>
                </a:rPr>
                <a:t> </a:t>
              </a:r>
            </a:p>
          </p:txBody>
        </p:sp>
        <p:sp>
          <p:nvSpPr>
            <p:cNvPr id="18" name="Notched Right Arrow 17"/>
            <p:cNvSpPr/>
            <p:nvPr/>
          </p:nvSpPr>
          <p:spPr>
            <a:xfrm rot="5400000">
              <a:off x="6049221" y="2937551"/>
              <a:ext cx="576064" cy="400200"/>
            </a:xfrm>
            <a:prstGeom prst="notchedRightArrow">
              <a:avLst>
                <a:gd name="adj1" fmla="val 50000"/>
                <a:gd name="adj2" fmla="val 51275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Text Box 5"/>
            <p:cNvSpPr txBox="1"/>
            <p:nvPr/>
          </p:nvSpPr>
          <p:spPr>
            <a:xfrm>
              <a:off x="5832666" y="1988840"/>
              <a:ext cx="2997509" cy="1008112"/>
            </a:xfrm>
            <a:prstGeom prst="rect">
              <a:avLst/>
            </a:prstGeom>
            <a:solidFill>
              <a:schemeClr val="lt1"/>
            </a:solidFill>
            <a:ln w="6350">
              <a:solidFill>
                <a:prstClr val="black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GB" sz="1400" dirty="0">
                  <a:ea typeface="SimSun"/>
                  <a:cs typeface="Arial"/>
                </a:rPr>
                <a:t>C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overage </a:t>
              </a:r>
              <a:r>
                <a:rPr lang="en-GB" sz="1400" dirty="0" smtClean="0">
                  <a:ea typeface="SimSun"/>
                  <a:cs typeface="Arial"/>
                </a:rPr>
                <a:t>&gt;95% for testing and &gt;90% for treatment. HIV 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MTCT rate &lt;5% or  &lt;2% </a:t>
              </a:r>
              <a:r>
                <a:rPr lang="en-GB" sz="1400" dirty="0" smtClean="0">
                  <a:ea typeface="SimSun"/>
                  <a:cs typeface="Arial"/>
                </a:rPr>
                <a:t>if formula fed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. </a:t>
              </a:r>
              <a:r>
                <a:rPr lang="en-GB" sz="1400" dirty="0" smtClean="0">
                  <a:ea typeface="SimSun"/>
                  <a:cs typeface="Arial"/>
                </a:rPr>
                <a:t>HIV/Syphilis case rate &lt;50/100,000 live </a:t>
              </a:r>
              <a:r>
                <a:rPr lang="en-GB" sz="1400" dirty="0" err="1" smtClean="0">
                  <a:ea typeface="SimSun"/>
                  <a:cs typeface="Arial"/>
                </a:rPr>
                <a:t>birht</a:t>
              </a:r>
              <a:r>
                <a:rPr lang="en-GB" sz="1400" dirty="0" smtClean="0">
                  <a:ea typeface="SimSun"/>
                  <a:cs typeface="Arial"/>
                </a:rPr>
                <a:t> </a:t>
              </a:r>
              <a:endParaRPr lang="en-GB" sz="1400" dirty="0" smtClean="0">
                <a:effectLst/>
                <a:ea typeface="SimSun"/>
                <a:cs typeface="Arial"/>
              </a:endParaRPr>
            </a:p>
            <a:p>
              <a:pPr>
                <a:spcAft>
                  <a:spcPts val="0"/>
                </a:spcAft>
              </a:pPr>
              <a:endParaRPr lang="en-GB" sz="1400" dirty="0">
                <a:effectLst/>
                <a:ea typeface="SimSun"/>
                <a:cs typeface="Arial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722631" y="4329529"/>
              <a:ext cx="1363984" cy="461665"/>
            </a:xfrm>
            <a:prstGeom prst="rect">
              <a:avLst/>
            </a:prstGeom>
            <a:solidFill>
              <a:srgbClr val="99FF66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/>
                <a:t>Assessment of </a:t>
              </a:r>
              <a:r>
                <a:rPr lang="en-GB" sz="1200" b="1" dirty="0"/>
                <a:t>pre-elimination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706267" y="4329529"/>
              <a:ext cx="1152129" cy="461665"/>
            </a:xfrm>
            <a:prstGeom prst="rect">
              <a:avLst/>
            </a:prstGeom>
            <a:solidFill>
              <a:srgbClr val="99FF66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/>
                <a:t>Pre-validation of elimination</a:t>
              </a:r>
              <a:endParaRPr lang="en-GB" sz="1200" b="1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722631" y="5031075"/>
              <a:ext cx="1363984" cy="461665"/>
            </a:xfrm>
            <a:prstGeom prst="rect">
              <a:avLst/>
            </a:prstGeom>
            <a:solidFill>
              <a:srgbClr val="33CC33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/>
                <a:t>Certification of </a:t>
              </a:r>
              <a:r>
                <a:rPr lang="en-GB" sz="1200" b="1" dirty="0"/>
                <a:t>pre-elimination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706267" y="5031075"/>
              <a:ext cx="1152129" cy="461665"/>
            </a:xfrm>
            <a:prstGeom prst="rect">
              <a:avLst/>
            </a:prstGeom>
            <a:solidFill>
              <a:srgbClr val="33CC33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/>
                <a:t>V</a:t>
              </a:r>
              <a:r>
                <a:rPr lang="en-GB" sz="1200" b="1" dirty="0" smtClean="0"/>
                <a:t>alidation of elimination</a:t>
              </a:r>
              <a:endParaRPr lang="en-GB" sz="1200" b="1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706268" y="5701002"/>
              <a:ext cx="1152129" cy="461665"/>
            </a:xfrm>
            <a:prstGeom prst="rect">
              <a:avLst/>
            </a:prstGeom>
            <a:solidFill>
              <a:srgbClr val="008000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</a:rPr>
                <a:t>Maintenance of elimination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32066" y="4330427"/>
              <a:ext cx="195243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200" b="1" dirty="0" smtClean="0"/>
                <a:t>Does country meet criteria for pre-elimination?</a:t>
              </a:r>
              <a:endParaRPr lang="en-GB" sz="1200" b="1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7164288" y="4332751"/>
              <a:ext cx="15841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 smtClean="0"/>
                <a:t>Does country meet elimination criteria?</a:t>
              </a:r>
              <a:endParaRPr lang="en-GB" sz="1200" b="1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28313" y="5031664"/>
              <a:ext cx="16561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200" b="1" dirty="0" smtClean="0"/>
                <a:t>Can a pre-elimination certificate be issued?</a:t>
              </a:r>
              <a:endParaRPr lang="en-GB" sz="1200" b="1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164288" y="5033988"/>
              <a:ext cx="172819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 smtClean="0"/>
                <a:t>Can a MTCT Eliminated certificate be issued?</a:t>
              </a:r>
              <a:endParaRPr lang="en-GB" sz="1200" b="1" dirty="0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187195" y="5703639"/>
              <a:ext cx="150264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 smtClean="0"/>
                <a:t>Is elimination status maintained?</a:t>
              </a:r>
              <a:endParaRPr lang="en-GB" sz="1200" b="1" dirty="0"/>
            </a:p>
          </p:txBody>
        </p:sp>
        <p:cxnSp>
          <p:nvCxnSpPr>
            <p:cNvPr id="36" name="Elbow Connector 35"/>
            <p:cNvCxnSpPr>
              <a:stCxn id="24" idx="3"/>
              <a:endCxn id="30" idx="1"/>
            </p:cNvCxnSpPr>
            <p:nvPr/>
          </p:nvCxnSpPr>
          <p:spPr>
            <a:xfrm>
              <a:off x="6858396" y="4560362"/>
              <a:ext cx="305892" cy="3222"/>
            </a:xfrm>
            <a:prstGeom prst="bent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Elbow Connector 37"/>
            <p:cNvCxnSpPr>
              <a:stCxn id="26" idx="3"/>
              <a:endCxn id="32" idx="1"/>
            </p:cNvCxnSpPr>
            <p:nvPr/>
          </p:nvCxnSpPr>
          <p:spPr>
            <a:xfrm>
              <a:off x="6858396" y="5261908"/>
              <a:ext cx="305892" cy="2913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Elbow Connector 40"/>
            <p:cNvCxnSpPr>
              <a:stCxn id="28" idx="3"/>
              <a:endCxn id="34" idx="1"/>
            </p:cNvCxnSpPr>
            <p:nvPr/>
          </p:nvCxnSpPr>
          <p:spPr>
            <a:xfrm>
              <a:off x="6858397" y="5931835"/>
              <a:ext cx="328798" cy="2637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Elbow Connector 44"/>
            <p:cNvCxnSpPr>
              <a:stCxn id="23" idx="1"/>
              <a:endCxn id="29" idx="3"/>
            </p:cNvCxnSpPr>
            <p:nvPr/>
          </p:nvCxnSpPr>
          <p:spPr>
            <a:xfrm rot="10800000" flipV="1">
              <a:off x="2384497" y="4560362"/>
              <a:ext cx="338134" cy="898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Elbow Connector 47"/>
            <p:cNvCxnSpPr>
              <a:stCxn id="25" idx="1"/>
              <a:endCxn id="31" idx="3"/>
            </p:cNvCxnSpPr>
            <p:nvPr/>
          </p:nvCxnSpPr>
          <p:spPr>
            <a:xfrm rot="10800000" flipV="1">
              <a:off x="2384497" y="5261907"/>
              <a:ext cx="338134" cy="589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Down Arrow 53"/>
            <p:cNvSpPr/>
            <p:nvPr/>
          </p:nvSpPr>
          <p:spPr>
            <a:xfrm>
              <a:off x="3312386" y="4801609"/>
              <a:ext cx="20010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56" name="Down Arrow 55"/>
            <p:cNvSpPr/>
            <p:nvPr/>
          </p:nvSpPr>
          <p:spPr>
            <a:xfrm>
              <a:off x="6172100" y="4809819"/>
              <a:ext cx="20010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57" name="Down Arrow 56"/>
            <p:cNvSpPr/>
            <p:nvPr/>
          </p:nvSpPr>
          <p:spPr>
            <a:xfrm>
              <a:off x="6169232" y="5500423"/>
              <a:ext cx="20010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cxnSp>
          <p:nvCxnSpPr>
            <p:cNvPr id="58" name="Elbow Connector 57"/>
            <p:cNvCxnSpPr>
              <a:stCxn id="25" idx="3"/>
              <a:endCxn id="24" idx="1"/>
            </p:cNvCxnSpPr>
            <p:nvPr/>
          </p:nvCxnSpPr>
          <p:spPr>
            <a:xfrm flipV="1">
              <a:off x="4086615" y="4560362"/>
              <a:ext cx="1619652" cy="701546"/>
            </a:xfrm>
            <a:prstGeom prst="bentConnector3">
              <a:avLst>
                <a:gd name="adj1" fmla="val 50000"/>
              </a:avLst>
            </a:prstGeom>
            <a:ln w="381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Down Arrow 39"/>
            <p:cNvSpPr/>
            <p:nvPr/>
          </p:nvSpPr>
          <p:spPr>
            <a:xfrm>
              <a:off x="3302381" y="4029572"/>
              <a:ext cx="22011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42" name="Down Arrow 41"/>
            <p:cNvSpPr/>
            <p:nvPr/>
          </p:nvSpPr>
          <p:spPr>
            <a:xfrm>
              <a:off x="6169232" y="4005064"/>
              <a:ext cx="22011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</p:grpSp>
      <p:sp>
        <p:nvSpPr>
          <p:cNvPr id="46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Pre-elimination is on a spectrum with elimination but in some cases it may take YEARS to get to elimination… </a:t>
            </a:r>
            <a:endParaRPr lang="en-GB" sz="3000" cap="none" dirty="0">
              <a:solidFill>
                <a:srgbClr val="285E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07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468560" y="2132855"/>
            <a:ext cx="9036478" cy="4464497"/>
            <a:chOff x="-143998" y="1700807"/>
            <a:chExt cx="9036478" cy="4464497"/>
          </a:xfrm>
        </p:grpSpPr>
        <p:sp>
          <p:nvSpPr>
            <p:cNvPr id="4" name="Right Arrow 3"/>
            <p:cNvSpPr>
              <a:spLocks/>
            </p:cNvSpPr>
            <p:nvPr/>
          </p:nvSpPr>
          <p:spPr>
            <a:xfrm>
              <a:off x="-143998" y="3165830"/>
              <a:ext cx="7704856" cy="1123950"/>
            </a:xfrm>
            <a:prstGeom prst="rightArrow">
              <a:avLst>
                <a:gd name="adj1" fmla="val 50000"/>
                <a:gd name="adj2" fmla="val 22034"/>
              </a:avLst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6" name="Text Box 3"/>
            <p:cNvSpPr txBox="1">
              <a:spLocks/>
            </p:cNvSpPr>
            <p:nvPr/>
          </p:nvSpPr>
          <p:spPr>
            <a:xfrm>
              <a:off x="5759367" y="3575405"/>
              <a:ext cx="1143305" cy="276225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GB" sz="1400" b="1" dirty="0">
                  <a:ea typeface="SimSun"/>
                  <a:cs typeface="Arial"/>
                </a:rPr>
                <a:t>E</a:t>
              </a:r>
              <a:r>
                <a:rPr lang="en-GB" sz="1400" b="1" dirty="0" smtClean="0">
                  <a:ea typeface="SimSun"/>
                  <a:cs typeface="Arial"/>
                </a:rPr>
                <a:t>limination</a:t>
              </a:r>
              <a:endParaRPr lang="en-GB" sz="1100" dirty="0">
                <a:effectLst/>
                <a:ea typeface="SimSun"/>
                <a:cs typeface="Arial"/>
              </a:endParaRPr>
            </a:p>
          </p:txBody>
        </p:sp>
        <p:sp>
          <p:nvSpPr>
            <p:cNvPr id="7" name="Text Box 4"/>
            <p:cNvSpPr txBox="1">
              <a:spLocks/>
            </p:cNvSpPr>
            <p:nvPr/>
          </p:nvSpPr>
          <p:spPr>
            <a:xfrm>
              <a:off x="2808330" y="3575405"/>
              <a:ext cx="1504950" cy="276225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GB" sz="1400" b="1" dirty="0" smtClean="0">
                  <a:effectLst/>
                  <a:ea typeface="SimSun"/>
                  <a:cs typeface="Arial"/>
                </a:rPr>
                <a:t>Pre-Elimination</a:t>
              </a:r>
              <a:endParaRPr lang="en-GB" sz="1100" dirty="0">
                <a:effectLst/>
                <a:ea typeface="SimSun"/>
                <a:cs typeface="Arial"/>
              </a:endParaRPr>
            </a:p>
          </p:txBody>
        </p:sp>
        <p:sp>
          <p:nvSpPr>
            <p:cNvPr id="16" name="Notched Right Arrow 15"/>
            <p:cNvSpPr/>
            <p:nvPr/>
          </p:nvSpPr>
          <p:spPr>
            <a:xfrm rot="5400000">
              <a:off x="2813340" y="2651178"/>
              <a:ext cx="1148812" cy="400200"/>
            </a:xfrm>
            <a:prstGeom prst="notchedRightArrow">
              <a:avLst>
                <a:gd name="adj1" fmla="val 50000"/>
                <a:gd name="adj2" fmla="val 51275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Text Box 5"/>
            <p:cNvSpPr txBox="1"/>
            <p:nvPr/>
          </p:nvSpPr>
          <p:spPr>
            <a:xfrm>
              <a:off x="1753946" y="1700807"/>
              <a:ext cx="3286632" cy="936105"/>
            </a:xfrm>
            <a:prstGeom prst="rect">
              <a:avLst/>
            </a:prstGeom>
            <a:solidFill>
              <a:schemeClr val="lt1"/>
            </a:solidFill>
            <a:ln w="6350">
              <a:solidFill>
                <a:prstClr val="black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GB" sz="1400" dirty="0" smtClean="0">
                  <a:effectLst/>
                  <a:ea typeface="SimSun"/>
                  <a:cs typeface="Arial"/>
                </a:rPr>
                <a:t>Coverage </a:t>
              </a:r>
              <a:r>
                <a:rPr lang="en-US" sz="1400" dirty="0"/>
                <a:t>≥</a:t>
              </a:r>
              <a:r>
                <a:rPr lang="en-GB" sz="1400" dirty="0" smtClean="0">
                  <a:ea typeface="SimSun"/>
                  <a:cs typeface="Arial"/>
                </a:rPr>
                <a:t>90% for testing </a:t>
              </a:r>
              <a:r>
                <a:rPr lang="en-GB" sz="1400" dirty="0">
                  <a:ea typeface="SimSun"/>
                  <a:cs typeface="Arial"/>
                </a:rPr>
                <a:t> </a:t>
              </a:r>
              <a:r>
                <a:rPr lang="en-GB" sz="1400" dirty="0" smtClean="0">
                  <a:ea typeface="SimSun"/>
                  <a:cs typeface="Arial"/>
                </a:rPr>
                <a:t>and treatment. 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MTCT rate </a:t>
              </a:r>
              <a:r>
                <a:rPr lang="en-US" sz="1400" dirty="0">
                  <a:solidFill>
                    <a:schemeClr val="tx1"/>
                  </a:solidFill>
                </a:rPr>
                <a:t>≤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5% or </a:t>
              </a:r>
              <a:r>
                <a:rPr lang="en-US" sz="1400" dirty="0" smtClean="0">
                  <a:solidFill>
                    <a:schemeClr val="tx1"/>
                  </a:solidFill>
                </a:rPr>
                <a:t>≤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2% </a:t>
              </a:r>
              <a:r>
                <a:rPr lang="en-GB" sz="1400" dirty="0" smtClean="0">
                  <a:ea typeface="SimSun"/>
                  <a:cs typeface="Arial"/>
                </a:rPr>
                <a:t>for 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HIV. </a:t>
              </a:r>
            </a:p>
            <a:p>
              <a:pPr>
                <a:spcAft>
                  <a:spcPts val="0"/>
                </a:spcAft>
              </a:pPr>
              <a:r>
                <a:rPr lang="en-GB" sz="1400" b="1" dirty="0" smtClean="0">
                  <a:ea typeface="SimSun"/>
                  <a:cs typeface="Arial"/>
                </a:rPr>
                <a:t>NO CASE RATE REQUIREMENT for either HIV or </a:t>
              </a:r>
              <a:r>
                <a:rPr lang="en-GB" sz="1400" b="1" dirty="0" err="1" smtClean="0">
                  <a:ea typeface="SimSun"/>
                  <a:cs typeface="Arial"/>
                </a:rPr>
                <a:t>syph</a:t>
              </a:r>
              <a:r>
                <a:rPr lang="en-GB" sz="1400" b="1" dirty="0" smtClean="0">
                  <a:ea typeface="SimSun"/>
                  <a:cs typeface="Arial"/>
                </a:rPr>
                <a:t> </a:t>
              </a:r>
              <a:r>
                <a:rPr lang="en-GB" sz="1400" b="1" dirty="0" smtClean="0">
                  <a:solidFill>
                    <a:srgbClr val="FF0000"/>
                  </a:solidFill>
                  <a:ea typeface="SimSun"/>
                  <a:cs typeface="Arial"/>
                </a:rPr>
                <a:t>plus a country plan </a:t>
              </a:r>
              <a:endParaRPr lang="en-GB" sz="1400" b="1" dirty="0">
                <a:solidFill>
                  <a:srgbClr val="FF0000"/>
                </a:solidFill>
                <a:effectLst/>
                <a:ea typeface="SimSun"/>
                <a:cs typeface="Arial"/>
              </a:endParaRPr>
            </a:p>
            <a:p>
              <a:pPr>
                <a:spcAft>
                  <a:spcPts val="0"/>
                </a:spcAft>
              </a:pPr>
              <a:r>
                <a:rPr lang="en-GB" sz="1400" dirty="0">
                  <a:effectLst/>
                  <a:ea typeface="SimSun"/>
                  <a:cs typeface="Arial"/>
                </a:rPr>
                <a:t> </a:t>
              </a:r>
            </a:p>
          </p:txBody>
        </p:sp>
        <p:sp>
          <p:nvSpPr>
            <p:cNvPr id="18" name="Notched Right Arrow 17"/>
            <p:cNvSpPr/>
            <p:nvPr/>
          </p:nvSpPr>
          <p:spPr>
            <a:xfrm rot="5400000">
              <a:off x="6049221" y="2937551"/>
              <a:ext cx="576064" cy="400200"/>
            </a:xfrm>
            <a:prstGeom prst="notchedRightArrow">
              <a:avLst>
                <a:gd name="adj1" fmla="val 50000"/>
                <a:gd name="adj2" fmla="val 51275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Text Box 5"/>
            <p:cNvSpPr txBox="1"/>
            <p:nvPr/>
          </p:nvSpPr>
          <p:spPr>
            <a:xfrm>
              <a:off x="5832666" y="1988840"/>
              <a:ext cx="2997509" cy="1008112"/>
            </a:xfrm>
            <a:prstGeom prst="rect">
              <a:avLst/>
            </a:prstGeom>
            <a:solidFill>
              <a:schemeClr val="lt1"/>
            </a:solidFill>
            <a:ln w="6350">
              <a:solidFill>
                <a:prstClr val="black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en-GB" sz="1400" dirty="0">
                  <a:ea typeface="SimSun"/>
                  <a:cs typeface="Arial"/>
                </a:rPr>
                <a:t>C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overage </a:t>
              </a:r>
              <a:r>
                <a:rPr lang="en-GB" sz="1400" dirty="0" smtClean="0">
                  <a:ea typeface="SimSun"/>
                  <a:cs typeface="Arial"/>
                </a:rPr>
                <a:t>&gt;95% for testing and &gt;90% for treatment. </a:t>
              </a:r>
              <a:r>
                <a:rPr lang="en-GB" sz="1400" dirty="0" smtClean="0">
                  <a:effectLst/>
                  <a:ea typeface="SimSun"/>
                  <a:cs typeface="Arial"/>
                </a:rPr>
                <a:t>MTCT rate &lt;5% HIV, &lt;2% syphilis. </a:t>
              </a:r>
              <a:r>
                <a:rPr lang="en-GB" sz="1400" dirty="0" smtClean="0">
                  <a:ea typeface="SimSun"/>
                  <a:cs typeface="Arial"/>
                </a:rPr>
                <a:t>HIV/Syphilis case rate &lt;50/100,000</a:t>
              </a:r>
              <a:endParaRPr lang="en-GB" sz="1400" dirty="0" smtClean="0">
                <a:effectLst/>
                <a:ea typeface="SimSun"/>
                <a:cs typeface="Arial"/>
              </a:endParaRPr>
            </a:p>
            <a:p>
              <a:pPr>
                <a:spcAft>
                  <a:spcPts val="0"/>
                </a:spcAft>
              </a:pPr>
              <a:endParaRPr lang="en-GB" sz="1400" dirty="0">
                <a:effectLst/>
                <a:ea typeface="SimSun"/>
                <a:cs typeface="Arial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722631" y="4329529"/>
              <a:ext cx="1363984" cy="461665"/>
            </a:xfrm>
            <a:prstGeom prst="rect">
              <a:avLst/>
            </a:prstGeom>
            <a:solidFill>
              <a:srgbClr val="99FF66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/>
                <a:t>Assessment of </a:t>
              </a:r>
              <a:r>
                <a:rPr lang="en-GB" sz="1200" b="1" dirty="0"/>
                <a:t>pre-elimination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706267" y="4329529"/>
              <a:ext cx="1152129" cy="461665"/>
            </a:xfrm>
            <a:prstGeom prst="rect">
              <a:avLst/>
            </a:prstGeom>
            <a:solidFill>
              <a:srgbClr val="99FF66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/>
                <a:t>Pre-validation of elimination</a:t>
              </a:r>
              <a:endParaRPr lang="en-GB" sz="1200" b="1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722631" y="5031075"/>
              <a:ext cx="1363984" cy="461665"/>
            </a:xfrm>
            <a:prstGeom prst="rect">
              <a:avLst/>
            </a:prstGeom>
            <a:solidFill>
              <a:srgbClr val="33CC33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/>
                <a:t>Certification of </a:t>
              </a:r>
              <a:r>
                <a:rPr lang="en-GB" sz="1200" b="1" dirty="0"/>
                <a:t>pre-elimination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706267" y="5031075"/>
              <a:ext cx="1152129" cy="461665"/>
            </a:xfrm>
            <a:prstGeom prst="rect">
              <a:avLst/>
            </a:prstGeom>
            <a:solidFill>
              <a:srgbClr val="33CC33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/>
                <a:t>V</a:t>
              </a:r>
              <a:r>
                <a:rPr lang="en-GB" sz="1200" b="1" dirty="0" smtClean="0"/>
                <a:t>alidation of elimination</a:t>
              </a:r>
              <a:endParaRPr lang="en-GB" sz="1200" b="1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706268" y="5701002"/>
              <a:ext cx="1152129" cy="461665"/>
            </a:xfrm>
            <a:prstGeom prst="rect">
              <a:avLst/>
            </a:prstGeom>
            <a:solidFill>
              <a:srgbClr val="008000"/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</a:rPr>
                <a:t>Maintenance of elimination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32066" y="4330427"/>
              <a:ext cx="195243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200" b="1" dirty="0" smtClean="0"/>
                <a:t>Does country meet criteria for pre-elimination?</a:t>
              </a:r>
              <a:endParaRPr lang="en-GB" sz="1200" b="1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7164288" y="4332751"/>
              <a:ext cx="158417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 smtClean="0"/>
                <a:t>Does country meet elimination criteria?</a:t>
              </a:r>
              <a:endParaRPr lang="en-GB" sz="1200" b="1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28313" y="5031664"/>
              <a:ext cx="16561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200" b="1" dirty="0" smtClean="0"/>
                <a:t>Can a pre-elimination certificate be issued?</a:t>
              </a:r>
              <a:endParaRPr lang="en-GB" sz="1200" b="1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164288" y="5033988"/>
              <a:ext cx="172819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 smtClean="0"/>
                <a:t>Can a MTCT Eliminated certificate be issued?</a:t>
              </a:r>
              <a:endParaRPr lang="en-GB" sz="1200" b="1" dirty="0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187195" y="5703639"/>
              <a:ext cx="150264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 smtClean="0"/>
                <a:t>Is elimination status maintained?</a:t>
              </a:r>
              <a:endParaRPr lang="en-GB" sz="1200" b="1" dirty="0"/>
            </a:p>
          </p:txBody>
        </p:sp>
        <p:cxnSp>
          <p:nvCxnSpPr>
            <p:cNvPr id="36" name="Elbow Connector 35"/>
            <p:cNvCxnSpPr>
              <a:stCxn id="24" idx="3"/>
              <a:endCxn id="30" idx="1"/>
            </p:cNvCxnSpPr>
            <p:nvPr/>
          </p:nvCxnSpPr>
          <p:spPr>
            <a:xfrm>
              <a:off x="6858396" y="4560362"/>
              <a:ext cx="305892" cy="3222"/>
            </a:xfrm>
            <a:prstGeom prst="bent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Elbow Connector 37"/>
            <p:cNvCxnSpPr>
              <a:stCxn id="26" idx="3"/>
              <a:endCxn id="32" idx="1"/>
            </p:cNvCxnSpPr>
            <p:nvPr/>
          </p:nvCxnSpPr>
          <p:spPr>
            <a:xfrm>
              <a:off x="6858396" y="5261908"/>
              <a:ext cx="305892" cy="2913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Elbow Connector 40"/>
            <p:cNvCxnSpPr>
              <a:stCxn id="28" idx="3"/>
              <a:endCxn id="34" idx="1"/>
            </p:cNvCxnSpPr>
            <p:nvPr/>
          </p:nvCxnSpPr>
          <p:spPr>
            <a:xfrm>
              <a:off x="6858397" y="5931835"/>
              <a:ext cx="328798" cy="2637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Elbow Connector 44"/>
            <p:cNvCxnSpPr>
              <a:stCxn id="23" idx="1"/>
              <a:endCxn id="29" idx="3"/>
            </p:cNvCxnSpPr>
            <p:nvPr/>
          </p:nvCxnSpPr>
          <p:spPr>
            <a:xfrm rot="10800000" flipV="1">
              <a:off x="2384497" y="4560362"/>
              <a:ext cx="338134" cy="898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Elbow Connector 47"/>
            <p:cNvCxnSpPr>
              <a:stCxn id="25" idx="1"/>
              <a:endCxn id="31" idx="3"/>
            </p:cNvCxnSpPr>
            <p:nvPr/>
          </p:nvCxnSpPr>
          <p:spPr>
            <a:xfrm rot="10800000" flipV="1">
              <a:off x="2384497" y="5261907"/>
              <a:ext cx="338134" cy="589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Down Arrow 53"/>
            <p:cNvSpPr/>
            <p:nvPr/>
          </p:nvSpPr>
          <p:spPr>
            <a:xfrm>
              <a:off x="3312386" y="4801609"/>
              <a:ext cx="20010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56" name="Down Arrow 55"/>
            <p:cNvSpPr/>
            <p:nvPr/>
          </p:nvSpPr>
          <p:spPr>
            <a:xfrm>
              <a:off x="6172100" y="4809819"/>
              <a:ext cx="20010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57" name="Down Arrow 56"/>
            <p:cNvSpPr/>
            <p:nvPr/>
          </p:nvSpPr>
          <p:spPr>
            <a:xfrm>
              <a:off x="6169232" y="5500423"/>
              <a:ext cx="20010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cxnSp>
          <p:nvCxnSpPr>
            <p:cNvPr id="58" name="Elbow Connector 57"/>
            <p:cNvCxnSpPr>
              <a:stCxn id="25" idx="3"/>
              <a:endCxn id="24" idx="1"/>
            </p:cNvCxnSpPr>
            <p:nvPr/>
          </p:nvCxnSpPr>
          <p:spPr>
            <a:xfrm flipV="1">
              <a:off x="4086615" y="4560362"/>
              <a:ext cx="1619652" cy="701546"/>
            </a:xfrm>
            <a:prstGeom prst="bentConnector3">
              <a:avLst>
                <a:gd name="adj1" fmla="val 50000"/>
              </a:avLst>
            </a:prstGeom>
            <a:ln w="38100"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Down Arrow 39"/>
            <p:cNvSpPr/>
            <p:nvPr/>
          </p:nvSpPr>
          <p:spPr>
            <a:xfrm>
              <a:off x="3302381" y="4029572"/>
              <a:ext cx="22011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42" name="Down Arrow 41"/>
            <p:cNvSpPr/>
            <p:nvPr/>
          </p:nvSpPr>
          <p:spPr>
            <a:xfrm>
              <a:off x="6169232" y="4005064"/>
              <a:ext cx="220110" cy="194540"/>
            </a:xfrm>
            <a:prstGeom prst="downArrow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</p:grpSp>
      <p:sp>
        <p:nvSpPr>
          <p:cNvPr id="46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Pre-elimination is on a spectrum with elimination but in some cases it may take YEARS to get to elimination… 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118108" y="3645024"/>
            <a:ext cx="1231354" cy="11239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4205960" y="3871974"/>
            <a:ext cx="144016" cy="5760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/>
          <p:cNvSpPr/>
          <p:nvPr/>
        </p:nvSpPr>
        <p:spPr>
          <a:xfrm>
            <a:off x="4421984" y="3871974"/>
            <a:ext cx="144016" cy="5760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/>
          <p:cNvSpPr/>
          <p:nvPr/>
        </p:nvSpPr>
        <p:spPr>
          <a:xfrm>
            <a:off x="4655260" y="3871974"/>
            <a:ext cx="144016" cy="5760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/>
          <p:cNvSpPr/>
          <p:nvPr/>
        </p:nvSpPr>
        <p:spPr>
          <a:xfrm>
            <a:off x="4888536" y="3871974"/>
            <a:ext cx="144016" cy="5760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Rectangle 42"/>
          <p:cNvSpPr/>
          <p:nvPr/>
        </p:nvSpPr>
        <p:spPr>
          <a:xfrm>
            <a:off x="5119186" y="3871974"/>
            <a:ext cx="144016" cy="5760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ounded Rectangle 4"/>
          <p:cNvSpPr/>
          <p:nvPr/>
        </p:nvSpPr>
        <p:spPr>
          <a:xfrm>
            <a:off x="4118108" y="4623199"/>
            <a:ext cx="87852" cy="13980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ounded Rectangle 43"/>
          <p:cNvSpPr/>
          <p:nvPr/>
        </p:nvSpPr>
        <p:spPr>
          <a:xfrm>
            <a:off x="4340132" y="4653136"/>
            <a:ext cx="87852" cy="13980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ounded Rectangle 46"/>
          <p:cNvSpPr/>
          <p:nvPr/>
        </p:nvSpPr>
        <p:spPr>
          <a:xfrm>
            <a:off x="4572000" y="4581128"/>
            <a:ext cx="87852" cy="13980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Rounded Rectangle 48"/>
          <p:cNvSpPr/>
          <p:nvPr/>
        </p:nvSpPr>
        <p:spPr>
          <a:xfrm>
            <a:off x="4803868" y="4551191"/>
            <a:ext cx="87852" cy="13980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Rounded Rectangle 49"/>
          <p:cNvSpPr/>
          <p:nvPr/>
        </p:nvSpPr>
        <p:spPr>
          <a:xfrm>
            <a:off x="5035736" y="4521254"/>
            <a:ext cx="87852" cy="13980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784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3" name="Picture 3" descr="DSC01470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8560" y="-171400"/>
            <a:ext cx="9612560" cy="714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564" name="Rectangle 1"/>
          <p:cNvSpPr>
            <a:spLocks noChangeArrowheads="1"/>
          </p:cNvSpPr>
          <p:nvPr/>
        </p:nvSpPr>
        <p:spPr bwMode="auto">
          <a:xfrm>
            <a:off x="6300788" y="692150"/>
            <a:ext cx="2447925" cy="388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GB"/>
          </a:p>
        </p:txBody>
      </p:sp>
      <p:sp>
        <p:nvSpPr>
          <p:cNvPr id="66565" name="Rectangle 3"/>
          <p:cNvSpPr txBox="1">
            <a:spLocks noChangeArrowheads="1"/>
          </p:cNvSpPr>
          <p:nvPr/>
        </p:nvSpPr>
        <p:spPr bwMode="auto">
          <a:xfrm>
            <a:off x="2123728" y="373856"/>
            <a:ext cx="4464496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endParaRPr lang="en-GB" sz="2800" dirty="0"/>
          </a:p>
          <a:p>
            <a:pPr eaLnBrk="1" hangingPunct="1">
              <a:spcBef>
                <a:spcPct val="20000"/>
              </a:spcBef>
            </a:pPr>
            <a:r>
              <a:rPr lang="en-GB" sz="2800" dirty="0"/>
              <a:t>Acknowledgements</a:t>
            </a:r>
          </a:p>
          <a:p>
            <a:pPr eaLnBrk="1" hangingPunct="1">
              <a:spcBef>
                <a:spcPct val="20000"/>
              </a:spcBef>
            </a:pPr>
            <a:r>
              <a:rPr lang="en-GB" sz="2800" b="0" dirty="0" smtClean="0"/>
              <a:t>Mary </a:t>
            </a:r>
            <a:r>
              <a:rPr lang="en-GB" sz="2800" b="0" dirty="0" err="1" smtClean="0"/>
              <a:t>Mahy</a:t>
            </a:r>
            <a:endParaRPr lang="en-GB" sz="2800" b="0" dirty="0" smtClean="0"/>
          </a:p>
          <a:p>
            <a:pPr eaLnBrk="1" hangingPunct="1">
              <a:spcBef>
                <a:spcPct val="20000"/>
              </a:spcBef>
            </a:pPr>
            <a:r>
              <a:rPr lang="en-GB" sz="2800" b="0" dirty="0" smtClean="0"/>
              <a:t>Maura Laverty</a:t>
            </a:r>
          </a:p>
          <a:p>
            <a:pPr eaLnBrk="1" hangingPunct="1">
              <a:spcBef>
                <a:spcPct val="20000"/>
              </a:spcBef>
            </a:pPr>
            <a:r>
              <a:rPr lang="en-GB" sz="2800" b="0" dirty="0" smtClean="0"/>
              <a:t>Chika Hayashi</a:t>
            </a:r>
          </a:p>
          <a:p>
            <a:pPr eaLnBrk="1" hangingPunct="1">
              <a:spcBef>
                <a:spcPct val="20000"/>
              </a:spcBef>
            </a:pPr>
            <a:r>
              <a:rPr lang="en-GB" sz="2800" b="0" dirty="0" err="1" smtClean="0"/>
              <a:t>Karusa</a:t>
            </a:r>
            <a:r>
              <a:rPr lang="en-GB" sz="2800" b="0" dirty="0" smtClean="0"/>
              <a:t> </a:t>
            </a:r>
            <a:r>
              <a:rPr lang="en-GB" sz="2800" b="0" dirty="0" err="1" smtClean="0"/>
              <a:t>Kiragu</a:t>
            </a:r>
            <a:endParaRPr lang="en-GB" sz="2800" b="0" dirty="0" smtClean="0"/>
          </a:p>
          <a:p>
            <a:pPr eaLnBrk="1" hangingPunct="1">
              <a:spcBef>
                <a:spcPct val="20000"/>
              </a:spcBef>
            </a:pPr>
            <a:r>
              <a:rPr lang="en-GB" sz="2800" b="0" dirty="0" smtClean="0"/>
              <a:t>Lynne Mofenson</a:t>
            </a:r>
            <a:endParaRPr lang="en-GB" sz="2800" b="0" dirty="0"/>
          </a:p>
          <a:p>
            <a:pPr eaLnBrk="1" hangingPunct="1">
              <a:spcBef>
                <a:spcPct val="20000"/>
              </a:spcBef>
            </a:pPr>
            <a:endParaRPr lang="en-GB" sz="2400" b="0" dirty="0"/>
          </a:p>
          <a:p>
            <a:pPr eaLnBrk="1" hangingPunct="1">
              <a:spcBef>
                <a:spcPct val="20000"/>
              </a:spcBef>
            </a:pPr>
            <a:endParaRPr lang="en-GB" sz="2800" b="0" dirty="0"/>
          </a:p>
          <a:p>
            <a:pPr eaLnBrk="1" hangingPunct="1">
              <a:spcBef>
                <a:spcPct val="20000"/>
              </a:spcBef>
            </a:pPr>
            <a:endParaRPr lang="en-GB" sz="2800" b="0" dirty="0"/>
          </a:p>
          <a:p>
            <a:pPr eaLnBrk="1" hangingPunct="1">
              <a:spcBef>
                <a:spcPct val="20000"/>
              </a:spcBef>
            </a:pPr>
            <a:endParaRPr lang="en-GB" sz="2800" dirty="0"/>
          </a:p>
          <a:p>
            <a:pPr eaLnBrk="1" hangingPunct="1">
              <a:spcBef>
                <a:spcPct val="20000"/>
              </a:spcBef>
            </a:pPr>
            <a:endParaRPr lang="en-GB" sz="2800" dirty="0"/>
          </a:p>
          <a:p>
            <a:pPr eaLnBrk="1" hangingPunct="1">
              <a:spcBef>
                <a:spcPct val="20000"/>
              </a:spcBef>
            </a:pPr>
            <a:endParaRPr lang="en-GB" sz="2800" dirty="0"/>
          </a:p>
          <a:p>
            <a:pPr eaLnBrk="1" hangingPunct="1">
              <a:spcBef>
                <a:spcPct val="20000"/>
              </a:spcBef>
            </a:pPr>
            <a:endParaRPr lang="en-GB" sz="2800" dirty="0"/>
          </a:p>
          <a:p>
            <a:pPr eaLnBrk="1" hangingPunct="1">
              <a:spcBef>
                <a:spcPct val="20000"/>
              </a:spcBef>
            </a:pPr>
            <a:endParaRPr lang="en-GB" sz="2800" dirty="0"/>
          </a:p>
          <a:p>
            <a:pPr eaLnBrk="1" hangingPunct="1">
              <a:spcBef>
                <a:spcPct val="20000"/>
              </a:spcBef>
            </a:pPr>
            <a:endParaRPr lang="en-GB" sz="2800" dirty="0"/>
          </a:p>
          <a:p>
            <a:pPr eaLnBrk="1" hangingPunct="1">
              <a:spcBef>
                <a:spcPct val="20000"/>
              </a:spcBef>
            </a:pPr>
            <a:endParaRPr lang="en-GB" sz="2800" dirty="0"/>
          </a:p>
          <a:p>
            <a:pPr algn="ctr" eaLnBrk="1" hangingPunct="1">
              <a:spcBef>
                <a:spcPct val="20000"/>
              </a:spcBef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577032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65665"/>
              </p:ext>
            </p:extLst>
          </p:nvPr>
        </p:nvGraphicFramePr>
        <p:xfrm>
          <a:off x="1590118" y="1988840"/>
          <a:ext cx="5934210" cy="34563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9129"/>
                <a:gridCol w="2419156"/>
                <a:gridCol w="2515925"/>
              </a:tblGrid>
              <a:tr h="234376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GB" sz="12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/>
                        </a:rPr>
                        <a:t>ELIMINATION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72066">
                <a:tc vMerge="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n-GB" sz="11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effectLst/>
                        </a:rPr>
                        <a:t>HIV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11760" indent="-90170"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Syphilis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3634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IMPACT</a:t>
                      </a:r>
                      <a:endParaRPr lang="en-GB" sz="1800" b="1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effectLst/>
                        </a:rPr>
                        <a:t>criteria</a:t>
                      </a:r>
                      <a:endParaRPr lang="en-GB" sz="1800" b="1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rtl="0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dirty="0">
                          <a:effectLst/>
                        </a:rPr>
                        <a:t>MTCT </a:t>
                      </a:r>
                      <a:r>
                        <a:rPr lang="en-US" sz="1700" dirty="0" smtClean="0">
                          <a:effectLst/>
                        </a:rPr>
                        <a:t>&lt; 2% 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OR </a:t>
                      </a:r>
                      <a:r>
                        <a:rPr lang="en-US" sz="1700" dirty="0">
                          <a:effectLst/>
                        </a:rPr>
                        <a:t>&lt; </a:t>
                      </a:r>
                      <a:r>
                        <a:rPr lang="en-US" sz="1700" dirty="0" smtClean="0">
                          <a:effectLst/>
                        </a:rPr>
                        <a:t>5%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in BF populations</a:t>
                      </a:r>
                      <a:endParaRPr lang="en-GB" sz="1700" dirty="0">
                        <a:effectLst/>
                      </a:endParaRPr>
                    </a:p>
                    <a:p>
                      <a:pPr marL="176213" lvl="0" indent="-176213" algn="l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b="0" dirty="0" smtClean="0">
                          <a:solidFill>
                            <a:schemeClr val="tx1"/>
                          </a:solidFill>
                          <a:effectLst/>
                        </a:rPr>
                        <a:t>Case rate  ≤ 50 per 100,000 live births</a:t>
                      </a:r>
                      <a:endParaRPr lang="en-GB" sz="1700" b="0" dirty="0">
                        <a:solidFill>
                          <a:schemeClr val="tx1"/>
                        </a:solidFill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e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≤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per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,000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ve births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1760" indent="-90170"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61998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effectLst/>
                        </a:rPr>
                        <a:t>PROCESS criteria</a:t>
                      </a:r>
                      <a:endParaRPr lang="en-GB" b="1" dirty="0"/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coverage ≥ 95%</a:t>
                      </a:r>
                      <a:endParaRPr lang="en-GB" sz="1700" dirty="0" smtClean="0">
                        <a:effectLst/>
                        <a:latin typeface="+mn-lt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 coverage 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≥ 95% 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 coverage ≥95%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coverage ≥ 95%</a:t>
                      </a:r>
                      <a:endParaRPr lang="en-GB" sz="1700" dirty="0" smtClean="0">
                        <a:effectLst/>
                        <a:latin typeface="+mn-lt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  <a:r>
                        <a:rPr lang="en-US" sz="17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age ≥ 95%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eatment coverage &gt;95% 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GB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In order to achieve this certification, Cuba had to meet a number of impact and process criteria</a:t>
            </a:r>
            <a:endParaRPr lang="en-GB" sz="3000" cap="none" dirty="0">
              <a:solidFill>
                <a:srgbClr val="285E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792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687503" y="6357565"/>
            <a:ext cx="33337" cy="57150"/>
          </a:xfrm>
          <a:custGeom>
            <a:avLst/>
            <a:gdLst>
              <a:gd name="T0" fmla="*/ 0 w 73"/>
              <a:gd name="T1" fmla="*/ 0 h 20"/>
              <a:gd name="T2" fmla="*/ 2147483647 w 73"/>
              <a:gd name="T3" fmla="*/ 2147483647 h 20"/>
              <a:gd name="T4" fmla="*/ 2147483647 w 73"/>
              <a:gd name="T5" fmla="*/ 2147483647 h 20"/>
              <a:gd name="T6" fmla="*/ 2147483647 w 73"/>
              <a:gd name="T7" fmla="*/ 2147483647 h 20"/>
              <a:gd name="T8" fmla="*/ 2147483647 w 73"/>
              <a:gd name="T9" fmla="*/ 2147483647 h 20"/>
              <a:gd name="T10" fmla="*/ 2147483647 w 73"/>
              <a:gd name="T11" fmla="*/ 2147483647 h 20"/>
              <a:gd name="T12" fmla="*/ 2147483647 w 73"/>
              <a:gd name="T13" fmla="*/ 2147483647 h 20"/>
              <a:gd name="T14" fmla="*/ 2147483647 w 73"/>
              <a:gd name="T15" fmla="*/ 2147483647 h 20"/>
              <a:gd name="T16" fmla="*/ 2147483647 w 73"/>
              <a:gd name="T17" fmla="*/ 2147483647 h 20"/>
              <a:gd name="T18" fmla="*/ 2147483647 w 73"/>
              <a:gd name="T19" fmla="*/ 2147483647 h 20"/>
              <a:gd name="T20" fmla="*/ 2147483647 w 73"/>
              <a:gd name="T21" fmla="*/ 2147483647 h 20"/>
              <a:gd name="T22" fmla="*/ 2147483647 w 73"/>
              <a:gd name="T23" fmla="*/ 2147483647 h 20"/>
              <a:gd name="T24" fmla="*/ 2147483647 w 73"/>
              <a:gd name="T25" fmla="*/ 2147483647 h 20"/>
              <a:gd name="T26" fmla="*/ 2147483647 w 73"/>
              <a:gd name="T27" fmla="*/ 2147483647 h 20"/>
              <a:gd name="T28" fmla="*/ 2147483647 w 73"/>
              <a:gd name="T29" fmla="*/ 2147483647 h 20"/>
              <a:gd name="T30" fmla="*/ 2147483647 w 73"/>
              <a:gd name="T31" fmla="*/ 2147483647 h 20"/>
              <a:gd name="T32" fmla="*/ 214748364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1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46003" y="2458665"/>
            <a:ext cx="784225" cy="446088"/>
          </a:xfrm>
          <a:custGeom>
            <a:avLst/>
            <a:gdLst>
              <a:gd name="T0" fmla="*/ 2147483647 w 1808"/>
              <a:gd name="T1" fmla="*/ 2147483647 h 850"/>
              <a:gd name="T2" fmla="*/ 2147483647 w 1808"/>
              <a:gd name="T3" fmla="*/ 2147483647 h 850"/>
              <a:gd name="T4" fmla="*/ 2147483647 w 1808"/>
              <a:gd name="T5" fmla="*/ 2147483647 h 850"/>
              <a:gd name="T6" fmla="*/ 2147483647 w 1808"/>
              <a:gd name="T7" fmla="*/ 2147483647 h 850"/>
              <a:gd name="T8" fmla="*/ 2147483647 w 1808"/>
              <a:gd name="T9" fmla="*/ 2147483647 h 850"/>
              <a:gd name="T10" fmla="*/ 2147483647 w 1808"/>
              <a:gd name="T11" fmla="*/ 2147483647 h 850"/>
              <a:gd name="T12" fmla="*/ 2147483647 w 1808"/>
              <a:gd name="T13" fmla="*/ 2147483647 h 850"/>
              <a:gd name="T14" fmla="*/ 2147483647 w 1808"/>
              <a:gd name="T15" fmla="*/ 2147483647 h 850"/>
              <a:gd name="T16" fmla="*/ 2147483647 w 1808"/>
              <a:gd name="T17" fmla="*/ 2147483647 h 850"/>
              <a:gd name="T18" fmla="*/ 2147483647 w 1808"/>
              <a:gd name="T19" fmla="*/ 2147483647 h 850"/>
              <a:gd name="T20" fmla="*/ 2147483647 w 1808"/>
              <a:gd name="T21" fmla="*/ 2147483647 h 850"/>
              <a:gd name="T22" fmla="*/ 2147483647 w 1808"/>
              <a:gd name="T23" fmla="*/ 2147483647 h 850"/>
              <a:gd name="T24" fmla="*/ 2147483647 w 1808"/>
              <a:gd name="T25" fmla="*/ 2147483647 h 850"/>
              <a:gd name="T26" fmla="*/ 2147483647 w 1808"/>
              <a:gd name="T27" fmla="*/ 2147483647 h 850"/>
              <a:gd name="T28" fmla="*/ 2147483647 w 1808"/>
              <a:gd name="T29" fmla="*/ 2147483647 h 850"/>
              <a:gd name="T30" fmla="*/ 2147483647 w 1808"/>
              <a:gd name="T31" fmla="*/ 2147483647 h 850"/>
              <a:gd name="T32" fmla="*/ 2147483647 w 1808"/>
              <a:gd name="T33" fmla="*/ 2147483647 h 850"/>
              <a:gd name="T34" fmla="*/ 2147483647 w 1808"/>
              <a:gd name="T35" fmla="*/ 2147483647 h 850"/>
              <a:gd name="T36" fmla="*/ 2147483647 w 1808"/>
              <a:gd name="T37" fmla="*/ 2147483647 h 850"/>
              <a:gd name="T38" fmla="*/ 2147483647 w 1808"/>
              <a:gd name="T39" fmla="*/ 2147483647 h 850"/>
              <a:gd name="T40" fmla="*/ 2147483647 w 1808"/>
              <a:gd name="T41" fmla="*/ 2147483647 h 850"/>
              <a:gd name="T42" fmla="*/ 2147483647 w 1808"/>
              <a:gd name="T43" fmla="*/ 2147483647 h 850"/>
              <a:gd name="T44" fmla="*/ 2147483647 w 1808"/>
              <a:gd name="T45" fmla="*/ 2147483647 h 850"/>
              <a:gd name="T46" fmla="*/ 2147483647 w 1808"/>
              <a:gd name="T47" fmla="*/ 2147483647 h 850"/>
              <a:gd name="T48" fmla="*/ 2147483647 w 1808"/>
              <a:gd name="T49" fmla="*/ 2147483647 h 850"/>
              <a:gd name="T50" fmla="*/ 2147483647 w 1808"/>
              <a:gd name="T51" fmla="*/ 2147483647 h 850"/>
              <a:gd name="T52" fmla="*/ 2147483647 w 1808"/>
              <a:gd name="T53" fmla="*/ 2147483647 h 850"/>
              <a:gd name="T54" fmla="*/ 2147483647 w 1808"/>
              <a:gd name="T55" fmla="*/ 2147483647 h 850"/>
              <a:gd name="T56" fmla="*/ 2147483647 w 1808"/>
              <a:gd name="T57" fmla="*/ 2147483647 h 850"/>
              <a:gd name="T58" fmla="*/ 2147483647 w 1808"/>
              <a:gd name="T59" fmla="*/ 2147483647 h 850"/>
              <a:gd name="T60" fmla="*/ 2147483647 w 1808"/>
              <a:gd name="T61" fmla="*/ 2147483647 h 850"/>
              <a:gd name="T62" fmla="*/ 2147483647 w 1808"/>
              <a:gd name="T63" fmla="*/ 2147483647 h 850"/>
              <a:gd name="T64" fmla="*/ 2147483647 w 1808"/>
              <a:gd name="T65" fmla="*/ 2147483647 h 850"/>
              <a:gd name="T66" fmla="*/ 2147483647 w 1808"/>
              <a:gd name="T67" fmla="*/ 2147483647 h 850"/>
              <a:gd name="T68" fmla="*/ 2147483647 w 1808"/>
              <a:gd name="T69" fmla="*/ 2147483647 h 850"/>
              <a:gd name="T70" fmla="*/ 2147483647 w 1808"/>
              <a:gd name="T71" fmla="*/ 2147483647 h 850"/>
              <a:gd name="T72" fmla="*/ 2147483647 w 1808"/>
              <a:gd name="T73" fmla="*/ 2147483647 h 850"/>
              <a:gd name="T74" fmla="*/ 2147483647 w 1808"/>
              <a:gd name="T75" fmla="*/ 2147483647 h 850"/>
              <a:gd name="T76" fmla="*/ 2147483647 w 1808"/>
              <a:gd name="T77" fmla="*/ 2147483647 h 850"/>
              <a:gd name="T78" fmla="*/ 2147483647 w 1808"/>
              <a:gd name="T79" fmla="*/ 2147483647 h 850"/>
              <a:gd name="T80" fmla="*/ 2147483647 w 1808"/>
              <a:gd name="T81" fmla="*/ 2147483647 h 850"/>
              <a:gd name="T82" fmla="*/ 2147483647 w 1808"/>
              <a:gd name="T83" fmla="*/ 2147483647 h 850"/>
              <a:gd name="T84" fmla="*/ 2147483647 w 1808"/>
              <a:gd name="T85" fmla="*/ 2147483647 h 850"/>
              <a:gd name="T86" fmla="*/ 2147483647 w 1808"/>
              <a:gd name="T87" fmla="*/ 2147483647 h 850"/>
              <a:gd name="T88" fmla="*/ 2147483647 w 1808"/>
              <a:gd name="T89" fmla="*/ 2147483647 h 850"/>
              <a:gd name="T90" fmla="*/ 2147483647 w 1808"/>
              <a:gd name="T91" fmla="*/ 2147483647 h 850"/>
              <a:gd name="T92" fmla="*/ 2147483647 w 1808"/>
              <a:gd name="T93" fmla="*/ 2147483647 h 850"/>
              <a:gd name="T94" fmla="*/ 2147483647 w 1808"/>
              <a:gd name="T95" fmla="*/ 2147483647 h 850"/>
              <a:gd name="T96" fmla="*/ 2147483647 w 1808"/>
              <a:gd name="T97" fmla="*/ 2147483647 h 850"/>
              <a:gd name="T98" fmla="*/ 2147483647 w 1808"/>
              <a:gd name="T99" fmla="*/ 2147483647 h 850"/>
              <a:gd name="T100" fmla="*/ 2147483647 w 1808"/>
              <a:gd name="T101" fmla="*/ 2147483647 h 850"/>
              <a:gd name="T102" fmla="*/ 2147483647 w 1808"/>
              <a:gd name="T103" fmla="*/ 2147483647 h 850"/>
              <a:gd name="T104" fmla="*/ 2147483647 w 1808"/>
              <a:gd name="T105" fmla="*/ 2147483647 h 850"/>
              <a:gd name="T106" fmla="*/ 2147483647 w 1808"/>
              <a:gd name="T107" fmla="*/ 2147483647 h 850"/>
              <a:gd name="T108" fmla="*/ 2147483647 w 1808"/>
              <a:gd name="T109" fmla="*/ 2147483647 h 850"/>
              <a:gd name="T110" fmla="*/ 2147483647 w 1808"/>
              <a:gd name="T111" fmla="*/ 2147483647 h 850"/>
              <a:gd name="T112" fmla="*/ 2147483647 w 1808"/>
              <a:gd name="T113" fmla="*/ 2147483647 h 850"/>
              <a:gd name="T114" fmla="*/ 2147483647 w 1808"/>
              <a:gd name="T115" fmla="*/ 2147483647 h 850"/>
              <a:gd name="T116" fmla="*/ 2147483647 w 1808"/>
              <a:gd name="T117" fmla="*/ 2147483647 h 850"/>
              <a:gd name="T118" fmla="*/ 2147483647 w 1808"/>
              <a:gd name="T119" fmla="*/ 2147483647 h 850"/>
              <a:gd name="T120" fmla="*/ 2147483647 w 1808"/>
              <a:gd name="T121" fmla="*/ 2147483647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52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306378" y="3074615"/>
            <a:ext cx="1381125" cy="769938"/>
          </a:xfrm>
          <a:custGeom>
            <a:avLst/>
            <a:gdLst>
              <a:gd name="T0" fmla="*/ 2147483647 w 3175"/>
              <a:gd name="T1" fmla="*/ 2147483647 h 1472"/>
              <a:gd name="T2" fmla="*/ 2147483647 w 3175"/>
              <a:gd name="T3" fmla="*/ 2147483647 h 1472"/>
              <a:gd name="T4" fmla="*/ 2147483647 w 3175"/>
              <a:gd name="T5" fmla="*/ 2147483647 h 1472"/>
              <a:gd name="T6" fmla="*/ 2147483647 w 3175"/>
              <a:gd name="T7" fmla="*/ 2147483647 h 1472"/>
              <a:gd name="T8" fmla="*/ 2147483647 w 3175"/>
              <a:gd name="T9" fmla="*/ 2147483647 h 1472"/>
              <a:gd name="T10" fmla="*/ 2147483647 w 3175"/>
              <a:gd name="T11" fmla="*/ 2147483647 h 1472"/>
              <a:gd name="T12" fmla="*/ 2147483647 w 3175"/>
              <a:gd name="T13" fmla="*/ 2147483647 h 1472"/>
              <a:gd name="T14" fmla="*/ 2147483647 w 3175"/>
              <a:gd name="T15" fmla="*/ 2147483647 h 1472"/>
              <a:gd name="T16" fmla="*/ 2147483647 w 3175"/>
              <a:gd name="T17" fmla="*/ 2147483647 h 1472"/>
              <a:gd name="T18" fmla="*/ 2147483647 w 3175"/>
              <a:gd name="T19" fmla="*/ 2147483647 h 1472"/>
              <a:gd name="T20" fmla="*/ 2147483647 w 3175"/>
              <a:gd name="T21" fmla="*/ 2147483647 h 1472"/>
              <a:gd name="T22" fmla="*/ 2147483647 w 3175"/>
              <a:gd name="T23" fmla="*/ 2147483647 h 1472"/>
              <a:gd name="T24" fmla="*/ 2147483647 w 3175"/>
              <a:gd name="T25" fmla="*/ 2147483647 h 1472"/>
              <a:gd name="T26" fmla="*/ 2147483647 w 3175"/>
              <a:gd name="T27" fmla="*/ 2147483647 h 1472"/>
              <a:gd name="T28" fmla="*/ 2147483647 w 3175"/>
              <a:gd name="T29" fmla="*/ 2147483647 h 1472"/>
              <a:gd name="T30" fmla="*/ 2147483647 w 3175"/>
              <a:gd name="T31" fmla="*/ 2147483647 h 1472"/>
              <a:gd name="T32" fmla="*/ 2147483647 w 3175"/>
              <a:gd name="T33" fmla="*/ 2147483647 h 1472"/>
              <a:gd name="T34" fmla="*/ 2147483647 w 3175"/>
              <a:gd name="T35" fmla="*/ 2147483647 h 1472"/>
              <a:gd name="T36" fmla="*/ 2147483647 w 3175"/>
              <a:gd name="T37" fmla="*/ 2147483647 h 1472"/>
              <a:gd name="T38" fmla="*/ 2147483647 w 3175"/>
              <a:gd name="T39" fmla="*/ 2147483647 h 1472"/>
              <a:gd name="T40" fmla="*/ 2147483647 w 3175"/>
              <a:gd name="T41" fmla="*/ 2147483647 h 1472"/>
              <a:gd name="T42" fmla="*/ 2147483647 w 3175"/>
              <a:gd name="T43" fmla="*/ 2147483647 h 1472"/>
              <a:gd name="T44" fmla="*/ 2147483647 w 3175"/>
              <a:gd name="T45" fmla="*/ 2147483647 h 1472"/>
              <a:gd name="T46" fmla="*/ 2147483647 w 3175"/>
              <a:gd name="T47" fmla="*/ 2147483647 h 1472"/>
              <a:gd name="T48" fmla="*/ 2147483647 w 3175"/>
              <a:gd name="T49" fmla="*/ 2147483647 h 1472"/>
              <a:gd name="T50" fmla="*/ 2147483647 w 3175"/>
              <a:gd name="T51" fmla="*/ 2147483647 h 1472"/>
              <a:gd name="T52" fmla="*/ 2147483647 w 3175"/>
              <a:gd name="T53" fmla="*/ 2147483647 h 1472"/>
              <a:gd name="T54" fmla="*/ 2147483647 w 3175"/>
              <a:gd name="T55" fmla="*/ 2147483647 h 1472"/>
              <a:gd name="T56" fmla="*/ 2147483647 w 3175"/>
              <a:gd name="T57" fmla="*/ 2147483647 h 1472"/>
              <a:gd name="T58" fmla="*/ 2147483647 w 3175"/>
              <a:gd name="T59" fmla="*/ 2147483647 h 1472"/>
              <a:gd name="T60" fmla="*/ 2147483647 w 3175"/>
              <a:gd name="T61" fmla="*/ 2147483647 h 1472"/>
              <a:gd name="T62" fmla="*/ 2147483647 w 3175"/>
              <a:gd name="T63" fmla="*/ 2147483647 h 1472"/>
              <a:gd name="T64" fmla="*/ 2147483647 w 3175"/>
              <a:gd name="T65" fmla="*/ 2147483647 h 1472"/>
              <a:gd name="T66" fmla="*/ 2147483647 w 3175"/>
              <a:gd name="T67" fmla="*/ 2147483647 h 1472"/>
              <a:gd name="T68" fmla="*/ 2147483647 w 3175"/>
              <a:gd name="T69" fmla="*/ 2147483647 h 1472"/>
              <a:gd name="T70" fmla="*/ 0 w 3175"/>
              <a:gd name="T71" fmla="*/ 2147483647 h 1472"/>
              <a:gd name="T72" fmla="*/ 2147483647 w 3175"/>
              <a:gd name="T73" fmla="*/ 2147483647 h 1472"/>
              <a:gd name="T74" fmla="*/ 2147483647 w 3175"/>
              <a:gd name="T75" fmla="*/ 2147483647 h 1472"/>
              <a:gd name="T76" fmla="*/ 2147483647 w 3175"/>
              <a:gd name="T77" fmla="*/ 2147483647 h 1472"/>
              <a:gd name="T78" fmla="*/ 2147483647 w 3175"/>
              <a:gd name="T79" fmla="*/ 2147483647 h 1472"/>
              <a:gd name="T80" fmla="*/ 2147483647 w 3175"/>
              <a:gd name="T81" fmla="*/ 0 h 1472"/>
              <a:gd name="T82" fmla="*/ 2147483647 w 3175"/>
              <a:gd name="T83" fmla="*/ 2147483647 h 1472"/>
              <a:gd name="T84" fmla="*/ 2147483647 w 3175"/>
              <a:gd name="T85" fmla="*/ 2147483647 h 1472"/>
              <a:gd name="T86" fmla="*/ 2147483647 w 3175"/>
              <a:gd name="T87" fmla="*/ 2147483647 h 1472"/>
              <a:gd name="T88" fmla="*/ 2147483647 w 3175"/>
              <a:gd name="T89" fmla="*/ 2147483647 h 1472"/>
              <a:gd name="T90" fmla="*/ 2147483647 w 3175"/>
              <a:gd name="T91" fmla="*/ 2147483647 h 1472"/>
              <a:gd name="T92" fmla="*/ 2147483647 w 3175"/>
              <a:gd name="T93" fmla="*/ 2147483647 h 1472"/>
              <a:gd name="T94" fmla="*/ 2147483647 w 3175"/>
              <a:gd name="T95" fmla="*/ 2147483647 h 1472"/>
              <a:gd name="T96" fmla="*/ 2147483647 w 3175"/>
              <a:gd name="T97" fmla="*/ 2147483647 h 1472"/>
              <a:gd name="T98" fmla="*/ 2147483647 w 3175"/>
              <a:gd name="T99" fmla="*/ 2147483647 h 1472"/>
              <a:gd name="T100" fmla="*/ 2147483647 w 3175"/>
              <a:gd name="T101" fmla="*/ 2147483647 h 1472"/>
              <a:gd name="T102" fmla="*/ 2147483647 w 3175"/>
              <a:gd name="T103" fmla="*/ 2147483647 h 1472"/>
              <a:gd name="T104" fmla="*/ 2147483647 w 3175"/>
              <a:gd name="T105" fmla="*/ 2147483647 h 1472"/>
              <a:gd name="T106" fmla="*/ 2147483647 w 3175"/>
              <a:gd name="T107" fmla="*/ 2147483647 h 1472"/>
              <a:gd name="T108" fmla="*/ 2147483647 w 3175"/>
              <a:gd name="T109" fmla="*/ 2147483647 h 1472"/>
              <a:gd name="T110" fmla="*/ 2147483647 w 3175"/>
              <a:gd name="T111" fmla="*/ 2147483647 h 1472"/>
              <a:gd name="T112" fmla="*/ 2147483647 w 3175"/>
              <a:gd name="T113" fmla="*/ 2147483647 h 1472"/>
              <a:gd name="T114" fmla="*/ 2147483647 w 3175"/>
              <a:gd name="T115" fmla="*/ 2147483647 h 1472"/>
              <a:gd name="T116" fmla="*/ 2147483647 w 3175"/>
              <a:gd name="T117" fmla="*/ 2147483647 h 1472"/>
              <a:gd name="T118" fmla="*/ 2147483647 w 3175"/>
              <a:gd name="T119" fmla="*/ 2147483647 h 1472"/>
              <a:gd name="T120" fmla="*/ 2147483647 w 3175"/>
              <a:gd name="T121" fmla="*/ 2147483647 h 1472"/>
              <a:gd name="T122" fmla="*/ 2147483647 w 3175"/>
              <a:gd name="T123" fmla="*/ 214748364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3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139815" y="4625603"/>
            <a:ext cx="339725" cy="590550"/>
          </a:xfrm>
          <a:custGeom>
            <a:avLst/>
            <a:gdLst>
              <a:gd name="T0" fmla="*/ 2147483647 w 784"/>
              <a:gd name="T1" fmla="*/ 2147483647 h 1128"/>
              <a:gd name="T2" fmla="*/ 2147483647 w 784"/>
              <a:gd name="T3" fmla="*/ 2147483647 h 1128"/>
              <a:gd name="T4" fmla="*/ 2147483647 w 784"/>
              <a:gd name="T5" fmla="*/ 2147483647 h 1128"/>
              <a:gd name="T6" fmla="*/ 2147483647 w 784"/>
              <a:gd name="T7" fmla="*/ 2147483647 h 1128"/>
              <a:gd name="T8" fmla="*/ 2147483647 w 784"/>
              <a:gd name="T9" fmla="*/ 2147483647 h 1128"/>
              <a:gd name="T10" fmla="*/ 2147483647 w 784"/>
              <a:gd name="T11" fmla="*/ 2147483647 h 1128"/>
              <a:gd name="T12" fmla="*/ 2147483647 w 784"/>
              <a:gd name="T13" fmla="*/ 2147483647 h 1128"/>
              <a:gd name="T14" fmla="*/ 2147483647 w 784"/>
              <a:gd name="T15" fmla="*/ 2147483647 h 1128"/>
              <a:gd name="T16" fmla="*/ 2147483647 w 784"/>
              <a:gd name="T17" fmla="*/ 2147483647 h 1128"/>
              <a:gd name="T18" fmla="*/ 2147483647 w 784"/>
              <a:gd name="T19" fmla="*/ 2147483647 h 1128"/>
              <a:gd name="T20" fmla="*/ 2147483647 w 784"/>
              <a:gd name="T21" fmla="*/ 2147483647 h 1128"/>
              <a:gd name="T22" fmla="*/ 2147483647 w 784"/>
              <a:gd name="T23" fmla="*/ 2147483647 h 1128"/>
              <a:gd name="T24" fmla="*/ 2147483647 w 784"/>
              <a:gd name="T25" fmla="*/ 2147483647 h 1128"/>
              <a:gd name="T26" fmla="*/ 2147483647 w 784"/>
              <a:gd name="T27" fmla="*/ 2147483647 h 1128"/>
              <a:gd name="T28" fmla="*/ 2147483647 w 784"/>
              <a:gd name="T29" fmla="*/ 2147483647 h 1128"/>
              <a:gd name="T30" fmla="*/ 2147483647 w 784"/>
              <a:gd name="T31" fmla="*/ 2147483647 h 1128"/>
              <a:gd name="T32" fmla="*/ 2147483647 w 784"/>
              <a:gd name="T33" fmla="*/ 2147483647 h 1128"/>
              <a:gd name="T34" fmla="*/ 2147483647 w 784"/>
              <a:gd name="T35" fmla="*/ 2147483647 h 1128"/>
              <a:gd name="T36" fmla="*/ 2147483647 w 784"/>
              <a:gd name="T37" fmla="*/ 2147483647 h 1128"/>
              <a:gd name="T38" fmla="*/ 2147483647 w 784"/>
              <a:gd name="T39" fmla="*/ 2147483647 h 1128"/>
              <a:gd name="T40" fmla="*/ 2147483647 w 784"/>
              <a:gd name="T41" fmla="*/ 2147483647 h 1128"/>
              <a:gd name="T42" fmla="*/ 2147483647 w 784"/>
              <a:gd name="T43" fmla="*/ 2147483647 h 1128"/>
              <a:gd name="T44" fmla="*/ 2147483647 w 784"/>
              <a:gd name="T45" fmla="*/ 2147483647 h 1128"/>
              <a:gd name="T46" fmla="*/ 2147483647 w 784"/>
              <a:gd name="T47" fmla="*/ 2147483647 h 1128"/>
              <a:gd name="T48" fmla="*/ 2147483647 w 784"/>
              <a:gd name="T49" fmla="*/ 2147483647 h 1128"/>
              <a:gd name="T50" fmla="*/ 2147483647 w 784"/>
              <a:gd name="T51" fmla="*/ 2147483647 h 1128"/>
              <a:gd name="T52" fmla="*/ 2147483647 w 784"/>
              <a:gd name="T53" fmla="*/ 2147483647 h 1128"/>
              <a:gd name="T54" fmla="*/ 2147483647 w 784"/>
              <a:gd name="T55" fmla="*/ 2147483647 h 1128"/>
              <a:gd name="T56" fmla="*/ 2147483647 w 784"/>
              <a:gd name="T57" fmla="*/ 2147483647 h 1128"/>
              <a:gd name="T58" fmla="*/ 2147483647 w 784"/>
              <a:gd name="T59" fmla="*/ 2147483647 h 1128"/>
              <a:gd name="T60" fmla="*/ 2147483647 w 784"/>
              <a:gd name="T61" fmla="*/ 2147483647 h 1128"/>
              <a:gd name="T62" fmla="*/ 2147483647 w 784"/>
              <a:gd name="T63" fmla="*/ 2147483647 h 1128"/>
              <a:gd name="T64" fmla="*/ 2147483647 w 784"/>
              <a:gd name="T65" fmla="*/ 2147483647 h 1128"/>
              <a:gd name="T66" fmla="*/ 2147483647 w 784"/>
              <a:gd name="T67" fmla="*/ 2147483647 h 1128"/>
              <a:gd name="T68" fmla="*/ 0 w 784"/>
              <a:gd name="T69" fmla="*/ 2147483647 h 1128"/>
              <a:gd name="T70" fmla="*/ 2147483647 w 784"/>
              <a:gd name="T71" fmla="*/ 2147483647 h 1128"/>
              <a:gd name="T72" fmla="*/ 2147483647 w 784"/>
              <a:gd name="T73" fmla="*/ 2147483647 h 1128"/>
              <a:gd name="T74" fmla="*/ 2147483647 w 784"/>
              <a:gd name="T75" fmla="*/ 2147483647 h 1128"/>
              <a:gd name="T76" fmla="*/ 2147483647 w 784"/>
              <a:gd name="T77" fmla="*/ 2147483647 h 1128"/>
              <a:gd name="T78" fmla="*/ 2147483647 w 784"/>
              <a:gd name="T79" fmla="*/ 2147483647 h 1128"/>
              <a:gd name="T80" fmla="*/ 2147483647 w 784"/>
              <a:gd name="T81" fmla="*/ 2147483647 h 1128"/>
              <a:gd name="T82" fmla="*/ 2147483647 w 784"/>
              <a:gd name="T83" fmla="*/ 2147483647 h 1128"/>
              <a:gd name="T84" fmla="*/ 2147483647 w 784"/>
              <a:gd name="T85" fmla="*/ 2147483647 h 1128"/>
              <a:gd name="T86" fmla="*/ 2147483647 w 784"/>
              <a:gd name="T87" fmla="*/ 2147483647 h 1128"/>
              <a:gd name="T88" fmla="*/ 2147483647 w 784"/>
              <a:gd name="T89" fmla="*/ 2147483647 h 1128"/>
              <a:gd name="T90" fmla="*/ 2147483647 w 784"/>
              <a:gd name="T91" fmla="*/ 2147483647 h 1128"/>
              <a:gd name="T92" fmla="*/ 2147483647 w 784"/>
              <a:gd name="T93" fmla="*/ 2147483647 h 1128"/>
              <a:gd name="T94" fmla="*/ 2147483647 w 784"/>
              <a:gd name="T95" fmla="*/ 2147483647 h 1128"/>
              <a:gd name="T96" fmla="*/ 2147483647 w 784"/>
              <a:gd name="T97" fmla="*/ 2147483647 h 1128"/>
              <a:gd name="T98" fmla="*/ 2147483647 w 784"/>
              <a:gd name="T99" fmla="*/ 2147483647 h 1128"/>
              <a:gd name="T100" fmla="*/ 2147483647 w 784"/>
              <a:gd name="T101" fmla="*/ 2147483647 h 1128"/>
              <a:gd name="T102" fmla="*/ 2147483647 w 784"/>
              <a:gd name="T103" fmla="*/ 2147483647 h 1128"/>
              <a:gd name="T104" fmla="*/ 2147483647 w 784"/>
              <a:gd name="T105" fmla="*/ 2147483647 h 1128"/>
              <a:gd name="T106" fmla="*/ 2147483647 w 784"/>
              <a:gd name="T107" fmla="*/ 2147483647 h 1128"/>
              <a:gd name="T108" fmla="*/ 2147483647 w 784"/>
              <a:gd name="T109" fmla="*/ 2147483647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4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439853" y="5189165"/>
            <a:ext cx="261937" cy="1130300"/>
          </a:xfrm>
          <a:custGeom>
            <a:avLst/>
            <a:gdLst>
              <a:gd name="T0" fmla="*/ 2147483647 w 598"/>
              <a:gd name="T1" fmla="*/ 2147483647 h 2158"/>
              <a:gd name="T2" fmla="*/ 2147483647 w 598"/>
              <a:gd name="T3" fmla="*/ 2147483647 h 2158"/>
              <a:gd name="T4" fmla="*/ 2147483647 w 598"/>
              <a:gd name="T5" fmla="*/ 2147483647 h 2158"/>
              <a:gd name="T6" fmla="*/ 2147483647 w 598"/>
              <a:gd name="T7" fmla="*/ 2147483647 h 2158"/>
              <a:gd name="T8" fmla="*/ 2147483647 w 598"/>
              <a:gd name="T9" fmla="*/ 2147483647 h 2158"/>
              <a:gd name="T10" fmla="*/ 2147483647 w 598"/>
              <a:gd name="T11" fmla="*/ 2147483647 h 2158"/>
              <a:gd name="T12" fmla="*/ 2147483647 w 598"/>
              <a:gd name="T13" fmla="*/ 2147483647 h 2158"/>
              <a:gd name="T14" fmla="*/ 2147483647 w 598"/>
              <a:gd name="T15" fmla="*/ 2147483647 h 2158"/>
              <a:gd name="T16" fmla="*/ 2147483647 w 598"/>
              <a:gd name="T17" fmla="*/ 2147483647 h 2158"/>
              <a:gd name="T18" fmla="*/ 2147483647 w 598"/>
              <a:gd name="T19" fmla="*/ 2147483647 h 2158"/>
              <a:gd name="T20" fmla="*/ 2147483647 w 598"/>
              <a:gd name="T21" fmla="*/ 2147483647 h 2158"/>
              <a:gd name="T22" fmla="*/ 2147483647 w 598"/>
              <a:gd name="T23" fmla="*/ 2147483647 h 2158"/>
              <a:gd name="T24" fmla="*/ 2147483647 w 598"/>
              <a:gd name="T25" fmla="*/ 2147483647 h 2158"/>
              <a:gd name="T26" fmla="*/ 2147483647 w 598"/>
              <a:gd name="T27" fmla="*/ 2147483647 h 2158"/>
              <a:gd name="T28" fmla="*/ 2147483647 w 598"/>
              <a:gd name="T29" fmla="*/ 2147483647 h 2158"/>
              <a:gd name="T30" fmla="*/ 2147483647 w 598"/>
              <a:gd name="T31" fmla="*/ 2147483647 h 2158"/>
              <a:gd name="T32" fmla="*/ 2147483647 w 598"/>
              <a:gd name="T33" fmla="*/ 2147483647 h 2158"/>
              <a:gd name="T34" fmla="*/ 2147483647 w 598"/>
              <a:gd name="T35" fmla="*/ 2147483647 h 2158"/>
              <a:gd name="T36" fmla="*/ 2147483647 w 598"/>
              <a:gd name="T37" fmla="*/ 2147483647 h 2158"/>
              <a:gd name="T38" fmla="*/ 2147483647 w 598"/>
              <a:gd name="T39" fmla="*/ 2147483647 h 2158"/>
              <a:gd name="T40" fmla="*/ 2147483647 w 598"/>
              <a:gd name="T41" fmla="*/ 2147483647 h 2158"/>
              <a:gd name="T42" fmla="*/ 2147483647 w 598"/>
              <a:gd name="T43" fmla="*/ 2147483647 h 2158"/>
              <a:gd name="T44" fmla="*/ 2147483647 w 598"/>
              <a:gd name="T45" fmla="*/ 2147483647 h 2158"/>
              <a:gd name="T46" fmla="*/ 2147483647 w 598"/>
              <a:gd name="T47" fmla="*/ 2147483647 h 2158"/>
              <a:gd name="T48" fmla="*/ 2147483647 w 598"/>
              <a:gd name="T49" fmla="*/ 2147483647 h 2158"/>
              <a:gd name="T50" fmla="*/ 2147483647 w 598"/>
              <a:gd name="T51" fmla="*/ 2147483647 h 2158"/>
              <a:gd name="T52" fmla="*/ 2147483647 w 598"/>
              <a:gd name="T53" fmla="*/ 2147483647 h 2158"/>
              <a:gd name="T54" fmla="*/ 2147483647 w 598"/>
              <a:gd name="T55" fmla="*/ 2147483647 h 2158"/>
              <a:gd name="T56" fmla="*/ 2147483647 w 598"/>
              <a:gd name="T57" fmla="*/ 2147483647 h 2158"/>
              <a:gd name="T58" fmla="*/ 0 w 598"/>
              <a:gd name="T59" fmla="*/ 2147483647 h 2158"/>
              <a:gd name="T60" fmla="*/ 2147483647 w 598"/>
              <a:gd name="T61" fmla="*/ 2147483647 h 2158"/>
              <a:gd name="T62" fmla="*/ 2147483647 w 598"/>
              <a:gd name="T63" fmla="*/ 2147483647 h 2158"/>
              <a:gd name="T64" fmla="*/ 2147483647 w 598"/>
              <a:gd name="T65" fmla="*/ 2147483647 h 2158"/>
              <a:gd name="T66" fmla="*/ 2147483647 w 598"/>
              <a:gd name="T67" fmla="*/ 2147483647 h 2158"/>
              <a:gd name="T68" fmla="*/ 2147483647 w 598"/>
              <a:gd name="T69" fmla="*/ 2147483647 h 2158"/>
              <a:gd name="T70" fmla="*/ 2147483647 w 598"/>
              <a:gd name="T71" fmla="*/ 2147483647 h 2158"/>
              <a:gd name="T72" fmla="*/ 2147483647 w 598"/>
              <a:gd name="T73" fmla="*/ 2147483647 h 2158"/>
              <a:gd name="T74" fmla="*/ 2147483647 w 598"/>
              <a:gd name="T75" fmla="*/ 2147483647 h 2158"/>
              <a:gd name="T76" fmla="*/ 2147483647 w 598"/>
              <a:gd name="T77" fmla="*/ 2147483647 h 2158"/>
              <a:gd name="T78" fmla="*/ 2147483647 w 598"/>
              <a:gd name="T79" fmla="*/ 2147483647 h 2158"/>
              <a:gd name="T80" fmla="*/ 2147483647 w 598"/>
              <a:gd name="T81" fmla="*/ 2147483647 h 2158"/>
              <a:gd name="T82" fmla="*/ 2147483647 w 598"/>
              <a:gd name="T83" fmla="*/ 2147483647 h 2158"/>
              <a:gd name="T84" fmla="*/ 2147483647 w 598"/>
              <a:gd name="T85" fmla="*/ 2147483647 h 2158"/>
              <a:gd name="T86" fmla="*/ 2147483647 w 598"/>
              <a:gd name="T87" fmla="*/ 2147483647 h 2158"/>
              <a:gd name="T88" fmla="*/ 2147483647 w 598"/>
              <a:gd name="T89" fmla="*/ 2147483647 h 2158"/>
              <a:gd name="T90" fmla="*/ 2147483647 w 598"/>
              <a:gd name="T91" fmla="*/ 2147483647 h 2158"/>
              <a:gd name="T92" fmla="*/ 2147483647 w 598"/>
              <a:gd name="T93" fmla="*/ 2147483647 h 2158"/>
              <a:gd name="T94" fmla="*/ 2147483647 w 598"/>
              <a:gd name="T95" fmla="*/ 2147483647 h 2158"/>
              <a:gd name="T96" fmla="*/ 2147483647 w 598"/>
              <a:gd name="T97" fmla="*/ 2147483647 h 2158"/>
              <a:gd name="T98" fmla="*/ 2147483647 w 598"/>
              <a:gd name="T99" fmla="*/ 2147483647 h 2158"/>
              <a:gd name="T100" fmla="*/ 2147483647 w 598"/>
              <a:gd name="T101" fmla="*/ 2147483647 h 2158"/>
              <a:gd name="T102" fmla="*/ 2147483647 w 598"/>
              <a:gd name="T103" fmla="*/ 2147483647 h 2158"/>
              <a:gd name="T104" fmla="*/ 2147483647 w 598"/>
              <a:gd name="T105" fmla="*/ 2147483647 h 2158"/>
              <a:gd name="T106" fmla="*/ 2147483647 w 598"/>
              <a:gd name="T107" fmla="*/ 2147483647 h 2158"/>
              <a:gd name="T108" fmla="*/ 2147483647 w 598"/>
              <a:gd name="T109" fmla="*/ 2147483647 h 2158"/>
              <a:gd name="T110" fmla="*/ 2147483647 w 598"/>
              <a:gd name="T111" fmla="*/ 2147483647 h 2158"/>
              <a:gd name="T112" fmla="*/ 2147483647 w 598"/>
              <a:gd name="T113" fmla="*/ 2147483647 h 2158"/>
              <a:gd name="T114" fmla="*/ 2147483647 w 598"/>
              <a:gd name="T115" fmla="*/ 2147483647 h 2158"/>
              <a:gd name="T116" fmla="*/ 2147483647 w 598"/>
              <a:gd name="T117" fmla="*/ 2147483647 h 2158"/>
              <a:gd name="T118" fmla="*/ 2147483647 w 598"/>
              <a:gd name="T119" fmla="*/ 2147483647 h 2158"/>
              <a:gd name="T120" fmla="*/ 2147483647 w 598"/>
              <a:gd name="T121" fmla="*/ 2147483647 h 2158"/>
              <a:gd name="T122" fmla="*/ 2147483647 w 598"/>
              <a:gd name="T123" fmla="*/ 2147483647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5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344603" y="4471615"/>
            <a:ext cx="966787" cy="1203325"/>
          </a:xfrm>
          <a:custGeom>
            <a:avLst/>
            <a:gdLst>
              <a:gd name="T0" fmla="*/ 2147483647 w 2226"/>
              <a:gd name="T1" fmla="*/ 2147483647 h 2292"/>
              <a:gd name="T2" fmla="*/ 2147483647 w 2226"/>
              <a:gd name="T3" fmla="*/ 2147483647 h 2292"/>
              <a:gd name="T4" fmla="*/ 2147483647 w 2226"/>
              <a:gd name="T5" fmla="*/ 2147483647 h 2292"/>
              <a:gd name="T6" fmla="*/ 2147483647 w 2226"/>
              <a:gd name="T7" fmla="*/ 2147483647 h 2292"/>
              <a:gd name="T8" fmla="*/ 2147483647 w 2226"/>
              <a:gd name="T9" fmla="*/ 2147483647 h 2292"/>
              <a:gd name="T10" fmla="*/ 2147483647 w 2226"/>
              <a:gd name="T11" fmla="*/ 2147483647 h 2292"/>
              <a:gd name="T12" fmla="*/ 2147483647 w 2226"/>
              <a:gd name="T13" fmla="*/ 2147483647 h 2292"/>
              <a:gd name="T14" fmla="*/ 2147483647 w 2226"/>
              <a:gd name="T15" fmla="*/ 2147483647 h 2292"/>
              <a:gd name="T16" fmla="*/ 2147483647 w 2226"/>
              <a:gd name="T17" fmla="*/ 2147483647 h 2292"/>
              <a:gd name="T18" fmla="*/ 2147483647 w 2226"/>
              <a:gd name="T19" fmla="*/ 2147483647 h 2292"/>
              <a:gd name="T20" fmla="*/ 2147483647 w 2226"/>
              <a:gd name="T21" fmla="*/ 2147483647 h 2292"/>
              <a:gd name="T22" fmla="*/ 2147483647 w 2226"/>
              <a:gd name="T23" fmla="*/ 2147483647 h 2292"/>
              <a:gd name="T24" fmla="*/ 2147483647 w 2226"/>
              <a:gd name="T25" fmla="*/ 2147483647 h 2292"/>
              <a:gd name="T26" fmla="*/ 2147483647 w 2226"/>
              <a:gd name="T27" fmla="*/ 2147483647 h 2292"/>
              <a:gd name="T28" fmla="*/ 2147483647 w 2226"/>
              <a:gd name="T29" fmla="*/ 2147483647 h 2292"/>
              <a:gd name="T30" fmla="*/ 2147483647 w 2226"/>
              <a:gd name="T31" fmla="*/ 2147483647 h 2292"/>
              <a:gd name="T32" fmla="*/ 2147483647 w 2226"/>
              <a:gd name="T33" fmla="*/ 2147483647 h 2292"/>
              <a:gd name="T34" fmla="*/ 2147483647 w 2226"/>
              <a:gd name="T35" fmla="*/ 2147483647 h 2292"/>
              <a:gd name="T36" fmla="*/ 2147483647 w 2226"/>
              <a:gd name="T37" fmla="*/ 2147483647 h 2292"/>
              <a:gd name="T38" fmla="*/ 2147483647 w 2226"/>
              <a:gd name="T39" fmla="*/ 2147483647 h 2292"/>
              <a:gd name="T40" fmla="*/ 2147483647 w 2226"/>
              <a:gd name="T41" fmla="*/ 2147483647 h 2292"/>
              <a:gd name="T42" fmla="*/ 2147483647 w 2226"/>
              <a:gd name="T43" fmla="*/ 2147483647 h 2292"/>
              <a:gd name="T44" fmla="*/ 2147483647 w 2226"/>
              <a:gd name="T45" fmla="*/ 2147483647 h 2292"/>
              <a:gd name="T46" fmla="*/ 2147483647 w 2226"/>
              <a:gd name="T47" fmla="*/ 2147483647 h 2292"/>
              <a:gd name="T48" fmla="*/ 2147483647 w 2226"/>
              <a:gd name="T49" fmla="*/ 2147483647 h 2292"/>
              <a:gd name="T50" fmla="*/ 2147483647 w 2226"/>
              <a:gd name="T51" fmla="*/ 2147483647 h 2292"/>
              <a:gd name="T52" fmla="*/ 2147483647 w 2226"/>
              <a:gd name="T53" fmla="*/ 2147483647 h 2292"/>
              <a:gd name="T54" fmla="*/ 2147483647 w 2226"/>
              <a:gd name="T55" fmla="*/ 2147483647 h 2292"/>
              <a:gd name="T56" fmla="*/ 2147483647 w 2226"/>
              <a:gd name="T57" fmla="*/ 2147483647 h 2292"/>
              <a:gd name="T58" fmla="*/ 2147483647 w 2226"/>
              <a:gd name="T59" fmla="*/ 2147483647 h 2292"/>
              <a:gd name="T60" fmla="*/ 2147483647 w 2226"/>
              <a:gd name="T61" fmla="*/ 2147483647 h 2292"/>
              <a:gd name="T62" fmla="*/ 2147483647 w 2226"/>
              <a:gd name="T63" fmla="*/ 2147483647 h 2292"/>
              <a:gd name="T64" fmla="*/ 2147483647 w 2226"/>
              <a:gd name="T65" fmla="*/ 2147483647 h 2292"/>
              <a:gd name="T66" fmla="*/ 2147483647 w 2226"/>
              <a:gd name="T67" fmla="*/ 2147483647 h 2292"/>
              <a:gd name="T68" fmla="*/ 2147483647 w 2226"/>
              <a:gd name="T69" fmla="*/ 2147483647 h 2292"/>
              <a:gd name="T70" fmla="*/ 2147483647 w 2226"/>
              <a:gd name="T71" fmla="*/ 2147483647 h 2292"/>
              <a:gd name="T72" fmla="*/ 2147483647 w 2226"/>
              <a:gd name="T73" fmla="*/ 2147483647 h 2292"/>
              <a:gd name="T74" fmla="*/ 2147483647 w 2226"/>
              <a:gd name="T75" fmla="*/ 2147483647 h 2292"/>
              <a:gd name="T76" fmla="*/ 2147483647 w 2226"/>
              <a:gd name="T77" fmla="*/ 2147483647 h 2292"/>
              <a:gd name="T78" fmla="*/ 2147483647 w 2226"/>
              <a:gd name="T79" fmla="*/ 2147483647 h 2292"/>
              <a:gd name="T80" fmla="*/ 2147483647 w 2226"/>
              <a:gd name="T81" fmla="*/ 2147483647 h 2292"/>
              <a:gd name="T82" fmla="*/ 2147483647 w 2226"/>
              <a:gd name="T83" fmla="*/ 2147483647 h 2292"/>
              <a:gd name="T84" fmla="*/ 2147483647 w 2226"/>
              <a:gd name="T85" fmla="*/ 2147483647 h 2292"/>
              <a:gd name="T86" fmla="*/ 2147483647 w 2226"/>
              <a:gd name="T87" fmla="*/ 2147483647 h 2292"/>
              <a:gd name="T88" fmla="*/ 2147483647 w 2226"/>
              <a:gd name="T89" fmla="*/ 2147483647 h 2292"/>
              <a:gd name="T90" fmla="*/ 2147483647 w 2226"/>
              <a:gd name="T91" fmla="*/ 2147483647 h 2292"/>
              <a:gd name="T92" fmla="*/ 2147483647 w 2226"/>
              <a:gd name="T93" fmla="*/ 2147483647 h 2292"/>
              <a:gd name="T94" fmla="*/ 2147483647 w 2226"/>
              <a:gd name="T95" fmla="*/ 2147483647 h 2292"/>
              <a:gd name="T96" fmla="*/ 2147483647 w 2226"/>
              <a:gd name="T97" fmla="*/ 0 h 2292"/>
              <a:gd name="T98" fmla="*/ 2147483647 w 2226"/>
              <a:gd name="T99" fmla="*/ 2147483647 h 2292"/>
              <a:gd name="T100" fmla="*/ 2147483647 w 2226"/>
              <a:gd name="T101" fmla="*/ 2147483647 h 2292"/>
              <a:gd name="T102" fmla="*/ 2147483647 w 2226"/>
              <a:gd name="T103" fmla="*/ 2147483647 h 2292"/>
              <a:gd name="T104" fmla="*/ 2147483647 w 2226"/>
              <a:gd name="T105" fmla="*/ 2147483647 h 2292"/>
              <a:gd name="T106" fmla="*/ 2147483647 w 2226"/>
              <a:gd name="T107" fmla="*/ 2147483647 h 2292"/>
              <a:gd name="T108" fmla="*/ 2147483647 w 2226"/>
              <a:gd name="T109" fmla="*/ 2147483647 h 2292"/>
              <a:gd name="T110" fmla="*/ 2147483647 w 2226"/>
              <a:gd name="T111" fmla="*/ 2147483647 h 2292"/>
              <a:gd name="T112" fmla="*/ 2147483647 w 2226"/>
              <a:gd name="T113" fmla="*/ 2147483647 h 2292"/>
              <a:gd name="T114" fmla="*/ 2147483647 w 2226"/>
              <a:gd name="T115" fmla="*/ 2147483647 h 2292"/>
              <a:gd name="T116" fmla="*/ 2147483647 w 2226"/>
              <a:gd name="T117" fmla="*/ 2147483647 h 2292"/>
              <a:gd name="T118" fmla="*/ 2147483647 w 2226"/>
              <a:gd name="T119" fmla="*/ 2147483647 h 2292"/>
              <a:gd name="T120" fmla="*/ 2147483647 w 2226"/>
              <a:gd name="T121" fmla="*/ 2147483647 h 2292"/>
              <a:gd name="T122" fmla="*/ 2147483647 w 2226"/>
              <a:gd name="T123" fmla="*/ 2147483647 h 2292"/>
              <a:gd name="T124" fmla="*/ 2147483647 w 2226"/>
              <a:gd name="T125" fmla="*/ 2147483647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6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457565" y="3417515"/>
            <a:ext cx="69850" cy="49213"/>
          </a:xfrm>
          <a:custGeom>
            <a:avLst/>
            <a:gdLst>
              <a:gd name="T0" fmla="*/ 2147483647 w 161"/>
              <a:gd name="T1" fmla="*/ 0 h 93"/>
              <a:gd name="T2" fmla="*/ 2147483647 w 161"/>
              <a:gd name="T3" fmla="*/ 2147483647 h 93"/>
              <a:gd name="T4" fmla="*/ 2147483647 w 161"/>
              <a:gd name="T5" fmla="*/ 2147483647 h 93"/>
              <a:gd name="T6" fmla="*/ 2147483647 w 161"/>
              <a:gd name="T7" fmla="*/ 2147483647 h 93"/>
              <a:gd name="T8" fmla="*/ 2147483647 w 161"/>
              <a:gd name="T9" fmla="*/ 2147483647 h 93"/>
              <a:gd name="T10" fmla="*/ 2147483647 w 161"/>
              <a:gd name="T11" fmla="*/ 2147483647 h 93"/>
              <a:gd name="T12" fmla="*/ 2147483647 w 161"/>
              <a:gd name="T13" fmla="*/ 2147483647 h 93"/>
              <a:gd name="T14" fmla="*/ 2147483647 w 161"/>
              <a:gd name="T15" fmla="*/ 0 h 93"/>
              <a:gd name="T16" fmla="*/ 2147483647 w 161"/>
              <a:gd name="T17" fmla="*/ 0 h 93"/>
              <a:gd name="T18" fmla="*/ 2147483647 w 161"/>
              <a:gd name="T19" fmla="*/ 0 h 93"/>
              <a:gd name="T20" fmla="*/ 2147483647 w 161"/>
              <a:gd name="T21" fmla="*/ 2147483647 h 93"/>
              <a:gd name="T22" fmla="*/ 2147483647 w 161"/>
              <a:gd name="T23" fmla="*/ 2147483647 h 93"/>
              <a:gd name="T24" fmla="*/ 2147483647 w 161"/>
              <a:gd name="T25" fmla="*/ 2147483647 h 93"/>
              <a:gd name="T26" fmla="*/ 2147483647 w 161"/>
              <a:gd name="T27" fmla="*/ 2147483647 h 93"/>
              <a:gd name="T28" fmla="*/ 2147483647 w 161"/>
              <a:gd name="T29" fmla="*/ 2147483647 h 93"/>
              <a:gd name="T30" fmla="*/ 2147483647 w 161"/>
              <a:gd name="T31" fmla="*/ 2147483647 h 93"/>
              <a:gd name="T32" fmla="*/ 2147483647 w 161"/>
              <a:gd name="T33" fmla="*/ 2147483647 h 93"/>
              <a:gd name="T34" fmla="*/ 2147483647 w 161"/>
              <a:gd name="T35" fmla="*/ 2147483647 h 93"/>
              <a:gd name="T36" fmla="*/ 2147483647 w 161"/>
              <a:gd name="T37" fmla="*/ 2147483647 h 93"/>
              <a:gd name="T38" fmla="*/ 2147483647 w 161"/>
              <a:gd name="T39" fmla="*/ 2147483647 h 93"/>
              <a:gd name="T40" fmla="*/ 2147483647 w 161"/>
              <a:gd name="T41" fmla="*/ 2147483647 h 93"/>
              <a:gd name="T42" fmla="*/ 2147483647 w 161"/>
              <a:gd name="T43" fmla="*/ 2147483647 h 93"/>
              <a:gd name="T44" fmla="*/ 2147483647 w 161"/>
              <a:gd name="T45" fmla="*/ 2147483647 h 93"/>
              <a:gd name="T46" fmla="*/ 2147483647 w 161"/>
              <a:gd name="T47" fmla="*/ 2147483647 h 93"/>
              <a:gd name="T48" fmla="*/ 2147483647 w 161"/>
              <a:gd name="T49" fmla="*/ 2147483647 h 93"/>
              <a:gd name="T50" fmla="*/ 2147483647 w 161"/>
              <a:gd name="T51" fmla="*/ 2147483647 h 93"/>
              <a:gd name="T52" fmla="*/ 2147483647 w 161"/>
              <a:gd name="T53" fmla="*/ 2147483647 h 93"/>
              <a:gd name="T54" fmla="*/ 2147483647 w 161"/>
              <a:gd name="T55" fmla="*/ 2147483647 h 93"/>
              <a:gd name="T56" fmla="*/ 2147483647 w 161"/>
              <a:gd name="T57" fmla="*/ 2147483647 h 93"/>
              <a:gd name="T58" fmla="*/ 2147483647 w 161"/>
              <a:gd name="T59" fmla="*/ 2147483647 h 93"/>
              <a:gd name="T60" fmla="*/ 2147483647 w 161"/>
              <a:gd name="T61" fmla="*/ 2147483647 h 93"/>
              <a:gd name="T62" fmla="*/ 2147483647 w 161"/>
              <a:gd name="T63" fmla="*/ 2147483647 h 93"/>
              <a:gd name="T64" fmla="*/ 2147483647 w 161"/>
              <a:gd name="T65" fmla="*/ 2147483647 h 93"/>
              <a:gd name="T66" fmla="*/ 2147483647 w 161"/>
              <a:gd name="T67" fmla="*/ 2147483647 h 93"/>
              <a:gd name="T68" fmla="*/ 2147483647 w 161"/>
              <a:gd name="T69" fmla="*/ 2147483647 h 93"/>
              <a:gd name="T70" fmla="*/ 2147483647 w 161"/>
              <a:gd name="T71" fmla="*/ 2147483647 h 93"/>
              <a:gd name="T72" fmla="*/ 0 w 161"/>
              <a:gd name="T73" fmla="*/ 0 h 93"/>
              <a:gd name="T74" fmla="*/ 2147483647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57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955915" y="3292103"/>
            <a:ext cx="82550" cy="160337"/>
          </a:xfrm>
          <a:custGeom>
            <a:avLst/>
            <a:gdLst>
              <a:gd name="T0" fmla="*/ 2147483647 w 192"/>
              <a:gd name="T1" fmla="*/ 2147483647 h 307"/>
              <a:gd name="T2" fmla="*/ 2147483647 w 192"/>
              <a:gd name="T3" fmla="*/ 0 h 307"/>
              <a:gd name="T4" fmla="*/ 2147483647 w 192"/>
              <a:gd name="T5" fmla="*/ 2147483647 h 307"/>
              <a:gd name="T6" fmla="*/ 2147483647 w 192"/>
              <a:gd name="T7" fmla="*/ 2147483647 h 307"/>
              <a:gd name="T8" fmla="*/ 2147483647 w 192"/>
              <a:gd name="T9" fmla="*/ 2147483647 h 307"/>
              <a:gd name="T10" fmla="*/ 2147483647 w 192"/>
              <a:gd name="T11" fmla="*/ 2147483647 h 307"/>
              <a:gd name="T12" fmla="*/ 2147483647 w 192"/>
              <a:gd name="T13" fmla="*/ 2147483647 h 307"/>
              <a:gd name="T14" fmla="*/ 2147483647 w 192"/>
              <a:gd name="T15" fmla="*/ 2147483647 h 307"/>
              <a:gd name="T16" fmla="*/ 2147483647 w 192"/>
              <a:gd name="T17" fmla="*/ 2147483647 h 307"/>
              <a:gd name="T18" fmla="*/ 2147483647 w 192"/>
              <a:gd name="T19" fmla="*/ 2147483647 h 307"/>
              <a:gd name="T20" fmla="*/ 2147483647 w 192"/>
              <a:gd name="T21" fmla="*/ 2147483647 h 307"/>
              <a:gd name="T22" fmla="*/ 2147483647 w 192"/>
              <a:gd name="T23" fmla="*/ 2147483647 h 307"/>
              <a:gd name="T24" fmla="*/ 2147483647 w 192"/>
              <a:gd name="T25" fmla="*/ 2147483647 h 307"/>
              <a:gd name="T26" fmla="*/ 2147483647 w 192"/>
              <a:gd name="T27" fmla="*/ 2147483647 h 307"/>
              <a:gd name="T28" fmla="*/ 2147483647 w 192"/>
              <a:gd name="T29" fmla="*/ 2147483647 h 307"/>
              <a:gd name="T30" fmla="*/ 2147483647 w 192"/>
              <a:gd name="T31" fmla="*/ 2147483647 h 307"/>
              <a:gd name="T32" fmla="*/ 2147483647 w 192"/>
              <a:gd name="T33" fmla="*/ 2147483647 h 307"/>
              <a:gd name="T34" fmla="*/ 2147483647 w 192"/>
              <a:gd name="T35" fmla="*/ 2147483647 h 307"/>
              <a:gd name="T36" fmla="*/ 2147483647 w 192"/>
              <a:gd name="T37" fmla="*/ 2147483647 h 307"/>
              <a:gd name="T38" fmla="*/ 2147483647 w 192"/>
              <a:gd name="T39" fmla="*/ 2147483647 h 307"/>
              <a:gd name="T40" fmla="*/ 2147483647 w 192"/>
              <a:gd name="T41" fmla="*/ 2147483647 h 307"/>
              <a:gd name="T42" fmla="*/ 2147483647 w 192"/>
              <a:gd name="T43" fmla="*/ 2147483647 h 307"/>
              <a:gd name="T44" fmla="*/ 2147483647 w 192"/>
              <a:gd name="T45" fmla="*/ 2147483647 h 307"/>
              <a:gd name="T46" fmla="*/ 0 w 192"/>
              <a:gd name="T47" fmla="*/ 2147483647 h 307"/>
              <a:gd name="T48" fmla="*/ 0 w 192"/>
              <a:gd name="T49" fmla="*/ 2147483647 h 307"/>
              <a:gd name="T50" fmla="*/ 2147483647 w 192"/>
              <a:gd name="T51" fmla="*/ 2147483647 h 307"/>
              <a:gd name="T52" fmla="*/ 2147483647 w 192"/>
              <a:gd name="T53" fmla="*/ 2147483647 h 307"/>
              <a:gd name="T54" fmla="*/ 2147483647 w 192"/>
              <a:gd name="T55" fmla="*/ 2147483647 h 307"/>
              <a:gd name="T56" fmla="*/ 2147483647 w 192"/>
              <a:gd name="T57" fmla="*/ 2147483647 h 307"/>
              <a:gd name="T58" fmla="*/ 2147483647 w 192"/>
              <a:gd name="T59" fmla="*/ 2147483647 h 307"/>
              <a:gd name="T60" fmla="*/ 2147483647 w 192"/>
              <a:gd name="T61" fmla="*/ 2147483647 h 307"/>
              <a:gd name="T62" fmla="*/ 2147483647 w 192"/>
              <a:gd name="T63" fmla="*/ 2147483647 h 307"/>
              <a:gd name="T64" fmla="*/ 2147483647 w 192"/>
              <a:gd name="T65" fmla="*/ 2147483647 h 307"/>
              <a:gd name="T66" fmla="*/ 2147483647 w 192"/>
              <a:gd name="T67" fmla="*/ 2147483647 h 307"/>
              <a:gd name="T68" fmla="*/ 2147483647 w 192"/>
              <a:gd name="T69" fmla="*/ 2147483647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58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036878" y="2777753"/>
            <a:ext cx="171450" cy="269875"/>
          </a:xfrm>
          <a:custGeom>
            <a:avLst/>
            <a:gdLst>
              <a:gd name="T0" fmla="*/ 2147483647 w 398"/>
              <a:gd name="T1" fmla="*/ 2147483647 h 518"/>
              <a:gd name="T2" fmla="*/ 2147483647 w 398"/>
              <a:gd name="T3" fmla="*/ 2147483647 h 518"/>
              <a:gd name="T4" fmla="*/ 2147483647 w 398"/>
              <a:gd name="T5" fmla="*/ 2147483647 h 518"/>
              <a:gd name="T6" fmla="*/ 2147483647 w 398"/>
              <a:gd name="T7" fmla="*/ 2147483647 h 518"/>
              <a:gd name="T8" fmla="*/ 2147483647 w 398"/>
              <a:gd name="T9" fmla="*/ 2147483647 h 518"/>
              <a:gd name="T10" fmla="*/ 2147483647 w 398"/>
              <a:gd name="T11" fmla="*/ 2147483647 h 518"/>
              <a:gd name="T12" fmla="*/ 2147483647 w 398"/>
              <a:gd name="T13" fmla="*/ 2147483647 h 518"/>
              <a:gd name="T14" fmla="*/ 2147483647 w 398"/>
              <a:gd name="T15" fmla="*/ 2147483647 h 518"/>
              <a:gd name="T16" fmla="*/ 2147483647 w 398"/>
              <a:gd name="T17" fmla="*/ 2147483647 h 518"/>
              <a:gd name="T18" fmla="*/ 2147483647 w 398"/>
              <a:gd name="T19" fmla="*/ 2147483647 h 518"/>
              <a:gd name="T20" fmla="*/ 2147483647 w 398"/>
              <a:gd name="T21" fmla="*/ 2147483647 h 518"/>
              <a:gd name="T22" fmla="*/ 2147483647 w 398"/>
              <a:gd name="T23" fmla="*/ 2147483647 h 518"/>
              <a:gd name="T24" fmla="*/ 2147483647 w 398"/>
              <a:gd name="T25" fmla="*/ 2147483647 h 518"/>
              <a:gd name="T26" fmla="*/ 2147483647 w 398"/>
              <a:gd name="T27" fmla="*/ 2147483647 h 518"/>
              <a:gd name="T28" fmla="*/ 2147483647 w 398"/>
              <a:gd name="T29" fmla="*/ 2147483647 h 518"/>
              <a:gd name="T30" fmla="*/ 2147483647 w 398"/>
              <a:gd name="T31" fmla="*/ 2147483647 h 518"/>
              <a:gd name="T32" fmla="*/ 2147483647 w 398"/>
              <a:gd name="T33" fmla="*/ 2147483647 h 518"/>
              <a:gd name="T34" fmla="*/ 2147483647 w 398"/>
              <a:gd name="T35" fmla="*/ 2147483647 h 518"/>
              <a:gd name="T36" fmla="*/ 2147483647 w 398"/>
              <a:gd name="T37" fmla="*/ 2147483647 h 518"/>
              <a:gd name="T38" fmla="*/ 2147483647 w 398"/>
              <a:gd name="T39" fmla="*/ 2147483647 h 518"/>
              <a:gd name="T40" fmla="*/ 2147483647 w 398"/>
              <a:gd name="T41" fmla="*/ 2147483647 h 518"/>
              <a:gd name="T42" fmla="*/ 2147483647 w 398"/>
              <a:gd name="T43" fmla="*/ 2147483647 h 518"/>
              <a:gd name="T44" fmla="*/ 2147483647 w 398"/>
              <a:gd name="T45" fmla="*/ 2147483647 h 518"/>
              <a:gd name="T46" fmla="*/ 2147483647 w 398"/>
              <a:gd name="T47" fmla="*/ 2147483647 h 518"/>
              <a:gd name="T48" fmla="*/ 2147483647 w 398"/>
              <a:gd name="T49" fmla="*/ 2147483647 h 518"/>
              <a:gd name="T50" fmla="*/ 2147483647 w 398"/>
              <a:gd name="T51" fmla="*/ 2147483647 h 518"/>
              <a:gd name="T52" fmla="*/ 2147483647 w 398"/>
              <a:gd name="T53" fmla="*/ 2147483647 h 518"/>
              <a:gd name="T54" fmla="*/ 2147483647 w 398"/>
              <a:gd name="T55" fmla="*/ 2147483647 h 518"/>
              <a:gd name="T56" fmla="*/ 2147483647 w 398"/>
              <a:gd name="T57" fmla="*/ 2147483647 h 518"/>
              <a:gd name="T58" fmla="*/ 2147483647 w 398"/>
              <a:gd name="T59" fmla="*/ 2147483647 h 518"/>
              <a:gd name="T60" fmla="*/ 2147483647 w 398"/>
              <a:gd name="T61" fmla="*/ 2147483647 h 518"/>
              <a:gd name="T62" fmla="*/ 2147483647 w 398"/>
              <a:gd name="T63" fmla="*/ 2147483647 h 518"/>
              <a:gd name="T64" fmla="*/ 2147483647 w 398"/>
              <a:gd name="T65" fmla="*/ 2147483647 h 518"/>
              <a:gd name="T66" fmla="*/ 2147483647 w 398"/>
              <a:gd name="T67" fmla="*/ 2147483647 h 518"/>
              <a:gd name="T68" fmla="*/ 2147483647 w 398"/>
              <a:gd name="T69" fmla="*/ 2147483647 h 518"/>
              <a:gd name="T70" fmla="*/ 2147483647 w 398"/>
              <a:gd name="T71" fmla="*/ 2147483647 h 518"/>
              <a:gd name="T72" fmla="*/ 2147483647 w 398"/>
              <a:gd name="T73" fmla="*/ 2147483647 h 518"/>
              <a:gd name="T74" fmla="*/ 2147483647 w 398"/>
              <a:gd name="T75" fmla="*/ 2147483647 h 518"/>
              <a:gd name="T76" fmla="*/ 2147483647 w 398"/>
              <a:gd name="T77" fmla="*/ 2147483647 h 518"/>
              <a:gd name="T78" fmla="*/ 2147483647 w 398"/>
              <a:gd name="T79" fmla="*/ 2147483647 h 518"/>
              <a:gd name="T80" fmla="*/ 2147483647 w 398"/>
              <a:gd name="T81" fmla="*/ 2147483647 h 518"/>
              <a:gd name="T82" fmla="*/ 2147483647 w 398"/>
              <a:gd name="T83" fmla="*/ 2147483647 h 518"/>
              <a:gd name="T84" fmla="*/ 2147483647 w 398"/>
              <a:gd name="T85" fmla="*/ 2147483647 h 518"/>
              <a:gd name="T86" fmla="*/ 2147483647 w 398"/>
              <a:gd name="T87" fmla="*/ 2147483647 h 518"/>
              <a:gd name="T88" fmla="*/ 2147483647 w 398"/>
              <a:gd name="T89" fmla="*/ 2147483647 h 518"/>
              <a:gd name="T90" fmla="*/ 2147483647 w 398"/>
              <a:gd name="T91" fmla="*/ 2147483647 h 518"/>
              <a:gd name="T92" fmla="*/ 2147483647 w 398"/>
              <a:gd name="T93" fmla="*/ 2147483647 h 518"/>
              <a:gd name="T94" fmla="*/ 2147483647 w 398"/>
              <a:gd name="T95" fmla="*/ 2147483647 h 518"/>
              <a:gd name="T96" fmla="*/ 2147483647 w 398"/>
              <a:gd name="T97" fmla="*/ 2147483647 h 518"/>
              <a:gd name="T98" fmla="*/ 2147483647 w 398"/>
              <a:gd name="T99" fmla="*/ 2147483647 h 518"/>
              <a:gd name="T100" fmla="*/ 2147483647 w 398"/>
              <a:gd name="T101" fmla="*/ 2147483647 h 518"/>
              <a:gd name="T102" fmla="*/ 2147483647 w 398"/>
              <a:gd name="T103" fmla="*/ 2147483647 h 518"/>
              <a:gd name="T104" fmla="*/ 2147483647 w 398"/>
              <a:gd name="T105" fmla="*/ 2147483647 h 518"/>
              <a:gd name="T106" fmla="*/ 2147483647 w 398"/>
              <a:gd name="T107" fmla="*/ 2147483647 h 518"/>
              <a:gd name="T108" fmla="*/ 2147483647 w 398"/>
              <a:gd name="T109" fmla="*/ 2147483647 h 518"/>
              <a:gd name="T110" fmla="*/ 2147483647 w 398"/>
              <a:gd name="T111" fmla="*/ 2147483647 h 518"/>
              <a:gd name="T112" fmla="*/ 2147483647 w 398"/>
              <a:gd name="T113" fmla="*/ 2147483647 h 518"/>
              <a:gd name="T114" fmla="*/ 2147483647 w 398"/>
              <a:gd name="T115" fmla="*/ 2147483647 h 518"/>
              <a:gd name="T116" fmla="*/ 2147483647 w 398"/>
              <a:gd name="T117" fmla="*/ 2147483647 h 518"/>
              <a:gd name="T118" fmla="*/ 2147483647 w 398"/>
              <a:gd name="T119" fmla="*/ 2147483647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9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395653" y="3080965"/>
            <a:ext cx="169862" cy="76200"/>
          </a:xfrm>
          <a:custGeom>
            <a:avLst/>
            <a:gdLst>
              <a:gd name="T0" fmla="*/ 2147483647 w 382"/>
              <a:gd name="T1" fmla="*/ 2147483647 h 148"/>
              <a:gd name="T2" fmla="*/ 2147483647 w 382"/>
              <a:gd name="T3" fmla="*/ 2147483647 h 148"/>
              <a:gd name="T4" fmla="*/ 2147483647 w 382"/>
              <a:gd name="T5" fmla="*/ 2147483647 h 148"/>
              <a:gd name="T6" fmla="*/ 2147483647 w 382"/>
              <a:gd name="T7" fmla="*/ 2147483647 h 148"/>
              <a:gd name="T8" fmla="*/ 2147483647 w 382"/>
              <a:gd name="T9" fmla="*/ 2147483647 h 148"/>
              <a:gd name="T10" fmla="*/ 2147483647 w 382"/>
              <a:gd name="T11" fmla="*/ 2147483647 h 148"/>
              <a:gd name="T12" fmla="*/ 2147483647 w 382"/>
              <a:gd name="T13" fmla="*/ 2147483647 h 148"/>
              <a:gd name="T14" fmla="*/ 2147483647 w 382"/>
              <a:gd name="T15" fmla="*/ 2147483647 h 148"/>
              <a:gd name="T16" fmla="*/ 2147483647 w 382"/>
              <a:gd name="T17" fmla="*/ 2147483647 h 148"/>
              <a:gd name="T18" fmla="*/ 2147483647 w 382"/>
              <a:gd name="T19" fmla="*/ 2147483647 h 148"/>
              <a:gd name="T20" fmla="*/ 2147483647 w 382"/>
              <a:gd name="T21" fmla="*/ 2147483647 h 148"/>
              <a:gd name="T22" fmla="*/ 0 w 382"/>
              <a:gd name="T23" fmla="*/ 2147483647 h 148"/>
              <a:gd name="T24" fmla="*/ 2147483647 w 382"/>
              <a:gd name="T25" fmla="*/ 2147483647 h 148"/>
              <a:gd name="T26" fmla="*/ 2147483647 w 382"/>
              <a:gd name="T27" fmla="*/ 2147483647 h 148"/>
              <a:gd name="T28" fmla="*/ 2147483647 w 382"/>
              <a:gd name="T29" fmla="*/ 2147483647 h 148"/>
              <a:gd name="T30" fmla="*/ 2147483647 w 382"/>
              <a:gd name="T31" fmla="*/ 2147483647 h 148"/>
              <a:gd name="T32" fmla="*/ 2147483647 w 382"/>
              <a:gd name="T33" fmla="*/ 2147483647 h 148"/>
              <a:gd name="T34" fmla="*/ 2147483647 w 382"/>
              <a:gd name="T35" fmla="*/ 2147483647 h 148"/>
              <a:gd name="T36" fmla="*/ 2147483647 w 382"/>
              <a:gd name="T37" fmla="*/ 2147483647 h 148"/>
              <a:gd name="T38" fmla="*/ 2147483647 w 382"/>
              <a:gd name="T39" fmla="*/ 2147483647 h 148"/>
              <a:gd name="T40" fmla="*/ 2147483647 w 382"/>
              <a:gd name="T41" fmla="*/ 2147483647 h 148"/>
              <a:gd name="T42" fmla="*/ 2147483647 w 382"/>
              <a:gd name="T43" fmla="*/ 2147483647 h 148"/>
              <a:gd name="T44" fmla="*/ 2147483647 w 382"/>
              <a:gd name="T45" fmla="*/ 2147483647 h 148"/>
              <a:gd name="T46" fmla="*/ 2147483647 w 382"/>
              <a:gd name="T47" fmla="*/ 2147483647 h 148"/>
              <a:gd name="T48" fmla="*/ 2147483647 w 382"/>
              <a:gd name="T49" fmla="*/ 2147483647 h 148"/>
              <a:gd name="T50" fmla="*/ 2147483647 w 382"/>
              <a:gd name="T51" fmla="*/ 2147483647 h 148"/>
              <a:gd name="T52" fmla="*/ 2147483647 w 382"/>
              <a:gd name="T53" fmla="*/ 2147483647 h 148"/>
              <a:gd name="T54" fmla="*/ 2147483647 w 382"/>
              <a:gd name="T55" fmla="*/ 2147483647 h 148"/>
              <a:gd name="T56" fmla="*/ 2147483647 w 382"/>
              <a:gd name="T57" fmla="*/ 2147483647 h 148"/>
              <a:gd name="T58" fmla="*/ 2147483647 w 382"/>
              <a:gd name="T59" fmla="*/ 2147483647 h 148"/>
              <a:gd name="T60" fmla="*/ 2147483647 w 382"/>
              <a:gd name="T61" fmla="*/ 2147483647 h 148"/>
              <a:gd name="T62" fmla="*/ 2147483647 w 382"/>
              <a:gd name="T63" fmla="*/ 2147483647 h 148"/>
              <a:gd name="T64" fmla="*/ 2147483647 w 382"/>
              <a:gd name="T65" fmla="*/ 2147483647 h 148"/>
              <a:gd name="T66" fmla="*/ 2147483647 w 382"/>
              <a:gd name="T67" fmla="*/ 2147483647 h 148"/>
              <a:gd name="T68" fmla="*/ 2147483647 w 382"/>
              <a:gd name="T69" fmla="*/ 2147483647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60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887903" y="2930153"/>
            <a:ext cx="1281112" cy="1038225"/>
          </a:xfrm>
          <a:custGeom>
            <a:avLst/>
            <a:gdLst>
              <a:gd name="T0" fmla="*/ 2147483647 w 2936"/>
              <a:gd name="T1" fmla="*/ 2147483647 h 1983"/>
              <a:gd name="T2" fmla="*/ 2147483647 w 2936"/>
              <a:gd name="T3" fmla="*/ 2147483647 h 1983"/>
              <a:gd name="T4" fmla="*/ 2147483647 w 2936"/>
              <a:gd name="T5" fmla="*/ 2147483647 h 1983"/>
              <a:gd name="T6" fmla="*/ 2147483647 w 2936"/>
              <a:gd name="T7" fmla="*/ 2147483647 h 1983"/>
              <a:gd name="T8" fmla="*/ 2147483647 w 2936"/>
              <a:gd name="T9" fmla="*/ 2147483647 h 1983"/>
              <a:gd name="T10" fmla="*/ 2147483647 w 2936"/>
              <a:gd name="T11" fmla="*/ 2147483647 h 1983"/>
              <a:gd name="T12" fmla="*/ 2147483647 w 2936"/>
              <a:gd name="T13" fmla="*/ 2147483647 h 1983"/>
              <a:gd name="T14" fmla="*/ 2147483647 w 2936"/>
              <a:gd name="T15" fmla="*/ 2147483647 h 1983"/>
              <a:gd name="T16" fmla="*/ 2147483647 w 2936"/>
              <a:gd name="T17" fmla="*/ 2147483647 h 1983"/>
              <a:gd name="T18" fmla="*/ 2147483647 w 2936"/>
              <a:gd name="T19" fmla="*/ 2147483647 h 1983"/>
              <a:gd name="T20" fmla="*/ 2147483647 w 2936"/>
              <a:gd name="T21" fmla="*/ 2147483647 h 1983"/>
              <a:gd name="T22" fmla="*/ 2147483647 w 2936"/>
              <a:gd name="T23" fmla="*/ 2147483647 h 1983"/>
              <a:gd name="T24" fmla="*/ 2147483647 w 2936"/>
              <a:gd name="T25" fmla="*/ 2147483647 h 1983"/>
              <a:gd name="T26" fmla="*/ 2147483647 w 2936"/>
              <a:gd name="T27" fmla="*/ 2147483647 h 1983"/>
              <a:gd name="T28" fmla="*/ 2147483647 w 2936"/>
              <a:gd name="T29" fmla="*/ 2147483647 h 1983"/>
              <a:gd name="T30" fmla="*/ 2147483647 w 2936"/>
              <a:gd name="T31" fmla="*/ 2147483647 h 1983"/>
              <a:gd name="T32" fmla="*/ 2147483647 w 2936"/>
              <a:gd name="T33" fmla="*/ 2147483647 h 1983"/>
              <a:gd name="T34" fmla="*/ 2147483647 w 2936"/>
              <a:gd name="T35" fmla="*/ 2147483647 h 1983"/>
              <a:gd name="T36" fmla="*/ 2147483647 w 2936"/>
              <a:gd name="T37" fmla="*/ 2147483647 h 1983"/>
              <a:gd name="T38" fmla="*/ 2147483647 w 2936"/>
              <a:gd name="T39" fmla="*/ 2147483647 h 1983"/>
              <a:gd name="T40" fmla="*/ 2147483647 w 2936"/>
              <a:gd name="T41" fmla="*/ 2147483647 h 1983"/>
              <a:gd name="T42" fmla="*/ 2147483647 w 2936"/>
              <a:gd name="T43" fmla="*/ 2147483647 h 1983"/>
              <a:gd name="T44" fmla="*/ 2147483647 w 2936"/>
              <a:gd name="T45" fmla="*/ 2147483647 h 1983"/>
              <a:gd name="T46" fmla="*/ 2147483647 w 2936"/>
              <a:gd name="T47" fmla="*/ 2147483647 h 1983"/>
              <a:gd name="T48" fmla="*/ 2147483647 w 2936"/>
              <a:gd name="T49" fmla="*/ 2147483647 h 1983"/>
              <a:gd name="T50" fmla="*/ 2147483647 w 2936"/>
              <a:gd name="T51" fmla="*/ 2147483647 h 1983"/>
              <a:gd name="T52" fmla="*/ 2147483647 w 2936"/>
              <a:gd name="T53" fmla="*/ 2147483647 h 1983"/>
              <a:gd name="T54" fmla="*/ 2147483647 w 2936"/>
              <a:gd name="T55" fmla="*/ 2147483647 h 1983"/>
              <a:gd name="T56" fmla="*/ 2147483647 w 2936"/>
              <a:gd name="T57" fmla="*/ 2147483647 h 1983"/>
              <a:gd name="T58" fmla="*/ 2147483647 w 2936"/>
              <a:gd name="T59" fmla="*/ 2147483647 h 1983"/>
              <a:gd name="T60" fmla="*/ 2147483647 w 2936"/>
              <a:gd name="T61" fmla="*/ 2147483647 h 1983"/>
              <a:gd name="T62" fmla="*/ 2147483647 w 2936"/>
              <a:gd name="T63" fmla="*/ 2147483647 h 1983"/>
              <a:gd name="T64" fmla="*/ 2147483647 w 2936"/>
              <a:gd name="T65" fmla="*/ 2147483647 h 1983"/>
              <a:gd name="T66" fmla="*/ 2147483647 w 2936"/>
              <a:gd name="T67" fmla="*/ 2147483647 h 1983"/>
              <a:gd name="T68" fmla="*/ 2147483647 w 2936"/>
              <a:gd name="T69" fmla="*/ 2147483647 h 1983"/>
              <a:gd name="T70" fmla="*/ 2147483647 w 2936"/>
              <a:gd name="T71" fmla="*/ 2147483647 h 1983"/>
              <a:gd name="T72" fmla="*/ 2147483647 w 2936"/>
              <a:gd name="T73" fmla="*/ 2147483647 h 1983"/>
              <a:gd name="T74" fmla="*/ 2147483647 w 2936"/>
              <a:gd name="T75" fmla="*/ 2147483647 h 1983"/>
              <a:gd name="T76" fmla="*/ 2147483647 w 2936"/>
              <a:gd name="T77" fmla="*/ 2147483647 h 1983"/>
              <a:gd name="T78" fmla="*/ 2147483647 w 2936"/>
              <a:gd name="T79" fmla="*/ 2147483647 h 1983"/>
              <a:gd name="T80" fmla="*/ 2147483647 w 2936"/>
              <a:gd name="T81" fmla="*/ 2147483647 h 1983"/>
              <a:gd name="T82" fmla="*/ 2147483647 w 2936"/>
              <a:gd name="T83" fmla="*/ 2147483647 h 1983"/>
              <a:gd name="T84" fmla="*/ 2147483647 w 2936"/>
              <a:gd name="T85" fmla="*/ 2147483647 h 1983"/>
              <a:gd name="T86" fmla="*/ 2147483647 w 2936"/>
              <a:gd name="T87" fmla="*/ 2147483647 h 1983"/>
              <a:gd name="T88" fmla="*/ 2147483647 w 2936"/>
              <a:gd name="T89" fmla="*/ 2147483647 h 1983"/>
              <a:gd name="T90" fmla="*/ 2147483647 w 2936"/>
              <a:gd name="T91" fmla="*/ 2147483647 h 1983"/>
              <a:gd name="T92" fmla="*/ 2147483647 w 2936"/>
              <a:gd name="T93" fmla="*/ 2147483647 h 1983"/>
              <a:gd name="T94" fmla="*/ 2147483647 w 2936"/>
              <a:gd name="T95" fmla="*/ 2147483647 h 1983"/>
              <a:gd name="T96" fmla="*/ 2147483647 w 2936"/>
              <a:gd name="T97" fmla="*/ 2147483647 h 1983"/>
              <a:gd name="T98" fmla="*/ 2147483647 w 2936"/>
              <a:gd name="T99" fmla="*/ 2147483647 h 1983"/>
              <a:gd name="T100" fmla="*/ 2147483647 w 2936"/>
              <a:gd name="T101" fmla="*/ 2147483647 h 1983"/>
              <a:gd name="T102" fmla="*/ 2147483647 w 2936"/>
              <a:gd name="T103" fmla="*/ 2147483647 h 1983"/>
              <a:gd name="T104" fmla="*/ 2147483647 w 2936"/>
              <a:gd name="T105" fmla="*/ 2147483647 h 1983"/>
              <a:gd name="T106" fmla="*/ 2147483647 w 2936"/>
              <a:gd name="T107" fmla="*/ 2147483647 h 1983"/>
              <a:gd name="T108" fmla="*/ 2147483647 w 2936"/>
              <a:gd name="T109" fmla="*/ 2147483647 h 1983"/>
              <a:gd name="T110" fmla="*/ 2147483647 w 2936"/>
              <a:gd name="T111" fmla="*/ 2147483647 h 1983"/>
              <a:gd name="T112" fmla="*/ 2147483647 w 2936"/>
              <a:gd name="T113" fmla="*/ 2147483647 h 1983"/>
              <a:gd name="T114" fmla="*/ 2147483647 w 2936"/>
              <a:gd name="T115" fmla="*/ 2147483647 h 1983"/>
              <a:gd name="T116" fmla="*/ 2147483647 w 2936"/>
              <a:gd name="T117" fmla="*/ 2147483647 h 1983"/>
              <a:gd name="T118" fmla="*/ 2147483647 w 2936"/>
              <a:gd name="T119" fmla="*/ 2147483647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1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579803" y="2471365"/>
            <a:ext cx="220662" cy="273050"/>
          </a:xfrm>
          <a:custGeom>
            <a:avLst/>
            <a:gdLst>
              <a:gd name="T0" fmla="*/ 2147483647 w 504"/>
              <a:gd name="T1" fmla="*/ 2147483647 h 524"/>
              <a:gd name="T2" fmla="*/ 2147483647 w 504"/>
              <a:gd name="T3" fmla="*/ 2147483647 h 524"/>
              <a:gd name="T4" fmla="*/ 2147483647 w 504"/>
              <a:gd name="T5" fmla="*/ 2147483647 h 524"/>
              <a:gd name="T6" fmla="*/ 2147483647 w 504"/>
              <a:gd name="T7" fmla="*/ 2147483647 h 524"/>
              <a:gd name="T8" fmla="*/ 2147483647 w 504"/>
              <a:gd name="T9" fmla="*/ 2147483647 h 524"/>
              <a:gd name="T10" fmla="*/ 2147483647 w 504"/>
              <a:gd name="T11" fmla="*/ 2147483647 h 524"/>
              <a:gd name="T12" fmla="*/ 2147483647 w 504"/>
              <a:gd name="T13" fmla="*/ 2147483647 h 524"/>
              <a:gd name="T14" fmla="*/ 2147483647 w 504"/>
              <a:gd name="T15" fmla="*/ 2147483647 h 524"/>
              <a:gd name="T16" fmla="*/ 2147483647 w 504"/>
              <a:gd name="T17" fmla="*/ 2147483647 h 524"/>
              <a:gd name="T18" fmla="*/ 2147483647 w 504"/>
              <a:gd name="T19" fmla="*/ 2147483647 h 524"/>
              <a:gd name="T20" fmla="*/ 2147483647 w 504"/>
              <a:gd name="T21" fmla="*/ 2147483647 h 524"/>
              <a:gd name="T22" fmla="*/ 2147483647 w 504"/>
              <a:gd name="T23" fmla="*/ 2147483647 h 524"/>
              <a:gd name="T24" fmla="*/ 2147483647 w 504"/>
              <a:gd name="T25" fmla="*/ 2147483647 h 524"/>
              <a:gd name="T26" fmla="*/ 2147483647 w 504"/>
              <a:gd name="T27" fmla="*/ 2147483647 h 524"/>
              <a:gd name="T28" fmla="*/ 2147483647 w 504"/>
              <a:gd name="T29" fmla="*/ 2147483647 h 524"/>
              <a:gd name="T30" fmla="*/ 2147483647 w 504"/>
              <a:gd name="T31" fmla="*/ 2147483647 h 524"/>
              <a:gd name="T32" fmla="*/ 2147483647 w 504"/>
              <a:gd name="T33" fmla="*/ 2147483647 h 524"/>
              <a:gd name="T34" fmla="*/ 2147483647 w 504"/>
              <a:gd name="T35" fmla="*/ 2147483647 h 524"/>
              <a:gd name="T36" fmla="*/ 2147483647 w 504"/>
              <a:gd name="T37" fmla="*/ 2147483647 h 524"/>
              <a:gd name="T38" fmla="*/ 2147483647 w 504"/>
              <a:gd name="T39" fmla="*/ 2147483647 h 524"/>
              <a:gd name="T40" fmla="*/ 2147483647 w 504"/>
              <a:gd name="T41" fmla="*/ 2147483647 h 524"/>
              <a:gd name="T42" fmla="*/ 2147483647 w 504"/>
              <a:gd name="T43" fmla="*/ 2147483647 h 524"/>
              <a:gd name="T44" fmla="*/ 2147483647 w 504"/>
              <a:gd name="T45" fmla="*/ 2147483647 h 524"/>
              <a:gd name="T46" fmla="*/ 2147483647 w 504"/>
              <a:gd name="T47" fmla="*/ 2147483647 h 524"/>
              <a:gd name="T48" fmla="*/ 2147483647 w 504"/>
              <a:gd name="T49" fmla="*/ 2147483647 h 524"/>
              <a:gd name="T50" fmla="*/ 2147483647 w 504"/>
              <a:gd name="T51" fmla="*/ 2147483647 h 524"/>
              <a:gd name="T52" fmla="*/ 2147483647 w 504"/>
              <a:gd name="T53" fmla="*/ 2147483647 h 524"/>
              <a:gd name="T54" fmla="*/ 2147483647 w 504"/>
              <a:gd name="T55" fmla="*/ 2147483647 h 524"/>
              <a:gd name="T56" fmla="*/ 2147483647 w 504"/>
              <a:gd name="T57" fmla="*/ 2147483647 h 524"/>
              <a:gd name="T58" fmla="*/ 2147483647 w 504"/>
              <a:gd name="T59" fmla="*/ 2147483647 h 524"/>
              <a:gd name="T60" fmla="*/ 2147483647 w 504"/>
              <a:gd name="T61" fmla="*/ 2147483647 h 524"/>
              <a:gd name="T62" fmla="*/ 2147483647 w 504"/>
              <a:gd name="T63" fmla="*/ 2147483647 h 524"/>
              <a:gd name="T64" fmla="*/ 2147483647 w 504"/>
              <a:gd name="T65" fmla="*/ 2147483647 h 524"/>
              <a:gd name="T66" fmla="*/ 2147483647 w 504"/>
              <a:gd name="T67" fmla="*/ 2147483647 h 524"/>
              <a:gd name="T68" fmla="*/ 2147483647 w 504"/>
              <a:gd name="T69" fmla="*/ 2147483647 h 524"/>
              <a:gd name="T70" fmla="*/ 2147483647 w 504"/>
              <a:gd name="T71" fmla="*/ 2147483647 h 524"/>
              <a:gd name="T72" fmla="*/ 2147483647 w 504"/>
              <a:gd name="T73" fmla="*/ 2147483647 h 524"/>
              <a:gd name="T74" fmla="*/ 2147483647 w 504"/>
              <a:gd name="T75" fmla="*/ 0 h 524"/>
              <a:gd name="T76" fmla="*/ 2147483647 w 504"/>
              <a:gd name="T77" fmla="*/ 0 h 524"/>
              <a:gd name="T78" fmla="*/ 2147483647 w 504"/>
              <a:gd name="T79" fmla="*/ 2147483647 h 524"/>
              <a:gd name="T80" fmla="*/ 2147483647 w 504"/>
              <a:gd name="T81" fmla="*/ 2147483647 h 524"/>
              <a:gd name="T82" fmla="*/ 2147483647 w 504"/>
              <a:gd name="T83" fmla="*/ 2147483647 h 524"/>
              <a:gd name="T84" fmla="*/ 2147483647 w 504"/>
              <a:gd name="T85" fmla="*/ 2147483647 h 524"/>
              <a:gd name="T86" fmla="*/ 2147483647 w 504"/>
              <a:gd name="T87" fmla="*/ 2147483647 h 524"/>
              <a:gd name="T88" fmla="*/ 2147483647 w 504"/>
              <a:gd name="T89" fmla="*/ 2147483647 h 524"/>
              <a:gd name="T90" fmla="*/ 2147483647 w 504"/>
              <a:gd name="T91" fmla="*/ 2147483647 h 524"/>
              <a:gd name="T92" fmla="*/ 2147483647 w 504"/>
              <a:gd name="T93" fmla="*/ 2147483647 h 524"/>
              <a:gd name="T94" fmla="*/ 2147483647 w 504"/>
              <a:gd name="T95" fmla="*/ 2147483647 h 524"/>
              <a:gd name="T96" fmla="*/ 2147483647 w 504"/>
              <a:gd name="T97" fmla="*/ 2147483647 h 524"/>
              <a:gd name="T98" fmla="*/ 2147483647 w 504"/>
              <a:gd name="T99" fmla="*/ 2147483647 h 524"/>
              <a:gd name="T100" fmla="*/ 2147483647 w 504"/>
              <a:gd name="T101" fmla="*/ 2147483647 h 524"/>
              <a:gd name="T102" fmla="*/ 2147483647 w 504"/>
              <a:gd name="T103" fmla="*/ 2147483647 h 524"/>
              <a:gd name="T104" fmla="*/ 2147483647 w 504"/>
              <a:gd name="T105" fmla="*/ 2147483647 h 524"/>
              <a:gd name="T106" fmla="*/ 2147483647 w 504"/>
              <a:gd name="T107" fmla="*/ 2147483647 h 524"/>
              <a:gd name="T108" fmla="*/ 2147483647 w 504"/>
              <a:gd name="T109" fmla="*/ 2147483647 h 524"/>
              <a:gd name="T110" fmla="*/ 2147483647 w 504"/>
              <a:gd name="T111" fmla="*/ 214748364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62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316278" y="2888878"/>
            <a:ext cx="182562" cy="238125"/>
          </a:xfrm>
          <a:custGeom>
            <a:avLst/>
            <a:gdLst>
              <a:gd name="T0" fmla="*/ 2147483647 w 438"/>
              <a:gd name="T1" fmla="*/ 2147483647 h 451"/>
              <a:gd name="T2" fmla="*/ 2147483647 w 438"/>
              <a:gd name="T3" fmla="*/ 2147483647 h 451"/>
              <a:gd name="T4" fmla="*/ 2147483647 w 438"/>
              <a:gd name="T5" fmla="*/ 2147483647 h 451"/>
              <a:gd name="T6" fmla="*/ 2147483647 w 438"/>
              <a:gd name="T7" fmla="*/ 2147483647 h 451"/>
              <a:gd name="T8" fmla="*/ 2147483647 w 438"/>
              <a:gd name="T9" fmla="*/ 2147483647 h 451"/>
              <a:gd name="T10" fmla="*/ 2147483647 w 438"/>
              <a:gd name="T11" fmla="*/ 2147483647 h 451"/>
              <a:gd name="T12" fmla="*/ 2147483647 w 438"/>
              <a:gd name="T13" fmla="*/ 2147483647 h 451"/>
              <a:gd name="T14" fmla="*/ 2147483647 w 438"/>
              <a:gd name="T15" fmla="*/ 2147483647 h 451"/>
              <a:gd name="T16" fmla="*/ 2147483647 w 438"/>
              <a:gd name="T17" fmla="*/ 2147483647 h 451"/>
              <a:gd name="T18" fmla="*/ 2147483647 w 438"/>
              <a:gd name="T19" fmla="*/ 2147483647 h 451"/>
              <a:gd name="T20" fmla="*/ 2147483647 w 438"/>
              <a:gd name="T21" fmla="*/ 2147483647 h 451"/>
              <a:gd name="T22" fmla="*/ 2147483647 w 438"/>
              <a:gd name="T23" fmla="*/ 2147483647 h 451"/>
              <a:gd name="T24" fmla="*/ 2147483647 w 438"/>
              <a:gd name="T25" fmla="*/ 2147483647 h 451"/>
              <a:gd name="T26" fmla="*/ 2147483647 w 438"/>
              <a:gd name="T27" fmla="*/ 0 h 451"/>
              <a:gd name="T28" fmla="*/ 2147483647 w 438"/>
              <a:gd name="T29" fmla="*/ 2147483647 h 451"/>
              <a:gd name="T30" fmla="*/ 2147483647 w 438"/>
              <a:gd name="T31" fmla="*/ 2147483647 h 451"/>
              <a:gd name="T32" fmla="*/ 2147483647 w 438"/>
              <a:gd name="T33" fmla="*/ 2147483647 h 451"/>
              <a:gd name="T34" fmla="*/ 2147483647 w 438"/>
              <a:gd name="T35" fmla="*/ 2147483647 h 451"/>
              <a:gd name="T36" fmla="*/ 2147483647 w 438"/>
              <a:gd name="T37" fmla="*/ 2147483647 h 451"/>
              <a:gd name="T38" fmla="*/ 2147483647 w 438"/>
              <a:gd name="T39" fmla="*/ 2147483647 h 451"/>
              <a:gd name="T40" fmla="*/ 2147483647 w 438"/>
              <a:gd name="T41" fmla="*/ 2147483647 h 451"/>
              <a:gd name="T42" fmla="*/ 2147483647 w 438"/>
              <a:gd name="T43" fmla="*/ 2147483647 h 451"/>
              <a:gd name="T44" fmla="*/ 2147483647 w 438"/>
              <a:gd name="T45" fmla="*/ 2147483647 h 451"/>
              <a:gd name="T46" fmla="*/ 2147483647 w 438"/>
              <a:gd name="T47" fmla="*/ 2147483647 h 451"/>
              <a:gd name="T48" fmla="*/ 2147483647 w 438"/>
              <a:gd name="T49" fmla="*/ 2147483647 h 451"/>
              <a:gd name="T50" fmla="*/ 2147483647 w 438"/>
              <a:gd name="T51" fmla="*/ 2147483647 h 451"/>
              <a:gd name="T52" fmla="*/ 2147483647 w 438"/>
              <a:gd name="T53" fmla="*/ 2147483647 h 451"/>
              <a:gd name="T54" fmla="*/ 2147483647 w 438"/>
              <a:gd name="T55" fmla="*/ 2147483647 h 451"/>
              <a:gd name="T56" fmla="*/ 2147483647 w 438"/>
              <a:gd name="T57" fmla="*/ 2147483647 h 451"/>
              <a:gd name="T58" fmla="*/ 2147483647 w 438"/>
              <a:gd name="T59" fmla="*/ 2147483647 h 451"/>
              <a:gd name="T60" fmla="*/ 2147483647 w 438"/>
              <a:gd name="T61" fmla="*/ 2147483647 h 451"/>
              <a:gd name="T62" fmla="*/ 2147483647 w 438"/>
              <a:gd name="T63" fmla="*/ 2147483647 h 451"/>
              <a:gd name="T64" fmla="*/ 2147483647 w 438"/>
              <a:gd name="T65" fmla="*/ 2147483647 h 451"/>
              <a:gd name="T66" fmla="*/ 2147483647 w 438"/>
              <a:gd name="T67" fmla="*/ 2147483647 h 451"/>
              <a:gd name="T68" fmla="*/ 2147483647 w 438"/>
              <a:gd name="T69" fmla="*/ 2147483647 h 451"/>
              <a:gd name="T70" fmla="*/ 2147483647 w 438"/>
              <a:gd name="T71" fmla="*/ 2147483647 h 451"/>
              <a:gd name="T72" fmla="*/ 2147483647 w 438"/>
              <a:gd name="T73" fmla="*/ 2147483647 h 451"/>
              <a:gd name="T74" fmla="*/ 2147483647 w 438"/>
              <a:gd name="T75" fmla="*/ 2147483647 h 451"/>
              <a:gd name="T76" fmla="*/ 2147483647 w 438"/>
              <a:gd name="T77" fmla="*/ 2147483647 h 451"/>
              <a:gd name="T78" fmla="*/ 2147483647 w 438"/>
              <a:gd name="T79" fmla="*/ 2147483647 h 451"/>
              <a:gd name="T80" fmla="*/ 2147483647 w 438"/>
              <a:gd name="T81" fmla="*/ 2147483647 h 451"/>
              <a:gd name="T82" fmla="*/ 2147483647 w 438"/>
              <a:gd name="T83" fmla="*/ 2147483647 h 451"/>
              <a:gd name="T84" fmla="*/ 2147483647 w 438"/>
              <a:gd name="T85" fmla="*/ 2147483647 h 451"/>
              <a:gd name="T86" fmla="*/ 2147483647 w 438"/>
              <a:gd name="T87" fmla="*/ 2147483647 h 451"/>
              <a:gd name="T88" fmla="*/ 2147483647 w 438"/>
              <a:gd name="T89" fmla="*/ 2147483647 h 451"/>
              <a:gd name="T90" fmla="*/ 2147483647 w 438"/>
              <a:gd name="T91" fmla="*/ 2147483647 h 451"/>
              <a:gd name="T92" fmla="*/ 2147483647 w 438"/>
              <a:gd name="T93" fmla="*/ 2147483647 h 451"/>
              <a:gd name="T94" fmla="*/ 2147483647 w 438"/>
              <a:gd name="T95" fmla="*/ 2147483647 h 451"/>
              <a:gd name="T96" fmla="*/ 2147483647 w 438"/>
              <a:gd name="T97" fmla="*/ 2147483647 h 451"/>
              <a:gd name="T98" fmla="*/ 2147483647 w 438"/>
              <a:gd name="T99" fmla="*/ 2147483647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063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341678" y="3146053"/>
            <a:ext cx="250825" cy="274637"/>
          </a:xfrm>
          <a:custGeom>
            <a:avLst/>
            <a:gdLst>
              <a:gd name="T0" fmla="*/ 2147483647 w 578"/>
              <a:gd name="T1" fmla="*/ 2147483647 h 524"/>
              <a:gd name="T2" fmla="*/ 2147483647 w 578"/>
              <a:gd name="T3" fmla="*/ 2147483647 h 524"/>
              <a:gd name="T4" fmla="*/ 2147483647 w 578"/>
              <a:gd name="T5" fmla="*/ 2147483647 h 524"/>
              <a:gd name="T6" fmla="*/ 2147483647 w 578"/>
              <a:gd name="T7" fmla="*/ 2147483647 h 524"/>
              <a:gd name="T8" fmla="*/ 2147483647 w 578"/>
              <a:gd name="T9" fmla="*/ 2147483647 h 524"/>
              <a:gd name="T10" fmla="*/ 2147483647 w 578"/>
              <a:gd name="T11" fmla="*/ 2147483647 h 524"/>
              <a:gd name="T12" fmla="*/ 2147483647 w 578"/>
              <a:gd name="T13" fmla="*/ 2147483647 h 524"/>
              <a:gd name="T14" fmla="*/ 2147483647 w 578"/>
              <a:gd name="T15" fmla="*/ 2147483647 h 524"/>
              <a:gd name="T16" fmla="*/ 2147483647 w 578"/>
              <a:gd name="T17" fmla="*/ 2147483647 h 524"/>
              <a:gd name="T18" fmla="*/ 2147483647 w 578"/>
              <a:gd name="T19" fmla="*/ 2147483647 h 524"/>
              <a:gd name="T20" fmla="*/ 2147483647 w 578"/>
              <a:gd name="T21" fmla="*/ 2147483647 h 524"/>
              <a:gd name="T22" fmla="*/ 2147483647 w 578"/>
              <a:gd name="T23" fmla="*/ 2147483647 h 524"/>
              <a:gd name="T24" fmla="*/ 2147483647 w 578"/>
              <a:gd name="T25" fmla="*/ 2147483647 h 524"/>
              <a:gd name="T26" fmla="*/ 2147483647 w 578"/>
              <a:gd name="T27" fmla="*/ 2147483647 h 524"/>
              <a:gd name="T28" fmla="*/ 2147483647 w 578"/>
              <a:gd name="T29" fmla="*/ 2147483647 h 524"/>
              <a:gd name="T30" fmla="*/ 2147483647 w 578"/>
              <a:gd name="T31" fmla="*/ 2147483647 h 524"/>
              <a:gd name="T32" fmla="*/ 2147483647 w 578"/>
              <a:gd name="T33" fmla="*/ 2147483647 h 524"/>
              <a:gd name="T34" fmla="*/ 2147483647 w 578"/>
              <a:gd name="T35" fmla="*/ 2147483647 h 524"/>
              <a:gd name="T36" fmla="*/ 2147483647 w 578"/>
              <a:gd name="T37" fmla="*/ 2147483647 h 524"/>
              <a:gd name="T38" fmla="*/ 2147483647 w 578"/>
              <a:gd name="T39" fmla="*/ 2147483647 h 524"/>
              <a:gd name="T40" fmla="*/ 2147483647 w 578"/>
              <a:gd name="T41" fmla="*/ 2147483647 h 524"/>
              <a:gd name="T42" fmla="*/ 2147483647 w 578"/>
              <a:gd name="T43" fmla="*/ 2147483647 h 524"/>
              <a:gd name="T44" fmla="*/ 2147483647 w 578"/>
              <a:gd name="T45" fmla="*/ 2147483647 h 524"/>
              <a:gd name="T46" fmla="*/ 2147483647 w 578"/>
              <a:gd name="T47" fmla="*/ 2147483647 h 524"/>
              <a:gd name="T48" fmla="*/ 2147483647 w 578"/>
              <a:gd name="T49" fmla="*/ 2147483647 h 524"/>
              <a:gd name="T50" fmla="*/ 2147483647 w 578"/>
              <a:gd name="T51" fmla="*/ 2147483647 h 524"/>
              <a:gd name="T52" fmla="*/ 2147483647 w 578"/>
              <a:gd name="T53" fmla="*/ 2147483647 h 524"/>
              <a:gd name="T54" fmla="*/ 2147483647 w 578"/>
              <a:gd name="T55" fmla="*/ 2147483647 h 524"/>
              <a:gd name="T56" fmla="*/ 2147483647 w 578"/>
              <a:gd name="T57" fmla="*/ 2147483647 h 524"/>
              <a:gd name="T58" fmla="*/ 2147483647 w 578"/>
              <a:gd name="T59" fmla="*/ 2147483647 h 524"/>
              <a:gd name="T60" fmla="*/ 2147483647 w 578"/>
              <a:gd name="T61" fmla="*/ 2147483647 h 524"/>
              <a:gd name="T62" fmla="*/ 2147483647 w 578"/>
              <a:gd name="T63" fmla="*/ 2147483647 h 524"/>
              <a:gd name="T64" fmla="*/ 2147483647 w 578"/>
              <a:gd name="T65" fmla="*/ 2147483647 h 524"/>
              <a:gd name="T66" fmla="*/ 2147483647 w 578"/>
              <a:gd name="T67" fmla="*/ 2147483647 h 524"/>
              <a:gd name="T68" fmla="*/ 2147483647 w 578"/>
              <a:gd name="T69" fmla="*/ 2147483647 h 524"/>
              <a:gd name="T70" fmla="*/ 2147483647 w 578"/>
              <a:gd name="T71" fmla="*/ 2147483647 h 524"/>
              <a:gd name="T72" fmla="*/ 2147483647 w 578"/>
              <a:gd name="T73" fmla="*/ 2147483647 h 524"/>
              <a:gd name="T74" fmla="*/ 2147483647 w 578"/>
              <a:gd name="T75" fmla="*/ 2147483647 h 524"/>
              <a:gd name="T76" fmla="*/ 2147483647 w 578"/>
              <a:gd name="T77" fmla="*/ 2147483647 h 524"/>
              <a:gd name="T78" fmla="*/ 2147483647 w 578"/>
              <a:gd name="T79" fmla="*/ 2147483647 h 524"/>
              <a:gd name="T80" fmla="*/ 2147483647 w 578"/>
              <a:gd name="T81" fmla="*/ 2147483647 h 524"/>
              <a:gd name="T82" fmla="*/ 2147483647 w 578"/>
              <a:gd name="T83" fmla="*/ 2147483647 h 524"/>
              <a:gd name="T84" fmla="*/ 2147483647 w 578"/>
              <a:gd name="T85" fmla="*/ 2147483647 h 524"/>
              <a:gd name="T86" fmla="*/ 2147483647 w 578"/>
              <a:gd name="T87" fmla="*/ 2147483647 h 524"/>
              <a:gd name="T88" fmla="*/ 2147483647 w 578"/>
              <a:gd name="T89" fmla="*/ 2147483647 h 524"/>
              <a:gd name="T90" fmla="*/ 2147483647 w 578"/>
              <a:gd name="T91" fmla="*/ 2147483647 h 524"/>
              <a:gd name="T92" fmla="*/ 2147483647 w 578"/>
              <a:gd name="T93" fmla="*/ 2147483647 h 524"/>
              <a:gd name="T94" fmla="*/ 2147483647 w 578"/>
              <a:gd name="T95" fmla="*/ 2147483647 h 524"/>
              <a:gd name="T96" fmla="*/ 2147483647 w 578"/>
              <a:gd name="T97" fmla="*/ 0 h 524"/>
              <a:gd name="T98" fmla="*/ 2147483647 w 578"/>
              <a:gd name="T99" fmla="*/ 2147483647 h 524"/>
              <a:gd name="T100" fmla="*/ 2147483647 w 578"/>
              <a:gd name="T101" fmla="*/ 2147483647 h 524"/>
              <a:gd name="T102" fmla="*/ 2147483647 w 578"/>
              <a:gd name="T103" fmla="*/ 2147483647 h 524"/>
              <a:gd name="T104" fmla="*/ 2147483647 w 578"/>
              <a:gd name="T105" fmla="*/ 2147483647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64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359140" y="3314328"/>
            <a:ext cx="33338" cy="82550"/>
          </a:xfrm>
          <a:custGeom>
            <a:avLst/>
            <a:gdLst>
              <a:gd name="T0" fmla="*/ 0 w 79"/>
              <a:gd name="T1" fmla="*/ 2147483647 h 160"/>
              <a:gd name="T2" fmla="*/ 2147483647 w 79"/>
              <a:gd name="T3" fmla="*/ 2147483647 h 160"/>
              <a:gd name="T4" fmla="*/ 2147483647 w 79"/>
              <a:gd name="T5" fmla="*/ 2147483647 h 160"/>
              <a:gd name="T6" fmla="*/ 2147483647 w 79"/>
              <a:gd name="T7" fmla="*/ 2147483647 h 160"/>
              <a:gd name="T8" fmla="*/ 2147483647 w 79"/>
              <a:gd name="T9" fmla="*/ 2147483647 h 160"/>
              <a:gd name="T10" fmla="*/ 2147483647 w 79"/>
              <a:gd name="T11" fmla="*/ 2147483647 h 160"/>
              <a:gd name="T12" fmla="*/ 2147483647 w 79"/>
              <a:gd name="T13" fmla="*/ 2147483647 h 160"/>
              <a:gd name="T14" fmla="*/ 2147483647 w 79"/>
              <a:gd name="T15" fmla="*/ 2147483647 h 160"/>
              <a:gd name="T16" fmla="*/ 2147483647 w 79"/>
              <a:gd name="T17" fmla="*/ 2147483647 h 160"/>
              <a:gd name="T18" fmla="*/ 2147483647 w 79"/>
              <a:gd name="T19" fmla="*/ 2147483647 h 160"/>
              <a:gd name="T20" fmla="*/ 2147483647 w 79"/>
              <a:gd name="T21" fmla="*/ 0 h 160"/>
              <a:gd name="T22" fmla="*/ 2147483647 w 79"/>
              <a:gd name="T23" fmla="*/ 2147483647 h 160"/>
              <a:gd name="T24" fmla="*/ 2147483647 w 79"/>
              <a:gd name="T25" fmla="*/ 2147483647 h 160"/>
              <a:gd name="T26" fmla="*/ 2147483647 w 79"/>
              <a:gd name="T27" fmla="*/ 2147483647 h 160"/>
              <a:gd name="T28" fmla="*/ 2147483647 w 79"/>
              <a:gd name="T29" fmla="*/ 2147483647 h 160"/>
              <a:gd name="T30" fmla="*/ 2147483647 w 79"/>
              <a:gd name="T31" fmla="*/ 2147483647 h 160"/>
              <a:gd name="T32" fmla="*/ 2147483647 w 79"/>
              <a:gd name="T33" fmla="*/ 2147483647 h 160"/>
              <a:gd name="T34" fmla="*/ 2147483647 w 79"/>
              <a:gd name="T35" fmla="*/ 2147483647 h 160"/>
              <a:gd name="T36" fmla="*/ 2147483647 w 79"/>
              <a:gd name="T37" fmla="*/ 2147483647 h 160"/>
              <a:gd name="T38" fmla="*/ 2147483647 w 79"/>
              <a:gd name="T39" fmla="*/ 2147483647 h 160"/>
              <a:gd name="T40" fmla="*/ 2147483647 w 79"/>
              <a:gd name="T41" fmla="*/ 2147483647 h 160"/>
              <a:gd name="T42" fmla="*/ 2147483647 w 79"/>
              <a:gd name="T43" fmla="*/ 2147483647 h 160"/>
              <a:gd name="T44" fmla="*/ 2147483647 w 79"/>
              <a:gd name="T45" fmla="*/ 2147483647 h 160"/>
              <a:gd name="T46" fmla="*/ 2147483647 w 79"/>
              <a:gd name="T47" fmla="*/ 2147483647 h 160"/>
              <a:gd name="T48" fmla="*/ 2147483647 w 79"/>
              <a:gd name="T49" fmla="*/ 2147483647 h 160"/>
              <a:gd name="T50" fmla="*/ 2147483647 w 79"/>
              <a:gd name="T51" fmla="*/ 2147483647 h 160"/>
              <a:gd name="T52" fmla="*/ 2147483647 w 79"/>
              <a:gd name="T53" fmla="*/ 2147483647 h 160"/>
              <a:gd name="T54" fmla="*/ 2147483647 w 79"/>
              <a:gd name="T55" fmla="*/ 2147483647 h 160"/>
              <a:gd name="T56" fmla="*/ 2147483647 w 79"/>
              <a:gd name="T57" fmla="*/ 2147483647 h 160"/>
              <a:gd name="T58" fmla="*/ 2147483647 w 79"/>
              <a:gd name="T59" fmla="*/ 2147483647 h 160"/>
              <a:gd name="T60" fmla="*/ 2147483647 w 79"/>
              <a:gd name="T61" fmla="*/ 2147483647 h 160"/>
              <a:gd name="T62" fmla="*/ 2147483647 w 79"/>
              <a:gd name="T63" fmla="*/ 2147483647 h 160"/>
              <a:gd name="T64" fmla="*/ 2147483647 w 79"/>
              <a:gd name="T65" fmla="*/ 2147483647 h 160"/>
              <a:gd name="T66" fmla="*/ 2147483647 w 79"/>
              <a:gd name="T67" fmla="*/ 2147483647 h 160"/>
              <a:gd name="T68" fmla="*/ 2147483647 w 79"/>
              <a:gd name="T69" fmla="*/ 2147483647 h 160"/>
              <a:gd name="T70" fmla="*/ 2147483647 w 79"/>
              <a:gd name="T71" fmla="*/ 2147483647 h 160"/>
              <a:gd name="T72" fmla="*/ 2147483647 w 79"/>
              <a:gd name="T73" fmla="*/ 2147483647 h 160"/>
              <a:gd name="T74" fmla="*/ 2147483647 w 79"/>
              <a:gd name="T75" fmla="*/ 2147483647 h 160"/>
              <a:gd name="T76" fmla="*/ 0 w 79"/>
              <a:gd name="T77" fmla="*/ 2147483647 h 160"/>
              <a:gd name="T78" fmla="*/ 0 w 79"/>
              <a:gd name="T79" fmla="*/ 21474836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grpSp>
        <p:nvGrpSpPr>
          <p:cNvPr id="2065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678478" y="4374778"/>
            <a:ext cx="473075" cy="212725"/>
            <a:chOff x="4488" y="2394"/>
            <a:chExt cx="358" cy="124"/>
          </a:xfrm>
          <a:solidFill>
            <a:srgbClr val="FF0000"/>
          </a:solidFill>
        </p:grpSpPr>
        <p:sp>
          <p:nvSpPr>
            <p:cNvPr id="2596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97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</p:grpSp>
      <p:sp>
        <p:nvSpPr>
          <p:cNvPr id="2066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700453" y="2250703"/>
            <a:ext cx="3065462" cy="1074737"/>
          </a:xfrm>
          <a:custGeom>
            <a:avLst/>
            <a:gdLst>
              <a:gd name="T0" fmla="*/ 2147483647 w 7049"/>
              <a:gd name="T1" fmla="*/ 2147483647 h 2048"/>
              <a:gd name="T2" fmla="*/ 2147483647 w 7049"/>
              <a:gd name="T3" fmla="*/ 2147483647 h 2048"/>
              <a:gd name="T4" fmla="*/ 2147483647 w 7049"/>
              <a:gd name="T5" fmla="*/ 2147483647 h 2048"/>
              <a:gd name="T6" fmla="*/ 2147483647 w 7049"/>
              <a:gd name="T7" fmla="*/ 2147483647 h 2048"/>
              <a:gd name="T8" fmla="*/ 2147483647 w 7049"/>
              <a:gd name="T9" fmla="*/ 2147483647 h 2048"/>
              <a:gd name="T10" fmla="*/ 2147483647 w 7049"/>
              <a:gd name="T11" fmla="*/ 2147483647 h 2048"/>
              <a:gd name="T12" fmla="*/ 2147483647 w 7049"/>
              <a:gd name="T13" fmla="*/ 2147483647 h 2048"/>
              <a:gd name="T14" fmla="*/ 2147483647 w 7049"/>
              <a:gd name="T15" fmla="*/ 2147483647 h 2048"/>
              <a:gd name="T16" fmla="*/ 2147483647 w 7049"/>
              <a:gd name="T17" fmla="*/ 2147483647 h 2048"/>
              <a:gd name="T18" fmla="*/ 2147483647 w 7049"/>
              <a:gd name="T19" fmla="*/ 2147483647 h 2048"/>
              <a:gd name="T20" fmla="*/ 2147483647 w 7049"/>
              <a:gd name="T21" fmla="*/ 2147483647 h 2048"/>
              <a:gd name="T22" fmla="*/ 2147483647 w 7049"/>
              <a:gd name="T23" fmla="*/ 2147483647 h 2048"/>
              <a:gd name="T24" fmla="*/ 2147483647 w 7049"/>
              <a:gd name="T25" fmla="*/ 2147483647 h 2048"/>
              <a:gd name="T26" fmla="*/ 2147483647 w 7049"/>
              <a:gd name="T27" fmla="*/ 2147483647 h 2048"/>
              <a:gd name="T28" fmla="*/ 2147483647 w 7049"/>
              <a:gd name="T29" fmla="*/ 2147483647 h 2048"/>
              <a:gd name="T30" fmla="*/ 2147483647 w 7049"/>
              <a:gd name="T31" fmla="*/ 2147483647 h 2048"/>
              <a:gd name="T32" fmla="*/ 2147483647 w 7049"/>
              <a:gd name="T33" fmla="*/ 2147483647 h 2048"/>
              <a:gd name="T34" fmla="*/ 2147483647 w 7049"/>
              <a:gd name="T35" fmla="*/ 2147483647 h 2048"/>
              <a:gd name="T36" fmla="*/ 2147483647 w 7049"/>
              <a:gd name="T37" fmla="*/ 2147483647 h 2048"/>
              <a:gd name="T38" fmla="*/ 2147483647 w 7049"/>
              <a:gd name="T39" fmla="*/ 2147483647 h 2048"/>
              <a:gd name="T40" fmla="*/ 2147483647 w 7049"/>
              <a:gd name="T41" fmla="*/ 2147483647 h 2048"/>
              <a:gd name="T42" fmla="*/ 2147483647 w 7049"/>
              <a:gd name="T43" fmla="*/ 2147483647 h 2048"/>
              <a:gd name="T44" fmla="*/ 2147483647 w 7049"/>
              <a:gd name="T45" fmla="*/ 2147483647 h 2048"/>
              <a:gd name="T46" fmla="*/ 2147483647 w 7049"/>
              <a:gd name="T47" fmla="*/ 2147483647 h 2048"/>
              <a:gd name="T48" fmla="*/ 2147483647 w 7049"/>
              <a:gd name="T49" fmla="*/ 2147483647 h 2048"/>
              <a:gd name="T50" fmla="*/ 2147483647 w 7049"/>
              <a:gd name="T51" fmla="*/ 2147483647 h 2048"/>
              <a:gd name="T52" fmla="*/ 2147483647 w 7049"/>
              <a:gd name="T53" fmla="*/ 2147483647 h 2048"/>
              <a:gd name="T54" fmla="*/ 2147483647 w 7049"/>
              <a:gd name="T55" fmla="*/ 2147483647 h 2048"/>
              <a:gd name="T56" fmla="*/ 2147483647 w 7049"/>
              <a:gd name="T57" fmla="*/ 2147483647 h 2048"/>
              <a:gd name="T58" fmla="*/ 2147483647 w 7049"/>
              <a:gd name="T59" fmla="*/ 2147483647 h 2048"/>
              <a:gd name="T60" fmla="*/ 2147483647 w 7049"/>
              <a:gd name="T61" fmla="*/ 2147483647 h 2048"/>
              <a:gd name="T62" fmla="*/ 2147483647 w 7049"/>
              <a:gd name="T63" fmla="*/ 2147483647 h 2048"/>
              <a:gd name="T64" fmla="*/ 2147483647 w 7049"/>
              <a:gd name="T65" fmla="*/ 2147483647 h 2048"/>
              <a:gd name="T66" fmla="*/ 2147483647 w 7049"/>
              <a:gd name="T67" fmla="*/ 2147483647 h 2048"/>
              <a:gd name="T68" fmla="*/ 2147483647 w 7049"/>
              <a:gd name="T69" fmla="*/ 2147483647 h 2048"/>
              <a:gd name="T70" fmla="*/ 2147483647 w 7049"/>
              <a:gd name="T71" fmla="*/ 2147483647 h 2048"/>
              <a:gd name="T72" fmla="*/ 2147483647 w 7049"/>
              <a:gd name="T73" fmla="*/ 2147483647 h 2048"/>
              <a:gd name="T74" fmla="*/ 2147483647 w 7049"/>
              <a:gd name="T75" fmla="*/ 2147483647 h 2048"/>
              <a:gd name="T76" fmla="*/ 2147483647 w 7049"/>
              <a:gd name="T77" fmla="*/ 2147483647 h 2048"/>
              <a:gd name="T78" fmla="*/ 2147483647 w 7049"/>
              <a:gd name="T79" fmla="*/ 2147483647 h 2048"/>
              <a:gd name="T80" fmla="*/ 2147483647 w 7049"/>
              <a:gd name="T81" fmla="*/ 2147483647 h 2048"/>
              <a:gd name="T82" fmla="*/ 2147483647 w 7049"/>
              <a:gd name="T83" fmla="*/ 2147483647 h 2048"/>
              <a:gd name="T84" fmla="*/ 2147483647 w 7049"/>
              <a:gd name="T85" fmla="*/ 2147483647 h 2048"/>
              <a:gd name="T86" fmla="*/ 2147483647 w 7049"/>
              <a:gd name="T87" fmla="*/ 2147483647 h 2048"/>
              <a:gd name="T88" fmla="*/ 2147483647 w 7049"/>
              <a:gd name="T89" fmla="*/ 2147483647 h 2048"/>
              <a:gd name="T90" fmla="*/ 2147483647 w 7049"/>
              <a:gd name="T91" fmla="*/ 2147483647 h 2048"/>
              <a:gd name="T92" fmla="*/ 2147483647 w 7049"/>
              <a:gd name="T93" fmla="*/ 2147483647 h 2048"/>
              <a:gd name="T94" fmla="*/ 2147483647 w 7049"/>
              <a:gd name="T95" fmla="*/ 2147483647 h 2048"/>
              <a:gd name="T96" fmla="*/ 2147483647 w 7049"/>
              <a:gd name="T97" fmla="*/ 2147483647 h 2048"/>
              <a:gd name="T98" fmla="*/ 2147483647 w 7049"/>
              <a:gd name="T99" fmla="*/ 2147483647 h 2048"/>
              <a:gd name="T100" fmla="*/ 2147483647 w 7049"/>
              <a:gd name="T101" fmla="*/ 2147483647 h 2048"/>
              <a:gd name="T102" fmla="*/ 2147483647 w 7049"/>
              <a:gd name="T103" fmla="*/ 2147483647 h 2048"/>
              <a:gd name="T104" fmla="*/ 2147483647 w 7049"/>
              <a:gd name="T105" fmla="*/ 2147483647 h 2048"/>
              <a:gd name="T106" fmla="*/ 2147483647 w 7049"/>
              <a:gd name="T107" fmla="*/ 2147483647 h 2048"/>
              <a:gd name="T108" fmla="*/ 2147483647 w 7049"/>
              <a:gd name="T109" fmla="*/ 2147483647 h 2048"/>
              <a:gd name="T110" fmla="*/ 2147483647 w 7049"/>
              <a:gd name="T111" fmla="*/ 2147483647 h 2048"/>
              <a:gd name="T112" fmla="*/ 2147483647 w 7049"/>
              <a:gd name="T113" fmla="*/ 2147483647 h 2048"/>
              <a:gd name="T114" fmla="*/ 2147483647 w 7049"/>
              <a:gd name="T115" fmla="*/ 2147483647 h 2048"/>
              <a:gd name="T116" fmla="*/ 2147483647 w 7049"/>
              <a:gd name="T117" fmla="*/ 2147483647 h 2048"/>
              <a:gd name="T118" fmla="*/ 2147483647 w 7049"/>
              <a:gd name="T119" fmla="*/ 2147483647 h 2048"/>
              <a:gd name="T120" fmla="*/ 2147483647 w 7049"/>
              <a:gd name="T121" fmla="*/ 2147483647 h 2048"/>
              <a:gd name="T122" fmla="*/ 2147483647 w 7049"/>
              <a:gd name="T123" fmla="*/ 2147483647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7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963853" y="3238128"/>
            <a:ext cx="280987" cy="247650"/>
          </a:xfrm>
          <a:custGeom>
            <a:avLst/>
            <a:gdLst>
              <a:gd name="T0" fmla="*/ 2147483647 w 647"/>
              <a:gd name="T1" fmla="*/ 2147483647 h 470"/>
              <a:gd name="T2" fmla="*/ 2147483647 w 647"/>
              <a:gd name="T3" fmla="*/ 2147483647 h 470"/>
              <a:gd name="T4" fmla="*/ 2147483647 w 647"/>
              <a:gd name="T5" fmla="*/ 2147483647 h 470"/>
              <a:gd name="T6" fmla="*/ 2147483647 w 647"/>
              <a:gd name="T7" fmla="*/ 2147483647 h 470"/>
              <a:gd name="T8" fmla="*/ 2147483647 w 647"/>
              <a:gd name="T9" fmla="*/ 2147483647 h 470"/>
              <a:gd name="T10" fmla="*/ 2147483647 w 647"/>
              <a:gd name="T11" fmla="*/ 2147483647 h 470"/>
              <a:gd name="T12" fmla="*/ 2147483647 w 647"/>
              <a:gd name="T13" fmla="*/ 2147483647 h 470"/>
              <a:gd name="T14" fmla="*/ 2147483647 w 647"/>
              <a:gd name="T15" fmla="*/ 2147483647 h 470"/>
              <a:gd name="T16" fmla="*/ 2147483647 w 647"/>
              <a:gd name="T17" fmla="*/ 2147483647 h 470"/>
              <a:gd name="T18" fmla="*/ 2147483647 w 647"/>
              <a:gd name="T19" fmla="*/ 2147483647 h 470"/>
              <a:gd name="T20" fmla="*/ 2147483647 w 647"/>
              <a:gd name="T21" fmla="*/ 2147483647 h 470"/>
              <a:gd name="T22" fmla="*/ 2147483647 w 647"/>
              <a:gd name="T23" fmla="*/ 2147483647 h 470"/>
              <a:gd name="T24" fmla="*/ 2147483647 w 647"/>
              <a:gd name="T25" fmla="*/ 2147483647 h 470"/>
              <a:gd name="T26" fmla="*/ 2147483647 w 647"/>
              <a:gd name="T27" fmla="*/ 2147483647 h 470"/>
              <a:gd name="T28" fmla="*/ 2147483647 w 647"/>
              <a:gd name="T29" fmla="*/ 2147483647 h 470"/>
              <a:gd name="T30" fmla="*/ 2147483647 w 647"/>
              <a:gd name="T31" fmla="*/ 2147483647 h 470"/>
              <a:gd name="T32" fmla="*/ 2147483647 w 647"/>
              <a:gd name="T33" fmla="*/ 2147483647 h 470"/>
              <a:gd name="T34" fmla="*/ 2147483647 w 647"/>
              <a:gd name="T35" fmla="*/ 2147483647 h 470"/>
              <a:gd name="T36" fmla="*/ 2147483647 w 647"/>
              <a:gd name="T37" fmla="*/ 2147483647 h 470"/>
              <a:gd name="T38" fmla="*/ 2147483647 w 647"/>
              <a:gd name="T39" fmla="*/ 2147483647 h 470"/>
              <a:gd name="T40" fmla="*/ 2147483647 w 647"/>
              <a:gd name="T41" fmla="*/ 2147483647 h 470"/>
              <a:gd name="T42" fmla="*/ 2147483647 w 647"/>
              <a:gd name="T43" fmla="*/ 2147483647 h 470"/>
              <a:gd name="T44" fmla="*/ 2147483647 w 647"/>
              <a:gd name="T45" fmla="*/ 2147483647 h 470"/>
              <a:gd name="T46" fmla="*/ 2147483647 w 647"/>
              <a:gd name="T47" fmla="*/ 2147483647 h 470"/>
              <a:gd name="T48" fmla="*/ 2147483647 w 647"/>
              <a:gd name="T49" fmla="*/ 2147483647 h 470"/>
              <a:gd name="T50" fmla="*/ 2147483647 w 647"/>
              <a:gd name="T51" fmla="*/ 2147483647 h 470"/>
              <a:gd name="T52" fmla="*/ 2147483647 w 647"/>
              <a:gd name="T53" fmla="*/ 2147483647 h 470"/>
              <a:gd name="T54" fmla="*/ 2147483647 w 647"/>
              <a:gd name="T55" fmla="*/ 2147483647 h 470"/>
              <a:gd name="T56" fmla="*/ 2147483647 w 647"/>
              <a:gd name="T57" fmla="*/ 2147483647 h 470"/>
              <a:gd name="T58" fmla="*/ 2147483647 w 647"/>
              <a:gd name="T59" fmla="*/ 2147483647 h 470"/>
              <a:gd name="T60" fmla="*/ 2147483647 w 647"/>
              <a:gd name="T61" fmla="*/ 2147483647 h 470"/>
              <a:gd name="T62" fmla="*/ 2147483647 w 647"/>
              <a:gd name="T63" fmla="*/ 2147483647 h 470"/>
              <a:gd name="T64" fmla="*/ 2147483647 w 647"/>
              <a:gd name="T65" fmla="*/ 2147483647 h 470"/>
              <a:gd name="T66" fmla="*/ 2147483647 w 647"/>
              <a:gd name="T67" fmla="*/ 2147483647 h 470"/>
              <a:gd name="T68" fmla="*/ 2147483647 w 647"/>
              <a:gd name="T69" fmla="*/ 2147483647 h 470"/>
              <a:gd name="T70" fmla="*/ 2147483647 w 647"/>
              <a:gd name="T71" fmla="*/ 2147483647 h 470"/>
              <a:gd name="T72" fmla="*/ 2147483647 w 647"/>
              <a:gd name="T73" fmla="*/ 2147483647 h 470"/>
              <a:gd name="T74" fmla="*/ 2147483647 w 647"/>
              <a:gd name="T75" fmla="*/ 2147483647 h 470"/>
              <a:gd name="T76" fmla="*/ 2147483647 w 647"/>
              <a:gd name="T77" fmla="*/ 2147483647 h 470"/>
              <a:gd name="T78" fmla="*/ 2147483647 w 647"/>
              <a:gd name="T79" fmla="*/ 2147483647 h 470"/>
              <a:gd name="T80" fmla="*/ 2147483647 w 647"/>
              <a:gd name="T81" fmla="*/ 2147483647 h 470"/>
              <a:gd name="T82" fmla="*/ 2147483647 w 647"/>
              <a:gd name="T83" fmla="*/ 2147483647 h 470"/>
              <a:gd name="T84" fmla="*/ 2147483647 w 647"/>
              <a:gd name="T85" fmla="*/ 2147483647 h 470"/>
              <a:gd name="T86" fmla="*/ 2147483647 w 647"/>
              <a:gd name="T87" fmla="*/ 2147483647 h 470"/>
              <a:gd name="T88" fmla="*/ 2147483647 w 647"/>
              <a:gd name="T89" fmla="*/ 2147483647 h 470"/>
              <a:gd name="T90" fmla="*/ 2147483647 w 647"/>
              <a:gd name="T91" fmla="*/ 2147483647 h 470"/>
              <a:gd name="T92" fmla="*/ 0 w 647"/>
              <a:gd name="T93" fmla="*/ 2147483647 h 470"/>
              <a:gd name="T94" fmla="*/ 2147483647 w 647"/>
              <a:gd name="T95" fmla="*/ 2147483647 h 470"/>
              <a:gd name="T96" fmla="*/ 2147483647 w 647"/>
              <a:gd name="T97" fmla="*/ 2147483647 h 470"/>
              <a:gd name="T98" fmla="*/ 2147483647 w 647"/>
              <a:gd name="T99" fmla="*/ 2147483647 h 470"/>
              <a:gd name="T100" fmla="*/ 2147483647 w 647"/>
              <a:gd name="T101" fmla="*/ 0 h 470"/>
              <a:gd name="T102" fmla="*/ 2147483647 w 647"/>
              <a:gd name="T103" fmla="*/ 2147483647 h 470"/>
              <a:gd name="T104" fmla="*/ 2147483647 w 647"/>
              <a:gd name="T105" fmla="*/ 2147483647 h 470"/>
              <a:gd name="T106" fmla="*/ 2147483647 w 647"/>
              <a:gd name="T107" fmla="*/ 2147483647 h 470"/>
              <a:gd name="T108" fmla="*/ 2147483647 w 647"/>
              <a:gd name="T109" fmla="*/ 2147483647 h 470"/>
              <a:gd name="T110" fmla="*/ 2147483647 w 647"/>
              <a:gd name="T111" fmla="*/ 2147483647 h 470"/>
              <a:gd name="T112" fmla="*/ 2147483647 w 647"/>
              <a:gd name="T113" fmla="*/ 2147483647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68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595928" y="3976315"/>
            <a:ext cx="207962" cy="455613"/>
          </a:xfrm>
          <a:custGeom>
            <a:avLst/>
            <a:gdLst>
              <a:gd name="T0" fmla="*/ 2147483647 w 479"/>
              <a:gd name="T1" fmla="*/ 2147483647 h 868"/>
              <a:gd name="T2" fmla="*/ 2147483647 w 479"/>
              <a:gd name="T3" fmla="*/ 2147483647 h 868"/>
              <a:gd name="T4" fmla="*/ 2147483647 w 479"/>
              <a:gd name="T5" fmla="*/ 2147483647 h 868"/>
              <a:gd name="T6" fmla="*/ 2147483647 w 479"/>
              <a:gd name="T7" fmla="*/ 2147483647 h 868"/>
              <a:gd name="T8" fmla="*/ 2147483647 w 479"/>
              <a:gd name="T9" fmla="*/ 2147483647 h 868"/>
              <a:gd name="T10" fmla="*/ 2147483647 w 479"/>
              <a:gd name="T11" fmla="*/ 2147483647 h 868"/>
              <a:gd name="T12" fmla="*/ 2147483647 w 479"/>
              <a:gd name="T13" fmla="*/ 2147483647 h 868"/>
              <a:gd name="T14" fmla="*/ 2147483647 w 479"/>
              <a:gd name="T15" fmla="*/ 2147483647 h 868"/>
              <a:gd name="T16" fmla="*/ 2147483647 w 479"/>
              <a:gd name="T17" fmla="*/ 2147483647 h 868"/>
              <a:gd name="T18" fmla="*/ 2147483647 w 479"/>
              <a:gd name="T19" fmla="*/ 2147483647 h 868"/>
              <a:gd name="T20" fmla="*/ 2147483647 w 479"/>
              <a:gd name="T21" fmla="*/ 2147483647 h 868"/>
              <a:gd name="T22" fmla="*/ 2147483647 w 479"/>
              <a:gd name="T23" fmla="*/ 2147483647 h 868"/>
              <a:gd name="T24" fmla="*/ 2147483647 w 479"/>
              <a:gd name="T25" fmla="*/ 2147483647 h 868"/>
              <a:gd name="T26" fmla="*/ 2147483647 w 479"/>
              <a:gd name="T27" fmla="*/ 2147483647 h 868"/>
              <a:gd name="T28" fmla="*/ 2147483647 w 479"/>
              <a:gd name="T29" fmla="*/ 2147483647 h 868"/>
              <a:gd name="T30" fmla="*/ 2147483647 w 479"/>
              <a:gd name="T31" fmla="*/ 2147483647 h 868"/>
              <a:gd name="T32" fmla="*/ 2147483647 w 479"/>
              <a:gd name="T33" fmla="*/ 2147483647 h 868"/>
              <a:gd name="T34" fmla="*/ 2147483647 w 479"/>
              <a:gd name="T35" fmla="*/ 2147483647 h 868"/>
              <a:gd name="T36" fmla="*/ 2147483647 w 479"/>
              <a:gd name="T37" fmla="*/ 2147483647 h 868"/>
              <a:gd name="T38" fmla="*/ 2147483647 w 479"/>
              <a:gd name="T39" fmla="*/ 2147483647 h 868"/>
              <a:gd name="T40" fmla="*/ 2147483647 w 479"/>
              <a:gd name="T41" fmla="*/ 2147483647 h 868"/>
              <a:gd name="T42" fmla="*/ 2147483647 w 479"/>
              <a:gd name="T43" fmla="*/ 2147483647 h 868"/>
              <a:gd name="T44" fmla="*/ 2147483647 w 479"/>
              <a:gd name="T45" fmla="*/ 2147483647 h 868"/>
              <a:gd name="T46" fmla="*/ 2147483647 w 479"/>
              <a:gd name="T47" fmla="*/ 2147483647 h 868"/>
              <a:gd name="T48" fmla="*/ 2147483647 w 479"/>
              <a:gd name="T49" fmla="*/ 2147483647 h 868"/>
              <a:gd name="T50" fmla="*/ 2147483647 w 479"/>
              <a:gd name="T51" fmla="*/ 2147483647 h 868"/>
              <a:gd name="T52" fmla="*/ 2147483647 w 479"/>
              <a:gd name="T53" fmla="*/ 2147483647 h 868"/>
              <a:gd name="T54" fmla="*/ 2147483647 w 479"/>
              <a:gd name="T55" fmla="*/ 2147483647 h 868"/>
              <a:gd name="T56" fmla="*/ 2147483647 w 479"/>
              <a:gd name="T57" fmla="*/ 2147483647 h 868"/>
              <a:gd name="T58" fmla="*/ 2147483647 w 479"/>
              <a:gd name="T59" fmla="*/ 2147483647 h 868"/>
              <a:gd name="T60" fmla="*/ 2147483647 w 479"/>
              <a:gd name="T61" fmla="*/ 2147483647 h 868"/>
              <a:gd name="T62" fmla="*/ 2147483647 w 479"/>
              <a:gd name="T63" fmla="*/ 2147483647 h 868"/>
              <a:gd name="T64" fmla="*/ 2147483647 w 479"/>
              <a:gd name="T65" fmla="*/ 2147483647 h 868"/>
              <a:gd name="T66" fmla="*/ 2147483647 w 479"/>
              <a:gd name="T67" fmla="*/ 2147483647 h 868"/>
              <a:gd name="T68" fmla="*/ 2147483647 w 479"/>
              <a:gd name="T69" fmla="*/ 2147483647 h 868"/>
              <a:gd name="T70" fmla="*/ 2147483647 w 479"/>
              <a:gd name="T71" fmla="*/ 2147483647 h 868"/>
              <a:gd name="T72" fmla="*/ 2147483647 w 479"/>
              <a:gd name="T73" fmla="*/ 2147483647 h 868"/>
              <a:gd name="T74" fmla="*/ 2147483647 w 479"/>
              <a:gd name="T75" fmla="*/ 2147483647 h 868"/>
              <a:gd name="T76" fmla="*/ 2147483647 w 479"/>
              <a:gd name="T77" fmla="*/ 2147483647 h 868"/>
              <a:gd name="T78" fmla="*/ 2147483647 w 479"/>
              <a:gd name="T79" fmla="*/ 2147483647 h 868"/>
              <a:gd name="T80" fmla="*/ 2147483647 w 479"/>
              <a:gd name="T81" fmla="*/ 2147483647 h 868"/>
              <a:gd name="T82" fmla="*/ 2147483647 w 479"/>
              <a:gd name="T83" fmla="*/ 0 h 868"/>
              <a:gd name="T84" fmla="*/ 2147483647 w 479"/>
              <a:gd name="T85" fmla="*/ 2147483647 h 868"/>
              <a:gd name="T86" fmla="*/ 2147483647 w 479"/>
              <a:gd name="T87" fmla="*/ 2147483647 h 868"/>
              <a:gd name="T88" fmla="*/ 2147483647 w 479"/>
              <a:gd name="T89" fmla="*/ 2147483647 h 868"/>
              <a:gd name="T90" fmla="*/ 2147483647 w 479"/>
              <a:gd name="T91" fmla="*/ 2147483647 h 868"/>
              <a:gd name="T92" fmla="*/ 2147483647 w 479"/>
              <a:gd name="T93" fmla="*/ 2147483647 h 868"/>
              <a:gd name="T94" fmla="*/ 2147483647 w 479"/>
              <a:gd name="T95" fmla="*/ 2147483647 h 868"/>
              <a:gd name="T96" fmla="*/ 2147483647 w 479"/>
              <a:gd name="T97" fmla="*/ 2147483647 h 868"/>
              <a:gd name="T98" fmla="*/ 2147483647 w 479"/>
              <a:gd name="T99" fmla="*/ 2147483647 h 868"/>
              <a:gd name="T100" fmla="*/ 2147483647 w 479"/>
              <a:gd name="T101" fmla="*/ 2147483647 h 868"/>
              <a:gd name="T102" fmla="*/ 2147483647 w 479"/>
              <a:gd name="T103" fmla="*/ 2147483647 h 868"/>
              <a:gd name="T104" fmla="*/ 2147483647 w 479"/>
              <a:gd name="T105" fmla="*/ 2147483647 h 868"/>
              <a:gd name="T106" fmla="*/ 2147483647 w 479"/>
              <a:gd name="T107" fmla="*/ 2147483647 h 868"/>
              <a:gd name="T108" fmla="*/ 2147483647 w 479"/>
              <a:gd name="T109" fmla="*/ 2147483647 h 868"/>
              <a:gd name="T110" fmla="*/ 2147483647 w 479"/>
              <a:gd name="T111" fmla="*/ 2147483647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9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704965" y="6363915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0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166678" y="328575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71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169853" y="3282578"/>
            <a:ext cx="3175" cy="55562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2147483647 h 24"/>
              <a:gd name="T4" fmla="*/ 2147483647 w 6"/>
              <a:gd name="T5" fmla="*/ 2147483647 h 24"/>
              <a:gd name="T6" fmla="*/ 2147483647 w 6"/>
              <a:gd name="T7" fmla="*/ 2147483647 h 24"/>
              <a:gd name="T8" fmla="*/ 2147483647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2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146040" y="3336553"/>
            <a:ext cx="23813" cy="57150"/>
          </a:xfrm>
          <a:custGeom>
            <a:avLst/>
            <a:gdLst>
              <a:gd name="T0" fmla="*/ 0 w 47"/>
              <a:gd name="T1" fmla="*/ 2147483647 h 67"/>
              <a:gd name="T2" fmla="*/ 0 w 47"/>
              <a:gd name="T3" fmla="*/ 2147483647 h 67"/>
              <a:gd name="T4" fmla="*/ 2147483647 w 47"/>
              <a:gd name="T5" fmla="*/ 2147483647 h 67"/>
              <a:gd name="T6" fmla="*/ 2147483647 w 47"/>
              <a:gd name="T7" fmla="*/ 2147483647 h 67"/>
              <a:gd name="T8" fmla="*/ 2147483647 w 47"/>
              <a:gd name="T9" fmla="*/ 2147483647 h 67"/>
              <a:gd name="T10" fmla="*/ 2147483647 w 47"/>
              <a:gd name="T11" fmla="*/ 2147483647 h 67"/>
              <a:gd name="T12" fmla="*/ 2147483647 w 47"/>
              <a:gd name="T13" fmla="*/ 2147483647 h 67"/>
              <a:gd name="T14" fmla="*/ 2147483647 w 47"/>
              <a:gd name="T15" fmla="*/ 2147483647 h 67"/>
              <a:gd name="T16" fmla="*/ 2147483647 w 47"/>
              <a:gd name="T17" fmla="*/ 0 h 67"/>
              <a:gd name="T18" fmla="*/ 2147483647 w 47"/>
              <a:gd name="T19" fmla="*/ 2147483647 h 67"/>
              <a:gd name="T20" fmla="*/ 2147483647 w 47"/>
              <a:gd name="T21" fmla="*/ 2147483647 h 67"/>
              <a:gd name="T22" fmla="*/ 2147483647 w 47"/>
              <a:gd name="T23" fmla="*/ 2147483647 h 67"/>
              <a:gd name="T24" fmla="*/ 2147483647 w 47"/>
              <a:gd name="T25" fmla="*/ 2147483647 h 67"/>
              <a:gd name="T26" fmla="*/ 2147483647 w 47"/>
              <a:gd name="T27" fmla="*/ 2147483647 h 67"/>
              <a:gd name="T28" fmla="*/ 2147483647 w 47"/>
              <a:gd name="T29" fmla="*/ 2147483647 h 67"/>
              <a:gd name="T30" fmla="*/ 0 w 47"/>
              <a:gd name="T31" fmla="*/ 2147483647 h 67"/>
              <a:gd name="T32" fmla="*/ 0 w 47"/>
              <a:gd name="T33" fmla="*/ 2147483647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3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471603" y="3331790"/>
            <a:ext cx="49212" cy="57150"/>
          </a:xfrm>
          <a:custGeom>
            <a:avLst/>
            <a:gdLst>
              <a:gd name="T0" fmla="*/ 0 w 112"/>
              <a:gd name="T1" fmla="*/ 2147483647 h 36"/>
              <a:gd name="T2" fmla="*/ 2147483647 w 112"/>
              <a:gd name="T3" fmla="*/ 2147483647 h 36"/>
              <a:gd name="T4" fmla="*/ 2147483647 w 112"/>
              <a:gd name="T5" fmla="*/ 2147483647 h 36"/>
              <a:gd name="T6" fmla="*/ 2147483647 w 112"/>
              <a:gd name="T7" fmla="*/ 2147483647 h 36"/>
              <a:gd name="T8" fmla="*/ 2147483647 w 112"/>
              <a:gd name="T9" fmla="*/ 2147483647 h 36"/>
              <a:gd name="T10" fmla="*/ 2147483647 w 112"/>
              <a:gd name="T11" fmla="*/ 2147483647 h 36"/>
              <a:gd name="T12" fmla="*/ 2147483647 w 112"/>
              <a:gd name="T13" fmla="*/ 2147483647 h 36"/>
              <a:gd name="T14" fmla="*/ 2147483647 w 112"/>
              <a:gd name="T15" fmla="*/ 2147483647 h 36"/>
              <a:gd name="T16" fmla="*/ 2147483647 w 112"/>
              <a:gd name="T17" fmla="*/ 2147483647 h 36"/>
              <a:gd name="T18" fmla="*/ 2147483647 w 112"/>
              <a:gd name="T19" fmla="*/ 2147483647 h 36"/>
              <a:gd name="T20" fmla="*/ 2147483647 w 112"/>
              <a:gd name="T21" fmla="*/ 2147483647 h 36"/>
              <a:gd name="T22" fmla="*/ 2147483647 w 112"/>
              <a:gd name="T23" fmla="*/ 0 h 36"/>
              <a:gd name="T24" fmla="*/ 2147483647 w 112"/>
              <a:gd name="T25" fmla="*/ 0 h 36"/>
              <a:gd name="T26" fmla="*/ 2147483647 w 112"/>
              <a:gd name="T27" fmla="*/ 2147483647 h 36"/>
              <a:gd name="T28" fmla="*/ 2147483647 w 112"/>
              <a:gd name="T29" fmla="*/ 2147483647 h 36"/>
              <a:gd name="T30" fmla="*/ 2147483647 w 112"/>
              <a:gd name="T31" fmla="*/ 2147483647 h 36"/>
              <a:gd name="T32" fmla="*/ 2147483647 w 112"/>
              <a:gd name="T33" fmla="*/ 2147483647 h 36"/>
              <a:gd name="T34" fmla="*/ 2147483647 w 112"/>
              <a:gd name="T35" fmla="*/ 2147483647 h 36"/>
              <a:gd name="T36" fmla="*/ 2147483647 w 112"/>
              <a:gd name="T37" fmla="*/ 2147483647 h 36"/>
              <a:gd name="T38" fmla="*/ 2147483647 w 112"/>
              <a:gd name="T39" fmla="*/ 2147483647 h 36"/>
              <a:gd name="T40" fmla="*/ 2147483647 w 112"/>
              <a:gd name="T41" fmla="*/ 2147483647 h 36"/>
              <a:gd name="T42" fmla="*/ 2147483647 w 112"/>
              <a:gd name="T43" fmla="*/ 2147483647 h 36"/>
              <a:gd name="T44" fmla="*/ 2147483647 w 112"/>
              <a:gd name="T45" fmla="*/ 2147483647 h 36"/>
              <a:gd name="T46" fmla="*/ 0 w 112"/>
              <a:gd name="T47" fmla="*/ 2147483647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4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210040" y="2888878"/>
            <a:ext cx="874713" cy="452437"/>
          </a:xfrm>
          <a:custGeom>
            <a:avLst/>
            <a:gdLst>
              <a:gd name="T0" fmla="*/ 2147483647 w 2006"/>
              <a:gd name="T1" fmla="*/ 2147483647 h 863"/>
              <a:gd name="T2" fmla="*/ 2147483647 w 2006"/>
              <a:gd name="T3" fmla="*/ 2147483647 h 863"/>
              <a:gd name="T4" fmla="*/ 2147483647 w 2006"/>
              <a:gd name="T5" fmla="*/ 2147483647 h 863"/>
              <a:gd name="T6" fmla="*/ 2147483647 w 2006"/>
              <a:gd name="T7" fmla="*/ 2147483647 h 863"/>
              <a:gd name="T8" fmla="*/ 2147483647 w 2006"/>
              <a:gd name="T9" fmla="*/ 2147483647 h 863"/>
              <a:gd name="T10" fmla="*/ 2147483647 w 2006"/>
              <a:gd name="T11" fmla="*/ 2147483647 h 863"/>
              <a:gd name="T12" fmla="*/ 2147483647 w 2006"/>
              <a:gd name="T13" fmla="*/ 2147483647 h 863"/>
              <a:gd name="T14" fmla="*/ 2147483647 w 2006"/>
              <a:gd name="T15" fmla="*/ 2147483647 h 863"/>
              <a:gd name="T16" fmla="*/ 2147483647 w 2006"/>
              <a:gd name="T17" fmla="*/ 2147483647 h 863"/>
              <a:gd name="T18" fmla="*/ 2147483647 w 2006"/>
              <a:gd name="T19" fmla="*/ 2147483647 h 863"/>
              <a:gd name="T20" fmla="*/ 2147483647 w 2006"/>
              <a:gd name="T21" fmla="*/ 2147483647 h 863"/>
              <a:gd name="T22" fmla="*/ 2147483647 w 2006"/>
              <a:gd name="T23" fmla="*/ 2147483647 h 863"/>
              <a:gd name="T24" fmla="*/ 2147483647 w 2006"/>
              <a:gd name="T25" fmla="*/ 2147483647 h 863"/>
              <a:gd name="T26" fmla="*/ 2147483647 w 2006"/>
              <a:gd name="T27" fmla="*/ 2147483647 h 863"/>
              <a:gd name="T28" fmla="*/ 2147483647 w 2006"/>
              <a:gd name="T29" fmla="*/ 2147483647 h 863"/>
              <a:gd name="T30" fmla="*/ 2147483647 w 2006"/>
              <a:gd name="T31" fmla="*/ 2147483647 h 863"/>
              <a:gd name="T32" fmla="*/ 2147483647 w 2006"/>
              <a:gd name="T33" fmla="*/ 2147483647 h 863"/>
              <a:gd name="T34" fmla="*/ 2147483647 w 2006"/>
              <a:gd name="T35" fmla="*/ 2147483647 h 863"/>
              <a:gd name="T36" fmla="*/ 2147483647 w 2006"/>
              <a:gd name="T37" fmla="*/ 2147483647 h 863"/>
              <a:gd name="T38" fmla="*/ 2147483647 w 2006"/>
              <a:gd name="T39" fmla="*/ 2147483647 h 863"/>
              <a:gd name="T40" fmla="*/ 2147483647 w 2006"/>
              <a:gd name="T41" fmla="*/ 2147483647 h 863"/>
              <a:gd name="T42" fmla="*/ 2147483647 w 2006"/>
              <a:gd name="T43" fmla="*/ 2147483647 h 863"/>
              <a:gd name="T44" fmla="*/ 2147483647 w 2006"/>
              <a:gd name="T45" fmla="*/ 2147483647 h 863"/>
              <a:gd name="T46" fmla="*/ 2147483647 w 2006"/>
              <a:gd name="T47" fmla="*/ 2147483647 h 863"/>
              <a:gd name="T48" fmla="*/ 2147483647 w 2006"/>
              <a:gd name="T49" fmla="*/ 2147483647 h 863"/>
              <a:gd name="T50" fmla="*/ 2147483647 w 2006"/>
              <a:gd name="T51" fmla="*/ 2147483647 h 863"/>
              <a:gd name="T52" fmla="*/ 2147483647 w 2006"/>
              <a:gd name="T53" fmla="*/ 2147483647 h 863"/>
              <a:gd name="T54" fmla="*/ 2147483647 w 2006"/>
              <a:gd name="T55" fmla="*/ 2147483647 h 863"/>
              <a:gd name="T56" fmla="*/ 2147483647 w 2006"/>
              <a:gd name="T57" fmla="*/ 2147483647 h 863"/>
              <a:gd name="T58" fmla="*/ 2147483647 w 2006"/>
              <a:gd name="T59" fmla="*/ 2147483647 h 863"/>
              <a:gd name="T60" fmla="*/ 2147483647 w 2006"/>
              <a:gd name="T61" fmla="*/ 2147483647 h 863"/>
              <a:gd name="T62" fmla="*/ 2147483647 w 2006"/>
              <a:gd name="T63" fmla="*/ 2147483647 h 863"/>
              <a:gd name="T64" fmla="*/ 2147483647 w 2006"/>
              <a:gd name="T65" fmla="*/ 2147483647 h 863"/>
              <a:gd name="T66" fmla="*/ 2147483647 w 2006"/>
              <a:gd name="T67" fmla="*/ 2147483647 h 863"/>
              <a:gd name="T68" fmla="*/ 2147483647 w 2006"/>
              <a:gd name="T69" fmla="*/ 2147483647 h 863"/>
              <a:gd name="T70" fmla="*/ 2147483647 w 2006"/>
              <a:gd name="T71" fmla="*/ 2147483647 h 863"/>
              <a:gd name="T72" fmla="*/ 2147483647 w 2006"/>
              <a:gd name="T73" fmla="*/ 2147483647 h 863"/>
              <a:gd name="T74" fmla="*/ 2147483647 w 2006"/>
              <a:gd name="T75" fmla="*/ 2147483647 h 863"/>
              <a:gd name="T76" fmla="*/ 2147483647 w 2006"/>
              <a:gd name="T77" fmla="*/ 2147483647 h 863"/>
              <a:gd name="T78" fmla="*/ 2147483647 w 2006"/>
              <a:gd name="T79" fmla="*/ 2147483647 h 863"/>
              <a:gd name="T80" fmla="*/ 2147483647 w 2006"/>
              <a:gd name="T81" fmla="*/ 2147483647 h 863"/>
              <a:gd name="T82" fmla="*/ 2147483647 w 2006"/>
              <a:gd name="T83" fmla="*/ 2147483647 h 863"/>
              <a:gd name="T84" fmla="*/ 2147483647 w 2006"/>
              <a:gd name="T85" fmla="*/ 2147483647 h 863"/>
              <a:gd name="T86" fmla="*/ 2147483647 w 2006"/>
              <a:gd name="T87" fmla="*/ 2147483647 h 863"/>
              <a:gd name="T88" fmla="*/ 2147483647 w 2006"/>
              <a:gd name="T89" fmla="*/ 2147483647 h 863"/>
              <a:gd name="T90" fmla="*/ 2147483647 w 2006"/>
              <a:gd name="T91" fmla="*/ 2147483647 h 863"/>
              <a:gd name="T92" fmla="*/ 2147483647 w 2006"/>
              <a:gd name="T93" fmla="*/ 2147483647 h 863"/>
              <a:gd name="T94" fmla="*/ 2147483647 w 2006"/>
              <a:gd name="T95" fmla="*/ 2147483647 h 863"/>
              <a:gd name="T96" fmla="*/ 2147483647 w 2006"/>
              <a:gd name="T97" fmla="*/ 2147483647 h 863"/>
              <a:gd name="T98" fmla="*/ 2147483647 w 2006"/>
              <a:gd name="T99" fmla="*/ 2147483647 h 863"/>
              <a:gd name="T100" fmla="*/ 2147483647 w 2006"/>
              <a:gd name="T101" fmla="*/ 2147483647 h 863"/>
              <a:gd name="T102" fmla="*/ 2147483647 w 2006"/>
              <a:gd name="T103" fmla="*/ 2147483647 h 863"/>
              <a:gd name="T104" fmla="*/ 2147483647 w 2006"/>
              <a:gd name="T105" fmla="*/ 2147483647 h 863"/>
              <a:gd name="T106" fmla="*/ 2147483647 w 2006"/>
              <a:gd name="T107" fmla="*/ 2147483647 h 863"/>
              <a:gd name="T108" fmla="*/ 2147483647 w 2006"/>
              <a:gd name="T109" fmla="*/ 2147483647 h 863"/>
              <a:gd name="T110" fmla="*/ 2147483647 w 2006"/>
              <a:gd name="T111" fmla="*/ 2147483647 h 863"/>
              <a:gd name="T112" fmla="*/ 2147483647 w 2006"/>
              <a:gd name="T113" fmla="*/ 2147483647 h 863"/>
              <a:gd name="T114" fmla="*/ 2147483647 w 2006"/>
              <a:gd name="T115" fmla="*/ 2147483647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5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440228" y="3192090"/>
            <a:ext cx="409575" cy="249238"/>
          </a:xfrm>
          <a:custGeom>
            <a:avLst/>
            <a:gdLst>
              <a:gd name="T0" fmla="*/ 2147483647 w 950"/>
              <a:gd name="T1" fmla="*/ 2147483647 h 468"/>
              <a:gd name="T2" fmla="*/ 2147483647 w 950"/>
              <a:gd name="T3" fmla="*/ 2147483647 h 468"/>
              <a:gd name="T4" fmla="*/ 2147483647 w 950"/>
              <a:gd name="T5" fmla="*/ 2147483647 h 468"/>
              <a:gd name="T6" fmla="*/ 2147483647 w 950"/>
              <a:gd name="T7" fmla="*/ 2147483647 h 468"/>
              <a:gd name="T8" fmla="*/ 2147483647 w 950"/>
              <a:gd name="T9" fmla="*/ 2147483647 h 468"/>
              <a:gd name="T10" fmla="*/ 2147483647 w 950"/>
              <a:gd name="T11" fmla="*/ 2147483647 h 468"/>
              <a:gd name="T12" fmla="*/ 2147483647 w 950"/>
              <a:gd name="T13" fmla="*/ 2147483647 h 468"/>
              <a:gd name="T14" fmla="*/ 2147483647 w 950"/>
              <a:gd name="T15" fmla="*/ 2147483647 h 468"/>
              <a:gd name="T16" fmla="*/ 2147483647 w 950"/>
              <a:gd name="T17" fmla="*/ 2147483647 h 468"/>
              <a:gd name="T18" fmla="*/ 2147483647 w 950"/>
              <a:gd name="T19" fmla="*/ 2147483647 h 468"/>
              <a:gd name="T20" fmla="*/ 0 w 950"/>
              <a:gd name="T21" fmla="*/ 2147483647 h 468"/>
              <a:gd name="T22" fmla="*/ 2147483647 w 950"/>
              <a:gd name="T23" fmla="*/ 2147483647 h 468"/>
              <a:gd name="T24" fmla="*/ 2147483647 w 950"/>
              <a:gd name="T25" fmla="*/ 2147483647 h 468"/>
              <a:gd name="T26" fmla="*/ 2147483647 w 950"/>
              <a:gd name="T27" fmla="*/ 2147483647 h 468"/>
              <a:gd name="T28" fmla="*/ 2147483647 w 950"/>
              <a:gd name="T29" fmla="*/ 2147483647 h 468"/>
              <a:gd name="T30" fmla="*/ 2147483647 w 950"/>
              <a:gd name="T31" fmla="*/ 2147483647 h 468"/>
              <a:gd name="T32" fmla="*/ 2147483647 w 950"/>
              <a:gd name="T33" fmla="*/ 2147483647 h 468"/>
              <a:gd name="T34" fmla="*/ 2147483647 w 950"/>
              <a:gd name="T35" fmla="*/ 2147483647 h 468"/>
              <a:gd name="T36" fmla="*/ 2147483647 w 950"/>
              <a:gd name="T37" fmla="*/ 2147483647 h 468"/>
              <a:gd name="T38" fmla="*/ 2147483647 w 950"/>
              <a:gd name="T39" fmla="*/ 2147483647 h 468"/>
              <a:gd name="T40" fmla="*/ 2147483647 w 950"/>
              <a:gd name="T41" fmla="*/ 2147483647 h 468"/>
              <a:gd name="T42" fmla="*/ 2147483647 w 950"/>
              <a:gd name="T43" fmla="*/ 2147483647 h 468"/>
              <a:gd name="T44" fmla="*/ 2147483647 w 950"/>
              <a:gd name="T45" fmla="*/ 2147483647 h 468"/>
              <a:gd name="T46" fmla="*/ 2147483647 w 950"/>
              <a:gd name="T47" fmla="*/ 2147483647 h 468"/>
              <a:gd name="T48" fmla="*/ 2147483647 w 950"/>
              <a:gd name="T49" fmla="*/ 2147483647 h 468"/>
              <a:gd name="T50" fmla="*/ 2147483647 w 950"/>
              <a:gd name="T51" fmla="*/ 2147483647 h 468"/>
              <a:gd name="T52" fmla="*/ 2147483647 w 950"/>
              <a:gd name="T53" fmla="*/ 2147483647 h 468"/>
              <a:gd name="T54" fmla="*/ 2147483647 w 950"/>
              <a:gd name="T55" fmla="*/ 2147483647 h 468"/>
              <a:gd name="T56" fmla="*/ 2147483647 w 950"/>
              <a:gd name="T57" fmla="*/ 2147483647 h 468"/>
              <a:gd name="T58" fmla="*/ 2147483647 w 950"/>
              <a:gd name="T59" fmla="*/ 2147483647 h 468"/>
              <a:gd name="T60" fmla="*/ 2147483647 w 950"/>
              <a:gd name="T61" fmla="*/ 2147483647 h 468"/>
              <a:gd name="T62" fmla="*/ 2147483647 w 950"/>
              <a:gd name="T63" fmla="*/ 2147483647 h 468"/>
              <a:gd name="T64" fmla="*/ 2147483647 w 950"/>
              <a:gd name="T65" fmla="*/ 2147483647 h 468"/>
              <a:gd name="T66" fmla="*/ 2147483647 w 950"/>
              <a:gd name="T67" fmla="*/ 2147483647 h 468"/>
              <a:gd name="T68" fmla="*/ 2147483647 w 950"/>
              <a:gd name="T69" fmla="*/ 2147483647 h 468"/>
              <a:gd name="T70" fmla="*/ 2147483647 w 950"/>
              <a:gd name="T71" fmla="*/ 2147483647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6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248015" y="4195390"/>
            <a:ext cx="296863" cy="288925"/>
          </a:xfrm>
          <a:custGeom>
            <a:avLst/>
            <a:gdLst>
              <a:gd name="T0" fmla="*/ 2147483647 w 671"/>
              <a:gd name="T1" fmla="*/ 2147483647 h 549"/>
              <a:gd name="T2" fmla="*/ 2147483647 w 671"/>
              <a:gd name="T3" fmla="*/ 2147483647 h 549"/>
              <a:gd name="T4" fmla="*/ 2147483647 w 671"/>
              <a:gd name="T5" fmla="*/ 2147483647 h 549"/>
              <a:gd name="T6" fmla="*/ 2147483647 w 671"/>
              <a:gd name="T7" fmla="*/ 2147483647 h 549"/>
              <a:gd name="T8" fmla="*/ 2147483647 w 671"/>
              <a:gd name="T9" fmla="*/ 2147483647 h 549"/>
              <a:gd name="T10" fmla="*/ 2147483647 w 671"/>
              <a:gd name="T11" fmla="*/ 2147483647 h 549"/>
              <a:gd name="T12" fmla="*/ 2147483647 w 671"/>
              <a:gd name="T13" fmla="*/ 2147483647 h 549"/>
              <a:gd name="T14" fmla="*/ 2147483647 w 671"/>
              <a:gd name="T15" fmla="*/ 2147483647 h 549"/>
              <a:gd name="T16" fmla="*/ 2147483647 w 671"/>
              <a:gd name="T17" fmla="*/ 2147483647 h 549"/>
              <a:gd name="T18" fmla="*/ 2147483647 w 671"/>
              <a:gd name="T19" fmla="*/ 2147483647 h 549"/>
              <a:gd name="T20" fmla="*/ 2147483647 w 671"/>
              <a:gd name="T21" fmla="*/ 2147483647 h 549"/>
              <a:gd name="T22" fmla="*/ 2147483647 w 671"/>
              <a:gd name="T23" fmla="*/ 2147483647 h 549"/>
              <a:gd name="T24" fmla="*/ 2147483647 w 671"/>
              <a:gd name="T25" fmla="*/ 0 h 549"/>
              <a:gd name="T26" fmla="*/ 2147483647 w 671"/>
              <a:gd name="T27" fmla="*/ 2147483647 h 549"/>
              <a:gd name="T28" fmla="*/ 2147483647 w 671"/>
              <a:gd name="T29" fmla="*/ 2147483647 h 549"/>
              <a:gd name="T30" fmla="*/ 2147483647 w 671"/>
              <a:gd name="T31" fmla="*/ 2147483647 h 549"/>
              <a:gd name="T32" fmla="*/ 2147483647 w 671"/>
              <a:gd name="T33" fmla="*/ 2147483647 h 549"/>
              <a:gd name="T34" fmla="*/ 2147483647 w 671"/>
              <a:gd name="T35" fmla="*/ 2147483647 h 549"/>
              <a:gd name="T36" fmla="*/ 2147483647 w 671"/>
              <a:gd name="T37" fmla="*/ 2147483647 h 549"/>
              <a:gd name="T38" fmla="*/ 2147483647 w 671"/>
              <a:gd name="T39" fmla="*/ 2147483647 h 549"/>
              <a:gd name="T40" fmla="*/ 2147483647 w 671"/>
              <a:gd name="T41" fmla="*/ 2147483647 h 549"/>
              <a:gd name="T42" fmla="*/ 2147483647 w 671"/>
              <a:gd name="T43" fmla="*/ 2147483647 h 549"/>
              <a:gd name="T44" fmla="*/ 2147483647 w 671"/>
              <a:gd name="T45" fmla="*/ 2147483647 h 549"/>
              <a:gd name="T46" fmla="*/ 2147483647 w 671"/>
              <a:gd name="T47" fmla="*/ 2147483647 h 549"/>
              <a:gd name="T48" fmla="*/ 2147483647 w 671"/>
              <a:gd name="T49" fmla="*/ 2147483647 h 549"/>
              <a:gd name="T50" fmla="*/ 2147483647 w 671"/>
              <a:gd name="T51" fmla="*/ 2147483647 h 549"/>
              <a:gd name="T52" fmla="*/ 2147483647 w 671"/>
              <a:gd name="T53" fmla="*/ 2147483647 h 549"/>
              <a:gd name="T54" fmla="*/ 2147483647 w 671"/>
              <a:gd name="T55" fmla="*/ 2147483647 h 549"/>
              <a:gd name="T56" fmla="*/ 2147483647 w 671"/>
              <a:gd name="T57" fmla="*/ 2147483647 h 549"/>
              <a:gd name="T58" fmla="*/ 2147483647 w 671"/>
              <a:gd name="T59" fmla="*/ 2147483647 h 549"/>
              <a:gd name="T60" fmla="*/ 2147483647 w 671"/>
              <a:gd name="T61" fmla="*/ 2147483647 h 549"/>
              <a:gd name="T62" fmla="*/ 2147483647 w 671"/>
              <a:gd name="T63" fmla="*/ 2147483647 h 549"/>
              <a:gd name="T64" fmla="*/ 2147483647 w 671"/>
              <a:gd name="T65" fmla="*/ 2147483647 h 549"/>
              <a:gd name="T66" fmla="*/ 2147483647 w 671"/>
              <a:gd name="T67" fmla="*/ 2147483647 h 549"/>
              <a:gd name="T68" fmla="*/ 2147483647 w 671"/>
              <a:gd name="T69" fmla="*/ 2147483647 h 549"/>
              <a:gd name="T70" fmla="*/ 2147483647 w 671"/>
              <a:gd name="T71" fmla="*/ 2147483647 h 549"/>
              <a:gd name="T72" fmla="*/ 2147483647 w 671"/>
              <a:gd name="T73" fmla="*/ 2147483647 h 549"/>
              <a:gd name="T74" fmla="*/ 2147483647 w 671"/>
              <a:gd name="T75" fmla="*/ 2147483647 h 549"/>
              <a:gd name="T76" fmla="*/ 2147483647 w 671"/>
              <a:gd name="T77" fmla="*/ 2147483647 h 549"/>
              <a:gd name="T78" fmla="*/ 2147483647 w 671"/>
              <a:gd name="T79" fmla="*/ 2147483647 h 549"/>
              <a:gd name="T80" fmla="*/ 2147483647 w 671"/>
              <a:gd name="T81" fmla="*/ 2147483647 h 549"/>
              <a:gd name="T82" fmla="*/ 2147483647 w 671"/>
              <a:gd name="T83" fmla="*/ 2147483647 h 549"/>
              <a:gd name="T84" fmla="*/ 2147483647 w 671"/>
              <a:gd name="T85" fmla="*/ 2147483647 h 549"/>
              <a:gd name="T86" fmla="*/ 2147483647 w 671"/>
              <a:gd name="T87" fmla="*/ 2147483647 h 549"/>
              <a:gd name="T88" fmla="*/ 2147483647 w 671"/>
              <a:gd name="T89" fmla="*/ 2147483647 h 549"/>
              <a:gd name="T90" fmla="*/ 2147483647 w 671"/>
              <a:gd name="T91" fmla="*/ 2147483647 h 549"/>
              <a:gd name="T92" fmla="*/ 2147483647 w 671"/>
              <a:gd name="T93" fmla="*/ 2147483647 h 549"/>
              <a:gd name="T94" fmla="*/ 2147483647 w 671"/>
              <a:gd name="T95" fmla="*/ 2147483647 h 549"/>
              <a:gd name="T96" fmla="*/ 2147483647 w 671"/>
              <a:gd name="T97" fmla="*/ 2147483647 h 549"/>
              <a:gd name="T98" fmla="*/ 2147483647 w 671"/>
              <a:gd name="T99" fmla="*/ 2147483647 h 549"/>
              <a:gd name="T100" fmla="*/ 2147483647 w 671"/>
              <a:gd name="T101" fmla="*/ 2147483647 h 549"/>
              <a:gd name="T102" fmla="*/ 2147483647 w 671"/>
              <a:gd name="T103" fmla="*/ 2147483647 h 549"/>
              <a:gd name="T104" fmla="*/ 2147483647 w 671"/>
              <a:gd name="T105" fmla="*/ 2147483647 h 549"/>
              <a:gd name="T106" fmla="*/ 2147483647 w 671"/>
              <a:gd name="T107" fmla="*/ 2147483647 h 549"/>
              <a:gd name="T108" fmla="*/ 2147483647 w 671"/>
              <a:gd name="T109" fmla="*/ 2147483647 h 549"/>
              <a:gd name="T110" fmla="*/ 2147483647 w 671"/>
              <a:gd name="T111" fmla="*/ 2147483647 h 549"/>
              <a:gd name="T112" fmla="*/ 2147483647 w 671"/>
              <a:gd name="T113" fmla="*/ 2147483647 h 549"/>
              <a:gd name="T114" fmla="*/ 2147483647 w 671"/>
              <a:gd name="T115" fmla="*/ 2147483647 h 549"/>
              <a:gd name="T116" fmla="*/ 2147483647 w 671"/>
              <a:gd name="T117" fmla="*/ 2147483647 h 549"/>
              <a:gd name="T118" fmla="*/ 2147483647 w 671"/>
              <a:gd name="T119" fmla="*/ 2147483647 h 549"/>
              <a:gd name="T120" fmla="*/ 2147483647 w 671"/>
              <a:gd name="T121" fmla="*/ 2147483647 h 549"/>
              <a:gd name="T122" fmla="*/ 0 w 671"/>
              <a:gd name="T123" fmla="*/ 2147483647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7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090978" y="4060453"/>
            <a:ext cx="152400" cy="169862"/>
          </a:xfrm>
          <a:custGeom>
            <a:avLst/>
            <a:gdLst>
              <a:gd name="T0" fmla="*/ 2147483647 w 358"/>
              <a:gd name="T1" fmla="*/ 2147483647 h 327"/>
              <a:gd name="T2" fmla="*/ 2147483647 w 358"/>
              <a:gd name="T3" fmla="*/ 2147483647 h 327"/>
              <a:gd name="T4" fmla="*/ 2147483647 w 358"/>
              <a:gd name="T5" fmla="*/ 2147483647 h 327"/>
              <a:gd name="T6" fmla="*/ 2147483647 w 358"/>
              <a:gd name="T7" fmla="*/ 2147483647 h 327"/>
              <a:gd name="T8" fmla="*/ 2147483647 w 358"/>
              <a:gd name="T9" fmla="*/ 2147483647 h 327"/>
              <a:gd name="T10" fmla="*/ 2147483647 w 358"/>
              <a:gd name="T11" fmla="*/ 2147483647 h 327"/>
              <a:gd name="T12" fmla="*/ 2147483647 w 358"/>
              <a:gd name="T13" fmla="*/ 2147483647 h 327"/>
              <a:gd name="T14" fmla="*/ 2147483647 w 358"/>
              <a:gd name="T15" fmla="*/ 2147483647 h 327"/>
              <a:gd name="T16" fmla="*/ 2147483647 w 358"/>
              <a:gd name="T17" fmla="*/ 2147483647 h 327"/>
              <a:gd name="T18" fmla="*/ 2147483647 w 358"/>
              <a:gd name="T19" fmla="*/ 2147483647 h 327"/>
              <a:gd name="T20" fmla="*/ 2147483647 w 358"/>
              <a:gd name="T21" fmla="*/ 2147483647 h 327"/>
              <a:gd name="T22" fmla="*/ 2147483647 w 358"/>
              <a:gd name="T23" fmla="*/ 2147483647 h 327"/>
              <a:gd name="T24" fmla="*/ 2147483647 w 358"/>
              <a:gd name="T25" fmla="*/ 2147483647 h 327"/>
              <a:gd name="T26" fmla="*/ 2147483647 w 358"/>
              <a:gd name="T27" fmla="*/ 2147483647 h 327"/>
              <a:gd name="T28" fmla="*/ 2147483647 w 358"/>
              <a:gd name="T29" fmla="*/ 2147483647 h 327"/>
              <a:gd name="T30" fmla="*/ 2147483647 w 358"/>
              <a:gd name="T31" fmla="*/ 2147483647 h 327"/>
              <a:gd name="T32" fmla="*/ 2147483647 w 358"/>
              <a:gd name="T33" fmla="*/ 2147483647 h 327"/>
              <a:gd name="T34" fmla="*/ 2147483647 w 358"/>
              <a:gd name="T35" fmla="*/ 2147483647 h 327"/>
              <a:gd name="T36" fmla="*/ 2147483647 w 358"/>
              <a:gd name="T37" fmla="*/ 2147483647 h 327"/>
              <a:gd name="T38" fmla="*/ 2147483647 w 358"/>
              <a:gd name="T39" fmla="*/ 2147483647 h 327"/>
              <a:gd name="T40" fmla="*/ 2147483647 w 358"/>
              <a:gd name="T41" fmla="*/ 2147483647 h 327"/>
              <a:gd name="T42" fmla="*/ 2147483647 w 358"/>
              <a:gd name="T43" fmla="*/ 2147483647 h 327"/>
              <a:gd name="T44" fmla="*/ 2147483647 w 358"/>
              <a:gd name="T45" fmla="*/ 2147483647 h 327"/>
              <a:gd name="T46" fmla="*/ 2147483647 w 358"/>
              <a:gd name="T47" fmla="*/ 2147483647 h 327"/>
              <a:gd name="T48" fmla="*/ 2147483647 w 358"/>
              <a:gd name="T49" fmla="*/ 2147483647 h 327"/>
              <a:gd name="T50" fmla="*/ 2147483647 w 358"/>
              <a:gd name="T51" fmla="*/ 2147483647 h 327"/>
              <a:gd name="T52" fmla="*/ 2147483647 w 358"/>
              <a:gd name="T53" fmla="*/ 0 h 327"/>
              <a:gd name="T54" fmla="*/ 2147483647 w 358"/>
              <a:gd name="T55" fmla="*/ 2147483647 h 327"/>
              <a:gd name="T56" fmla="*/ 2147483647 w 358"/>
              <a:gd name="T57" fmla="*/ 2147483647 h 327"/>
              <a:gd name="T58" fmla="*/ 2147483647 w 358"/>
              <a:gd name="T59" fmla="*/ 2147483647 h 327"/>
              <a:gd name="T60" fmla="*/ 2147483647 w 358"/>
              <a:gd name="T61" fmla="*/ 2147483647 h 327"/>
              <a:gd name="T62" fmla="*/ 2147483647 w 358"/>
              <a:gd name="T63" fmla="*/ 2147483647 h 327"/>
              <a:gd name="T64" fmla="*/ 2147483647 w 358"/>
              <a:gd name="T65" fmla="*/ 2147483647 h 327"/>
              <a:gd name="T66" fmla="*/ 2147483647 w 358"/>
              <a:gd name="T67" fmla="*/ 2147483647 h 327"/>
              <a:gd name="T68" fmla="*/ 2147483647 w 358"/>
              <a:gd name="T69" fmla="*/ 2147483647 h 327"/>
              <a:gd name="T70" fmla="*/ 2147483647 w 358"/>
              <a:gd name="T71" fmla="*/ 2147483647 h 327"/>
              <a:gd name="T72" fmla="*/ 2147483647 w 358"/>
              <a:gd name="T73" fmla="*/ 2147483647 h 327"/>
              <a:gd name="T74" fmla="*/ 2147483647 w 358"/>
              <a:gd name="T75" fmla="*/ 2147483647 h 327"/>
              <a:gd name="T76" fmla="*/ 0 w 358"/>
              <a:gd name="T77" fmla="*/ 2147483647 h 327"/>
              <a:gd name="T78" fmla="*/ 0 w 358"/>
              <a:gd name="T79" fmla="*/ 2147483647 h 327"/>
              <a:gd name="T80" fmla="*/ 2147483647 w 358"/>
              <a:gd name="T81" fmla="*/ 2147483647 h 327"/>
              <a:gd name="T82" fmla="*/ 2147483647 w 358"/>
              <a:gd name="T83" fmla="*/ 2147483647 h 327"/>
              <a:gd name="T84" fmla="*/ 2147483647 w 358"/>
              <a:gd name="T85" fmla="*/ 2147483647 h 327"/>
              <a:gd name="T86" fmla="*/ 2147483647 w 358"/>
              <a:gd name="T87" fmla="*/ 2147483647 h 327"/>
              <a:gd name="T88" fmla="*/ 2147483647 w 358"/>
              <a:gd name="T89" fmla="*/ 2147483647 h 327"/>
              <a:gd name="T90" fmla="*/ 2147483647 w 358"/>
              <a:gd name="T91" fmla="*/ 2147483647 h 327"/>
              <a:gd name="T92" fmla="*/ 2147483647 w 358"/>
              <a:gd name="T93" fmla="*/ 2147483647 h 327"/>
              <a:gd name="T94" fmla="*/ 2147483647 w 358"/>
              <a:gd name="T95" fmla="*/ 2147483647 h 327"/>
              <a:gd name="T96" fmla="*/ 2147483647 w 358"/>
              <a:gd name="T97" fmla="*/ 2147483647 h 327"/>
              <a:gd name="T98" fmla="*/ 2147483647 w 358"/>
              <a:gd name="T99" fmla="*/ 2147483647 h 327"/>
              <a:gd name="T100" fmla="*/ 2147483647 w 358"/>
              <a:gd name="T101" fmla="*/ 2147483647 h 327"/>
              <a:gd name="T102" fmla="*/ 2147483647 w 358"/>
              <a:gd name="T103" fmla="*/ 2147483647 h 327"/>
              <a:gd name="T104" fmla="*/ 2147483647 w 358"/>
              <a:gd name="T105" fmla="*/ 2147483647 h 327"/>
              <a:gd name="T106" fmla="*/ 2147483647 w 358"/>
              <a:gd name="T107" fmla="*/ 2147483647 h 327"/>
              <a:gd name="T108" fmla="*/ 2147483647 w 358"/>
              <a:gd name="T109" fmla="*/ 2147483647 h 327"/>
              <a:gd name="T110" fmla="*/ 2147483647 w 358"/>
              <a:gd name="T111" fmla="*/ 2147483647 h 327"/>
              <a:gd name="T112" fmla="*/ 2147483647 w 358"/>
              <a:gd name="T113" fmla="*/ 2147483647 h 327"/>
              <a:gd name="T114" fmla="*/ 2147483647 w 358"/>
              <a:gd name="T115" fmla="*/ 2147483647 h 327"/>
              <a:gd name="T116" fmla="*/ 2147483647 w 358"/>
              <a:gd name="T117" fmla="*/ 2147483647 h 327"/>
              <a:gd name="T118" fmla="*/ 2147483647 w 358"/>
              <a:gd name="T119" fmla="*/ 2147483647 h 327"/>
              <a:gd name="T120" fmla="*/ 2147483647 w 358"/>
              <a:gd name="T121" fmla="*/ 2147483647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8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552815" y="3065090"/>
            <a:ext cx="125413" cy="57150"/>
          </a:xfrm>
          <a:custGeom>
            <a:avLst/>
            <a:gdLst>
              <a:gd name="T0" fmla="*/ 2147483647 w 292"/>
              <a:gd name="T1" fmla="*/ 0 h 99"/>
              <a:gd name="T2" fmla="*/ 2147483647 w 292"/>
              <a:gd name="T3" fmla="*/ 0 h 99"/>
              <a:gd name="T4" fmla="*/ 2147483647 w 292"/>
              <a:gd name="T5" fmla="*/ 2147483647 h 99"/>
              <a:gd name="T6" fmla="*/ 2147483647 w 292"/>
              <a:gd name="T7" fmla="*/ 2147483647 h 99"/>
              <a:gd name="T8" fmla="*/ 2147483647 w 292"/>
              <a:gd name="T9" fmla="*/ 2147483647 h 99"/>
              <a:gd name="T10" fmla="*/ 2147483647 w 292"/>
              <a:gd name="T11" fmla="*/ 2147483647 h 99"/>
              <a:gd name="T12" fmla="*/ 2147483647 w 292"/>
              <a:gd name="T13" fmla="*/ 2147483647 h 99"/>
              <a:gd name="T14" fmla="*/ 2147483647 w 292"/>
              <a:gd name="T15" fmla="*/ 2147483647 h 99"/>
              <a:gd name="T16" fmla="*/ 2147483647 w 292"/>
              <a:gd name="T17" fmla="*/ 2147483647 h 99"/>
              <a:gd name="T18" fmla="*/ 2147483647 w 292"/>
              <a:gd name="T19" fmla="*/ 2147483647 h 99"/>
              <a:gd name="T20" fmla="*/ 2147483647 w 292"/>
              <a:gd name="T21" fmla="*/ 2147483647 h 99"/>
              <a:gd name="T22" fmla="*/ 2147483647 w 292"/>
              <a:gd name="T23" fmla="*/ 2147483647 h 99"/>
              <a:gd name="T24" fmla="*/ 2147483647 w 292"/>
              <a:gd name="T25" fmla="*/ 2147483647 h 99"/>
              <a:gd name="T26" fmla="*/ 2147483647 w 292"/>
              <a:gd name="T27" fmla="*/ 2147483647 h 99"/>
              <a:gd name="T28" fmla="*/ 2147483647 w 292"/>
              <a:gd name="T29" fmla="*/ 2147483647 h 99"/>
              <a:gd name="T30" fmla="*/ 2147483647 w 292"/>
              <a:gd name="T31" fmla="*/ 2147483647 h 99"/>
              <a:gd name="T32" fmla="*/ 2147483647 w 292"/>
              <a:gd name="T33" fmla="*/ 2147483647 h 99"/>
              <a:gd name="T34" fmla="*/ 2147483647 w 292"/>
              <a:gd name="T35" fmla="*/ 2147483647 h 99"/>
              <a:gd name="T36" fmla="*/ 0 w 292"/>
              <a:gd name="T37" fmla="*/ 2147483647 h 99"/>
              <a:gd name="T38" fmla="*/ 2147483647 w 292"/>
              <a:gd name="T39" fmla="*/ 2147483647 h 99"/>
              <a:gd name="T40" fmla="*/ 2147483647 w 292"/>
              <a:gd name="T41" fmla="*/ 2147483647 h 99"/>
              <a:gd name="T42" fmla="*/ 2147483647 w 292"/>
              <a:gd name="T43" fmla="*/ 2147483647 h 99"/>
              <a:gd name="T44" fmla="*/ 2147483647 w 292"/>
              <a:gd name="T45" fmla="*/ 2147483647 h 99"/>
              <a:gd name="T46" fmla="*/ 2147483647 w 292"/>
              <a:gd name="T47" fmla="*/ 2147483647 h 99"/>
              <a:gd name="T48" fmla="*/ 2147483647 w 292"/>
              <a:gd name="T49" fmla="*/ 2147483647 h 99"/>
              <a:gd name="T50" fmla="*/ 2147483647 w 292"/>
              <a:gd name="T51" fmla="*/ 2147483647 h 99"/>
              <a:gd name="T52" fmla="*/ 2147483647 w 292"/>
              <a:gd name="T53" fmla="*/ 2147483647 h 99"/>
              <a:gd name="T54" fmla="*/ 2147483647 w 292"/>
              <a:gd name="T55" fmla="*/ 2147483647 h 99"/>
              <a:gd name="T56" fmla="*/ 2147483647 w 292"/>
              <a:gd name="T57" fmla="*/ 2147483647 h 99"/>
              <a:gd name="T58" fmla="*/ 2147483647 w 292"/>
              <a:gd name="T59" fmla="*/ 2147483647 h 99"/>
              <a:gd name="T60" fmla="*/ 2147483647 w 292"/>
              <a:gd name="T61" fmla="*/ 2147483647 h 99"/>
              <a:gd name="T62" fmla="*/ 2147483647 w 292"/>
              <a:gd name="T63" fmla="*/ 214748364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079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416415" y="3785815"/>
            <a:ext cx="19050" cy="57150"/>
          </a:xfrm>
          <a:custGeom>
            <a:avLst/>
            <a:gdLst>
              <a:gd name="T0" fmla="*/ 2147483647 w 43"/>
              <a:gd name="T1" fmla="*/ 2147483647 h 93"/>
              <a:gd name="T2" fmla="*/ 2147483647 w 43"/>
              <a:gd name="T3" fmla="*/ 2147483647 h 93"/>
              <a:gd name="T4" fmla="*/ 2147483647 w 43"/>
              <a:gd name="T5" fmla="*/ 2147483647 h 93"/>
              <a:gd name="T6" fmla="*/ 2147483647 w 43"/>
              <a:gd name="T7" fmla="*/ 2147483647 h 93"/>
              <a:gd name="T8" fmla="*/ 2147483647 w 43"/>
              <a:gd name="T9" fmla="*/ 2147483647 h 93"/>
              <a:gd name="T10" fmla="*/ 2147483647 w 43"/>
              <a:gd name="T11" fmla="*/ 2147483647 h 93"/>
              <a:gd name="T12" fmla="*/ 2147483647 w 43"/>
              <a:gd name="T13" fmla="*/ 2147483647 h 93"/>
              <a:gd name="T14" fmla="*/ 2147483647 w 43"/>
              <a:gd name="T15" fmla="*/ 2147483647 h 93"/>
              <a:gd name="T16" fmla="*/ 2147483647 w 43"/>
              <a:gd name="T17" fmla="*/ 2147483647 h 93"/>
              <a:gd name="T18" fmla="*/ 2147483647 w 43"/>
              <a:gd name="T19" fmla="*/ 2147483647 h 93"/>
              <a:gd name="T20" fmla="*/ 2147483647 w 43"/>
              <a:gd name="T21" fmla="*/ 2147483647 h 93"/>
              <a:gd name="T22" fmla="*/ 2147483647 w 43"/>
              <a:gd name="T23" fmla="*/ 2147483647 h 93"/>
              <a:gd name="T24" fmla="*/ 2147483647 w 43"/>
              <a:gd name="T25" fmla="*/ 2147483647 h 93"/>
              <a:gd name="T26" fmla="*/ 2147483647 w 43"/>
              <a:gd name="T27" fmla="*/ 2147483647 h 93"/>
              <a:gd name="T28" fmla="*/ 0 w 43"/>
              <a:gd name="T29" fmla="*/ 2147483647 h 93"/>
              <a:gd name="T30" fmla="*/ 2147483647 w 43"/>
              <a:gd name="T31" fmla="*/ 2147483647 h 93"/>
              <a:gd name="T32" fmla="*/ 2147483647 w 43"/>
              <a:gd name="T33" fmla="*/ 2147483647 h 93"/>
              <a:gd name="T34" fmla="*/ 2147483647 w 43"/>
              <a:gd name="T35" fmla="*/ 2147483647 h 93"/>
              <a:gd name="T36" fmla="*/ 2147483647 w 43"/>
              <a:gd name="T37" fmla="*/ 2147483647 h 93"/>
              <a:gd name="T38" fmla="*/ 2147483647 w 43"/>
              <a:gd name="T39" fmla="*/ 2147483647 h 93"/>
              <a:gd name="T40" fmla="*/ 2147483647 w 43"/>
              <a:gd name="T41" fmla="*/ 2147483647 h 93"/>
              <a:gd name="T42" fmla="*/ 2147483647 w 43"/>
              <a:gd name="T43" fmla="*/ 2147483647 h 93"/>
              <a:gd name="T44" fmla="*/ 2147483647 w 43"/>
              <a:gd name="T45" fmla="*/ 2147483647 h 93"/>
              <a:gd name="T46" fmla="*/ 2147483647 w 43"/>
              <a:gd name="T47" fmla="*/ 2147483647 h 93"/>
              <a:gd name="T48" fmla="*/ 2147483647 w 43"/>
              <a:gd name="T49" fmla="*/ 2147483647 h 93"/>
              <a:gd name="T50" fmla="*/ 2147483647 w 43"/>
              <a:gd name="T51" fmla="*/ 2147483647 h 93"/>
              <a:gd name="T52" fmla="*/ 2147483647 w 43"/>
              <a:gd name="T53" fmla="*/ 2147483647 h 93"/>
              <a:gd name="T54" fmla="*/ 2147483647 w 43"/>
              <a:gd name="T55" fmla="*/ 0 h 93"/>
              <a:gd name="T56" fmla="*/ 2147483647 w 43"/>
              <a:gd name="T57" fmla="*/ 0 h 93"/>
              <a:gd name="T58" fmla="*/ 2147483647 w 43"/>
              <a:gd name="T59" fmla="*/ 2147483647 h 93"/>
              <a:gd name="T60" fmla="*/ 2147483647 w 43"/>
              <a:gd name="T61" fmla="*/ 2147483647 h 93"/>
              <a:gd name="T62" fmla="*/ 2147483647 w 43"/>
              <a:gd name="T63" fmla="*/ 2147483647 h 93"/>
              <a:gd name="T64" fmla="*/ 2147483647 w 43"/>
              <a:gd name="T65" fmla="*/ 2147483647 h 93"/>
              <a:gd name="T66" fmla="*/ 2147483647 w 43"/>
              <a:gd name="T67" fmla="*/ 2147483647 h 93"/>
              <a:gd name="T68" fmla="*/ 2147483647 w 43"/>
              <a:gd name="T69" fmla="*/ 2147483647 h 93"/>
              <a:gd name="T70" fmla="*/ 2147483647 w 43"/>
              <a:gd name="T71" fmla="*/ 2147483647 h 93"/>
              <a:gd name="T72" fmla="*/ 2147483647 w 43"/>
              <a:gd name="T73" fmla="*/ 2147483647 h 93"/>
              <a:gd name="T74" fmla="*/ 2147483647 w 43"/>
              <a:gd name="T75" fmla="*/ 2147483647 h 93"/>
              <a:gd name="T76" fmla="*/ 2147483647 w 43"/>
              <a:gd name="T77" fmla="*/ 2147483647 h 93"/>
              <a:gd name="T78" fmla="*/ 2147483647 w 43"/>
              <a:gd name="T79" fmla="*/ 2147483647 h 93"/>
              <a:gd name="T80" fmla="*/ 2147483647 w 43"/>
              <a:gd name="T81" fmla="*/ 2147483647 h 93"/>
              <a:gd name="T82" fmla="*/ 2147483647 w 43"/>
              <a:gd name="T83" fmla="*/ 2147483647 h 93"/>
              <a:gd name="T84" fmla="*/ 2147483647 w 43"/>
              <a:gd name="T85" fmla="*/ 2147483647 h 93"/>
              <a:gd name="T86" fmla="*/ 2147483647 w 43"/>
              <a:gd name="T87" fmla="*/ 2147483647 h 93"/>
              <a:gd name="T88" fmla="*/ 2147483647 w 43"/>
              <a:gd name="T89" fmla="*/ 2147483647 h 93"/>
              <a:gd name="T90" fmla="*/ 2147483647 w 43"/>
              <a:gd name="T91" fmla="*/ 2147483647 h 93"/>
              <a:gd name="T92" fmla="*/ 2147483647 w 43"/>
              <a:gd name="T93" fmla="*/ 2147483647 h 93"/>
              <a:gd name="T94" fmla="*/ 2147483647 w 43"/>
              <a:gd name="T95" fmla="*/ 2147483647 h 93"/>
              <a:gd name="T96" fmla="*/ 2147483647 w 43"/>
              <a:gd name="T97" fmla="*/ 214748364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0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535478" y="3790578"/>
            <a:ext cx="14287" cy="57150"/>
          </a:xfrm>
          <a:custGeom>
            <a:avLst/>
            <a:gdLst>
              <a:gd name="T0" fmla="*/ 2147483647 w 40"/>
              <a:gd name="T1" fmla="*/ 2147483647 h 56"/>
              <a:gd name="T2" fmla="*/ 2147483647 w 40"/>
              <a:gd name="T3" fmla="*/ 2147483647 h 56"/>
              <a:gd name="T4" fmla="*/ 2147483647 w 40"/>
              <a:gd name="T5" fmla="*/ 2147483647 h 56"/>
              <a:gd name="T6" fmla="*/ 2147483647 w 40"/>
              <a:gd name="T7" fmla="*/ 2147483647 h 56"/>
              <a:gd name="T8" fmla="*/ 2147483647 w 40"/>
              <a:gd name="T9" fmla="*/ 2147483647 h 56"/>
              <a:gd name="T10" fmla="*/ 2147483647 w 40"/>
              <a:gd name="T11" fmla="*/ 2147483647 h 56"/>
              <a:gd name="T12" fmla="*/ 0 w 40"/>
              <a:gd name="T13" fmla="*/ 2147483647 h 56"/>
              <a:gd name="T14" fmla="*/ 2147483647 w 40"/>
              <a:gd name="T15" fmla="*/ 2147483647 h 56"/>
              <a:gd name="T16" fmla="*/ 2147483647 w 40"/>
              <a:gd name="T17" fmla="*/ 0 h 56"/>
              <a:gd name="T18" fmla="*/ 2147483647 w 40"/>
              <a:gd name="T19" fmla="*/ 2147483647 h 56"/>
              <a:gd name="T20" fmla="*/ 2147483647 w 40"/>
              <a:gd name="T21" fmla="*/ 2147483647 h 56"/>
              <a:gd name="T22" fmla="*/ 2147483647 w 40"/>
              <a:gd name="T23" fmla="*/ 2147483647 h 56"/>
              <a:gd name="T24" fmla="*/ 2147483647 w 40"/>
              <a:gd name="T25" fmla="*/ 2147483647 h 56"/>
              <a:gd name="T26" fmla="*/ 2147483647 w 40"/>
              <a:gd name="T27" fmla="*/ 2147483647 h 56"/>
              <a:gd name="T28" fmla="*/ 2147483647 w 40"/>
              <a:gd name="T29" fmla="*/ 2147483647 h 56"/>
              <a:gd name="T30" fmla="*/ 2147483647 w 40"/>
              <a:gd name="T31" fmla="*/ 2147483647 h 56"/>
              <a:gd name="T32" fmla="*/ 2147483647 w 40"/>
              <a:gd name="T33" fmla="*/ 2147483647 h 56"/>
              <a:gd name="T34" fmla="*/ 2147483647 w 40"/>
              <a:gd name="T35" fmla="*/ 2147483647 h 56"/>
              <a:gd name="T36" fmla="*/ 2147483647 w 40"/>
              <a:gd name="T37" fmla="*/ 2147483647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1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022965" y="4450978"/>
            <a:ext cx="44450" cy="57150"/>
          </a:xfrm>
          <a:custGeom>
            <a:avLst/>
            <a:gdLst>
              <a:gd name="T0" fmla="*/ 0 w 106"/>
              <a:gd name="T1" fmla="*/ 2147483647 h 71"/>
              <a:gd name="T2" fmla="*/ 2147483647 w 106"/>
              <a:gd name="T3" fmla="*/ 2147483647 h 71"/>
              <a:gd name="T4" fmla="*/ 2147483647 w 106"/>
              <a:gd name="T5" fmla="*/ 2147483647 h 71"/>
              <a:gd name="T6" fmla="*/ 2147483647 w 106"/>
              <a:gd name="T7" fmla="*/ 2147483647 h 71"/>
              <a:gd name="T8" fmla="*/ 2147483647 w 106"/>
              <a:gd name="T9" fmla="*/ 2147483647 h 71"/>
              <a:gd name="T10" fmla="*/ 2147483647 w 106"/>
              <a:gd name="T11" fmla="*/ 2147483647 h 71"/>
              <a:gd name="T12" fmla="*/ 2147483647 w 106"/>
              <a:gd name="T13" fmla="*/ 2147483647 h 71"/>
              <a:gd name="T14" fmla="*/ 2147483647 w 106"/>
              <a:gd name="T15" fmla="*/ 2147483647 h 71"/>
              <a:gd name="T16" fmla="*/ 2147483647 w 106"/>
              <a:gd name="T17" fmla="*/ 0 h 71"/>
              <a:gd name="T18" fmla="*/ 2147483647 w 106"/>
              <a:gd name="T19" fmla="*/ 2147483647 h 71"/>
              <a:gd name="T20" fmla="*/ 2147483647 w 106"/>
              <a:gd name="T21" fmla="*/ 2147483647 h 71"/>
              <a:gd name="T22" fmla="*/ 2147483647 w 106"/>
              <a:gd name="T23" fmla="*/ 2147483647 h 71"/>
              <a:gd name="T24" fmla="*/ 2147483647 w 106"/>
              <a:gd name="T25" fmla="*/ 2147483647 h 71"/>
              <a:gd name="T26" fmla="*/ 2147483647 w 106"/>
              <a:gd name="T27" fmla="*/ 2147483647 h 71"/>
              <a:gd name="T28" fmla="*/ 2147483647 w 106"/>
              <a:gd name="T29" fmla="*/ 2147483647 h 71"/>
              <a:gd name="T30" fmla="*/ 2147483647 w 106"/>
              <a:gd name="T31" fmla="*/ 2147483647 h 71"/>
              <a:gd name="T32" fmla="*/ 2147483647 w 106"/>
              <a:gd name="T33" fmla="*/ 2147483647 h 71"/>
              <a:gd name="T34" fmla="*/ 2147483647 w 106"/>
              <a:gd name="T35" fmla="*/ 2147483647 h 71"/>
              <a:gd name="T36" fmla="*/ 2147483647 w 106"/>
              <a:gd name="T37" fmla="*/ 2147483647 h 71"/>
              <a:gd name="T38" fmla="*/ 2147483647 w 106"/>
              <a:gd name="T39" fmla="*/ 2147483647 h 71"/>
              <a:gd name="T40" fmla="*/ 2147483647 w 106"/>
              <a:gd name="T41" fmla="*/ 2147483647 h 71"/>
              <a:gd name="T42" fmla="*/ 2147483647 w 106"/>
              <a:gd name="T43" fmla="*/ 2147483647 h 71"/>
              <a:gd name="T44" fmla="*/ 2147483647 w 106"/>
              <a:gd name="T45" fmla="*/ 2147483647 h 71"/>
              <a:gd name="T46" fmla="*/ 2147483647 w 106"/>
              <a:gd name="T47" fmla="*/ 2147483647 h 71"/>
              <a:gd name="T48" fmla="*/ 2147483647 w 106"/>
              <a:gd name="T49" fmla="*/ 2147483647 h 71"/>
              <a:gd name="T50" fmla="*/ 2147483647 w 106"/>
              <a:gd name="T51" fmla="*/ 2147483647 h 71"/>
              <a:gd name="T52" fmla="*/ 2147483647 w 106"/>
              <a:gd name="T53" fmla="*/ 2147483647 h 71"/>
              <a:gd name="T54" fmla="*/ 2147483647 w 106"/>
              <a:gd name="T55" fmla="*/ 2147483647 h 71"/>
              <a:gd name="T56" fmla="*/ 2147483647 w 106"/>
              <a:gd name="T57" fmla="*/ 2147483647 h 71"/>
              <a:gd name="T58" fmla="*/ 2147483647 w 106"/>
              <a:gd name="T59" fmla="*/ 2147483647 h 71"/>
              <a:gd name="T60" fmla="*/ 2147483647 w 106"/>
              <a:gd name="T61" fmla="*/ 2147483647 h 71"/>
              <a:gd name="T62" fmla="*/ 2147483647 w 106"/>
              <a:gd name="T63" fmla="*/ 2147483647 h 71"/>
              <a:gd name="T64" fmla="*/ 2147483647 w 106"/>
              <a:gd name="T65" fmla="*/ 2147483647 h 71"/>
              <a:gd name="T66" fmla="*/ 2147483647 w 106"/>
              <a:gd name="T67" fmla="*/ 2147483647 h 71"/>
              <a:gd name="T68" fmla="*/ 2147483647 w 106"/>
              <a:gd name="T69" fmla="*/ 2147483647 h 71"/>
              <a:gd name="T70" fmla="*/ 2147483647 w 106"/>
              <a:gd name="T71" fmla="*/ 2147483647 h 71"/>
              <a:gd name="T72" fmla="*/ 2147483647 w 106"/>
              <a:gd name="T73" fmla="*/ 2147483647 h 71"/>
              <a:gd name="T74" fmla="*/ 2147483647 w 106"/>
              <a:gd name="T75" fmla="*/ 2147483647 h 71"/>
              <a:gd name="T76" fmla="*/ 2147483647 w 106"/>
              <a:gd name="T77" fmla="*/ 2147483647 h 71"/>
              <a:gd name="T78" fmla="*/ 2147483647 w 106"/>
              <a:gd name="T79" fmla="*/ 2147483647 h 71"/>
              <a:gd name="T80" fmla="*/ 2147483647 w 106"/>
              <a:gd name="T81" fmla="*/ 2147483647 h 71"/>
              <a:gd name="T82" fmla="*/ 2147483647 w 106"/>
              <a:gd name="T83" fmla="*/ 2147483647 h 71"/>
              <a:gd name="T84" fmla="*/ 2147483647 w 106"/>
              <a:gd name="T85" fmla="*/ 2147483647 h 71"/>
              <a:gd name="T86" fmla="*/ 2147483647 w 106"/>
              <a:gd name="T87" fmla="*/ 2147483647 h 71"/>
              <a:gd name="T88" fmla="*/ 2147483647 w 106"/>
              <a:gd name="T89" fmla="*/ 2147483647 h 71"/>
              <a:gd name="T90" fmla="*/ 0 w 106"/>
              <a:gd name="T91" fmla="*/ 2147483647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082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874828" y="6259140"/>
            <a:ext cx="65087" cy="55563"/>
            <a:chOff x="1654" y="3671"/>
            <a:chExt cx="49" cy="17"/>
          </a:xfrm>
          <a:solidFill>
            <a:schemeClr val="bg1">
              <a:lumMod val="75000"/>
            </a:schemeClr>
          </a:solidFill>
        </p:grpSpPr>
        <p:sp>
          <p:nvSpPr>
            <p:cNvPr id="2580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0 w 59"/>
                <a:gd name="T1" fmla="*/ 1 h 43"/>
                <a:gd name="T2" fmla="*/ 1 w 59"/>
                <a:gd name="T3" fmla="*/ 0 h 43"/>
                <a:gd name="T4" fmla="*/ 1 w 59"/>
                <a:gd name="T5" fmla="*/ 0 h 43"/>
                <a:gd name="T6" fmla="*/ 1 w 59"/>
                <a:gd name="T7" fmla="*/ 0 h 43"/>
                <a:gd name="T8" fmla="*/ 1 w 59"/>
                <a:gd name="T9" fmla="*/ 0 h 43"/>
                <a:gd name="T10" fmla="*/ 1 w 59"/>
                <a:gd name="T11" fmla="*/ 0 h 43"/>
                <a:gd name="T12" fmla="*/ 1 w 59"/>
                <a:gd name="T13" fmla="*/ 0 h 43"/>
                <a:gd name="T14" fmla="*/ 0 w 59"/>
                <a:gd name="T15" fmla="*/ 0 h 43"/>
                <a:gd name="T16" fmla="*/ 0 w 59"/>
                <a:gd name="T17" fmla="*/ 0 h 43"/>
                <a:gd name="T18" fmla="*/ 0 w 59"/>
                <a:gd name="T19" fmla="*/ 0 h 43"/>
                <a:gd name="T20" fmla="*/ 0 w 59"/>
                <a:gd name="T21" fmla="*/ 0 h 43"/>
                <a:gd name="T22" fmla="*/ 0 w 59"/>
                <a:gd name="T23" fmla="*/ 0 h 43"/>
                <a:gd name="T24" fmla="*/ 0 w 59"/>
                <a:gd name="T25" fmla="*/ 0 h 43"/>
                <a:gd name="T26" fmla="*/ 0 w 59"/>
                <a:gd name="T27" fmla="*/ 0 h 43"/>
                <a:gd name="T28" fmla="*/ 0 w 59"/>
                <a:gd name="T29" fmla="*/ 0 h 43"/>
                <a:gd name="T30" fmla="*/ 0 w 59"/>
                <a:gd name="T31" fmla="*/ 0 h 43"/>
                <a:gd name="T32" fmla="*/ 0 w 59"/>
                <a:gd name="T33" fmla="*/ 0 h 43"/>
                <a:gd name="T34" fmla="*/ 0 w 59"/>
                <a:gd name="T35" fmla="*/ 0 h 43"/>
                <a:gd name="T36" fmla="*/ 0 w 59"/>
                <a:gd name="T37" fmla="*/ 0 h 43"/>
                <a:gd name="T38" fmla="*/ 0 w 59"/>
                <a:gd name="T39" fmla="*/ 1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1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0 w 67"/>
                <a:gd name="T3" fmla="*/ 0 h 51"/>
                <a:gd name="T4" fmla="*/ 0 w 67"/>
                <a:gd name="T5" fmla="*/ 0 h 51"/>
                <a:gd name="T6" fmla="*/ 1 w 67"/>
                <a:gd name="T7" fmla="*/ 0 h 51"/>
                <a:gd name="T8" fmla="*/ 1 w 67"/>
                <a:gd name="T9" fmla="*/ 0 h 51"/>
                <a:gd name="T10" fmla="*/ 1 w 67"/>
                <a:gd name="T11" fmla="*/ 0 h 51"/>
                <a:gd name="T12" fmla="*/ 1 w 67"/>
                <a:gd name="T13" fmla="*/ 0 h 51"/>
                <a:gd name="T14" fmla="*/ 1 w 67"/>
                <a:gd name="T15" fmla="*/ 0 h 51"/>
                <a:gd name="T16" fmla="*/ 1 w 67"/>
                <a:gd name="T17" fmla="*/ 0 h 51"/>
                <a:gd name="T18" fmla="*/ 1 w 67"/>
                <a:gd name="T19" fmla="*/ 0 h 51"/>
                <a:gd name="T20" fmla="*/ 0 w 67"/>
                <a:gd name="T21" fmla="*/ 0 h 51"/>
                <a:gd name="T22" fmla="*/ 0 w 67"/>
                <a:gd name="T23" fmla="*/ 0 h 51"/>
                <a:gd name="T24" fmla="*/ 0 w 67"/>
                <a:gd name="T25" fmla="*/ 0 h 51"/>
                <a:gd name="T26" fmla="*/ 0 w 67"/>
                <a:gd name="T27" fmla="*/ 0 h 51"/>
                <a:gd name="T28" fmla="*/ 0 w 67"/>
                <a:gd name="T29" fmla="*/ 0 h 51"/>
                <a:gd name="T30" fmla="*/ 0 w 67"/>
                <a:gd name="T31" fmla="*/ 0 h 51"/>
                <a:gd name="T32" fmla="*/ 0 w 67"/>
                <a:gd name="T33" fmla="*/ 0 h 51"/>
                <a:gd name="T34" fmla="*/ 0 w 67"/>
                <a:gd name="T35" fmla="*/ 1 h 51"/>
                <a:gd name="T36" fmla="*/ 0 w 67"/>
                <a:gd name="T37" fmla="*/ 1 h 51"/>
                <a:gd name="T38" fmla="*/ 0 w 67"/>
                <a:gd name="T39" fmla="*/ 1 h 51"/>
                <a:gd name="T40" fmla="*/ 0 w 67"/>
                <a:gd name="T41" fmla="*/ 1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083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522403" y="4054103"/>
            <a:ext cx="31750" cy="58737"/>
          </a:xfrm>
          <a:custGeom>
            <a:avLst/>
            <a:gdLst>
              <a:gd name="T0" fmla="*/ 0 w 80"/>
              <a:gd name="T1" fmla="*/ 2147483647 h 34"/>
              <a:gd name="T2" fmla="*/ 2147483647 w 80"/>
              <a:gd name="T3" fmla="*/ 2147483647 h 34"/>
              <a:gd name="T4" fmla="*/ 2147483647 w 80"/>
              <a:gd name="T5" fmla="*/ 2147483647 h 34"/>
              <a:gd name="T6" fmla="*/ 2147483647 w 80"/>
              <a:gd name="T7" fmla="*/ 2147483647 h 34"/>
              <a:gd name="T8" fmla="*/ 2147483647 w 80"/>
              <a:gd name="T9" fmla="*/ 2147483647 h 34"/>
              <a:gd name="T10" fmla="*/ 2147483647 w 80"/>
              <a:gd name="T11" fmla="*/ 2147483647 h 34"/>
              <a:gd name="T12" fmla="*/ 2147483647 w 80"/>
              <a:gd name="T13" fmla="*/ 2147483647 h 34"/>
              <a:gd name="T14" fmla="*/ 2147483647 w 80"/>
              <a:gd name="T15" fmla="*/ 2147483647 h 34"/>
              <a:gd name="T16" fmla="*/ 2147483647 w 80"/>
              <a:gd name="T17" fmla="*/ 2147483647 h 34"/>
              <a:gd name="T18" fmla="*/ 2147483647 w 80"/>
              <a:gd name="T19" fmla="*/ 2147483647 h 34"/>
              <a:gd name="T20" fmla="*/ 2147483647 w 80"/>
              <a:gd name="T21" fmla="*/ 2147483647 h 34"/>
              <a:gd name="T22" fmla="*/ 2147483647 w 80"/>
              <a:gd name="T23" fmla="*/ 2147483647 h 34"/>
              <a:gd name="T24" fmla="*/ 2147483647 w 80"/>
              <a:gd name="T25" fmla="*/ 2147483647 h 34"/>
              <a:gd name="T26" fmla="*/ 2147483647 w 80"/>
              <a:gd name="T27" fmla="*/ 2147483647 h 34"/>
              <a:gd name="T28" fmla="*/ 2147483647 w 80"/>
              <a:gd name="T29" fmla="*/ 2147483647 h 34"/>
              <a:gd name="T30" fmla="*/ 2147483647 w 80"/>
              <a:gd name="T31" fmla="*/ 2147483647 h 34"/>
              <a:gd name="T32" fmla="*/ 2147483647 w 80"/>
              <a:gd name="T33" fmla="*/ 2147483647 h 34"/>
              <a:gd name="T34" fmla="*/ 2147483647 w 80"/>
              <a:gd name="T35" fmla="*/ 2147483647 h 34"/>
              <a:gd name="T36" fmla="*/ 2147483647 w 80"/>
              <a:gd name="T37" fmla="*/ 2147483647 h 34"/>
              <a:gd name="T38" fmla="*/ 2147483647 w 80"/>
              <a:gd name="T39" fmla="*/ 0 h 34"/>
              <a:gd name="T40" fmla="*/ 2147483647 w 80"/>
              <a:gd name="T41" fmla="*/ 0 h 34"/>
              <a:gd name="T42" fmla="*/ 2147483647 w 80"/>
              <a:gd name="T43" fmla="*/ 2147483647 h 34"/>
              <a:gd name="T44" fmla="*/ 2147483647 w 80"/>
              <a:gd name="T45" fmla="*/ 2147483647 h 34"/>
              <a:gd name="T46" fmla="*/ 2147483647 w 80"/>
              <a:gd name="T47" fmla="*/ 2147483647 h 34"/>
              <a:gd name="T48" fmla="*/ 2147483647 w 80"/>
              <a:gd name="T49" fmla="*/ 2147483647 h 34"/>
              <a:gd name="T50" fmla="*/ 2147483647 w 80"/>
              <a:gd name="T51" fmla="*/ 2147483647 h 34"/>
              <a:gd name="T52" fmla="*/ 2147483647 w 80"/>
              <a:gd name="T53" fmla="*/ 2147483647 h 34"/>
              <a:gd name="T54" fmla="*/ 2147483647 w 80"/>
              <a:gd name="T55" fmla="*/ 2147483647 h 34"/>
              <a:gd name="T56" fmla="*/ 2147483647 w 80"/>
              <a:gd name="T57" fmla="*/ 2147483647 h 34"/>
              <a:gd name="T58" fmla="*/ 2147483647 w 80"/>
              <a:gd name="T59" fmla="*/ 2147483647 h 34"/>
              <a:gd name="T60" fmla="*/ 0 w 80"/>
              <a:gd name="T61" fmla="*/ 2147483647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4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577965" y="4060453"/>
            <a:ext cx="1588" cy="58737"/>
          </a:xfrm>
          <a:custGeom>
            <a:avLst/>
            <a:gdLst>
              <a:gd name="T0" fmla="*/ 0 w 7"/>
              <a:gd name="T1" fmla="*/ 0 h 13"/>
              <a:gd name="T2" fmla="*/ 2147483647 w 7"/>
              <a:gd name="T3" fmla="*/ 2147483647 h 13"/>
              <a:gd name="T4" fmla="*/ 2147483647 w 7"/>
              <a:gd name="T5" fmla="*/ 2147483647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5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590665" y="4062040"/>
            <a:ext cx="6350" cy="58738"/>
          </a:xfrm>
          <a:custGeom>
            <a:avLst/>
            <a:gdLst>
              <a:gd name="T0" fmla="*/ 0 w 20"/>
              <a:gd name="T1" fmla="*/ 0 h 6"/>
              <a:gd name="T2" fmla="*/ 2147483647 w 20"/>
              <a:gd name="T3" fmla="*/ 2147483647 h 6"/>
              <a:gd name="T4" fmla="*/ 2147483647 w 20"/>
              <a:gd name="T5" fmla="*/ 2147483647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6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604953" y="4052515"/>
            <a:ext cx="7937" cy="57150"/>
          </a:xfrm>
          <a:custGeom>
            <a:avLst/>
            <a:gdLst>
              <a:gd name="T0" fmla="*/ 0 w 14"/>
              <a:gd name="T1" fmla="*/ 2147483647 h 12"/>
              <a:gd name="T2" fmla="*/ 2147483647 w 14"/>
              <a:gd name="T3" fmla="*/ 0 h 12"/>
              <a:gd name="T4" fmla="*/ 0 w 14"/>
              <a:gd name="T5" fmla="*/ 2147483647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7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584315" y="404457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2147483647 h 7"/>
              <a:gd name="T4" fmla="*/ 2147483647 w 27"/>
              <a:gd name="T5" fmla="*/ 2147483647 h 7"/>
              <a:gd name="T6" fmla="*/ 2147483647 w 27"/>
              <a:gd name="T7" fmla="*/ 2147483647 h 7"/>
              <a:gd name="T8" fmla="*/ 2147483647 w 27"/>
              <a:gd name="T9" fmla="*/ 2147483647 h 7"/>
              <a:gd name="T10" fmla="*/ 2147483647 w 27"/>
              <a:gd name="T11" fmla="*/ 2147483647 h 7"/>
              <a:gd name="T12" fmla="*/ 2147483647 w 27"/>
              <a:gd name="T13" fmla="*/ 2147483647 h 7"/>
              <a:gd name="T14" fmla="*/ 2147483647 w 27"/>
              <a:gd name="T15" fmla="*/ 2147483647 h 7"/>
              <a:gd name="T16" fmla="*/ 2147483647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8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633528" y="4073153"/>
            <a:ext cx="14287" cy="60325"/>
          </a:xfrm>
          <a:custGeom>
            <a:avLst/>
            <a:gdLst>
              <a:gd name="T0" fmla="*/ 0 w 27"/>
              <a:gd name="T1" fmla="*/ 0 h 6"/>
              <a:gd name="T2" fmla="*/ 2147483647 w 27"/>
              <a:gd name="T3" fmla="*/ 2147483647 h 6"/>
              <a:gd name="T4" fmla="*/ 2147483647 w 27"/>
              <a:gd name="T5" fmla="*/ 2147483647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9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641465" y="406997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90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641465" y="409537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91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641465" y="4090615"/>
            <a:ext cx="11113" cy="58738"/>
          </a:xfrm>
          <a:custGeom>
            <a:avLst/>
            <a:gdLst>
              <a:gd name="T0" fmla="*/ 0 w 20"/>
              <a:gd name="T1" fmla="*/ 2147483647 h 24"/>
              <a:gd name="T2" fmla="*/ 2147483647 w 20"/>
              <a:gd name="T3" fmla="*/ 2147483647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2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647815" y="4119190"/>
            <a:ext cx="17463" cy="55563"/>
          </a:xfrm>
          <a:custGeom>
            <a:avLst/>
            <a:gdLst>
              <a:gd name="T0" fmla="*/ 2147483647 w 33"/>
              <a:gd name="T1" fmla="*/ 2147483647 h 25"/>
              <a:gd name="T2" fmla="*/ 0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0 h 25"/>
              <a:gd name="T14" fmla="*/ 2147483647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3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654165" y="4166815"/>
            <a:ext cx="15875" cy="57150"/>
          </a:xfrm>
          <a:custGeom>
            <a:avLst/>
            <a:gdLst>
              <a:gd name="T0" fmla="*/ 0 w 40"/>
              <a:gd name="T1" fmla="*/ 0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0 h 18"/>
              <a:gd name="T16" fmla="*/ 2147483647 w 40"/>
              <a:gd name="T17" fmla="*/ 0 h 18"/>
              <a:gd name="T18" fmla="*/ 2147483647 w 40"/>
              <a:gd name="T19" fmla="*/ 0 h 18"/>
              <a:gd name="T20" fmla="*/ 214748364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4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663690" y="4192215"/>
            <a:ext cx="3175" cy="57150"/>
          </a:xfrm>
          <a:custGeom>
            <a:avLst/>
            <a:gdLst>
              <a:gd name="T0" fmla="*/ 2147483647 w 11"/>
              <a:gd name="T1" fmla="*/ 2147483647 h 32"/>
              <a:gd name="T2" fmla="*/ 2147483647 w 11"/>
              <a:gd name="T3" fmla="*/ 2147483647 h 32"/>
              <a:gd name="T4" fmla="*/ 2147483647 w 11"/>
              <a:gd name="T5" fmla="*/ 2147483647 h 32"/>
              <a:gd name="T6" fmla="*/ 2147483647 w 11"/>
              <a:gd name="T7" fmla="*/ 2147483647 h 32"/>
              <a:gd name="T8" fmla="*/ 2147483647 w 11"/>
              <a:gd name="T9" fmla="*/ 2147483647 h 32"/>
              <a:gd name="T10" fmla="*/ 2147483647 w 11"/>
              <a:gd name="T11" fmla="*/ 2147483647 h 32"/>
              <a:gd name="T12" fmla="*/ 2147483647 w 11"/>
              <a:gd name="T13" fmla="*/ 0 h 32"/>
              <a:gd name="T14" fmla="*/ 2147483647 w 11"/>
              <a:gd name="T15" fmla="*/ 2147483647 h 32"/>
              <a:gd name="T16" fmla="*/ 2147483647 w 11"/>
              <a:gd name="T17" fmla="*/ 2147483647 h 32"/>
              <a:gd name="T18" fmla="*/ 2147483647 w 11"/>
              <a:gd name="T19" fmla="*/ 2147483647 h 32"/>
              <a:gd name="T20" fmla="*/ 0 w 11"/>
              <a:gd name="T21" fmla="*/ 2147483647 h 32"/>
              <a:gd name="T22" fmla="*/ 0 w 11"/>
              <a:gd name="T23" fmla="*/ 2147483647 h 32"/>
              <a:gd name="T24" fmla="*/ 2147483647 w 11"/>
              <a:gd name="T25" fmla="*/ 2147483647 h 32"/>
              <a:gd name="T26" fmla="*/ 2147483647 w 11"/>
              <a:gd name="T27" fmla="*/ 2147483647 h 32"/>
              <a:gd name="T28" fmla="*/ 2147483647 w 11"/>
              <a:gd name="T29" fmla="*/ 2147483647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5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685915" y="422237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147483647 h 24"/>
              <a:gd name="T4" fmla="*/ 2147483647 w 14"/>
              <a:gd name="T5" fmla="*/ 2147483647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6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647815" y="4235078"/>
            <a:ext cx="15875" cy="58737"/>
          </a:xfrm>
          <a:custGeom>
            <a:avLst/>
            <a:gdLst>
              <a:gd name="T0" fmla="*/ 0 w 27"/>
              <a:gd name="T1" fmla="*/ 2147483647 h 18"/>
              <a:gd name="T2" fmla="*/ 2147483647 w 27"/>
              <a:gd name="T3" fmla="*/ 2147483647 h 18"/>
              <a:gd name="T4" fmla="*/ 2147483647 w 27"/>
              <a:gd name="T5" fmla="*/ 2147483647 h 18"/>
              <a:gd name="T6" fmla="*/ 2147483647 w 27"/>
              <a:gd name="T7" fmla="*/ 2147483647 h 18"/>
              <a:gd name="T8" fmla="*/ 2147483647 w 27"/>
              <a:gd name="T9" fmla="*/ 0 h 18"/>
              <a:gd name="T10" fmla="*/ 2147483647 w 27"/>
              <a:gd name="T11" fmla="*/ 0 h 18"/>
              <a:gd name="T12" fmla="*/ 2147483647 w 27"/>
              <a:gd name="T13" fmla="*/ 2147483647 h 18"/>
              <a:gd name="T14" fmla="*/ 2147483647 w 27"/>
              <a:gd name="T15" fmla="*/ 2147483647 h 18"/>
              <a:gd name="T16" fmla="*/ 2147483647 w 27"/>
              <a:gd name="T17" fmla="*/ 2147483647 h 18"/>
              <a:gd name="T18" fmla="*/ 2147483647 w 27"/>
              <a:gd name="T19" fmla="*/ 2147483647 h 18"/>
              <a:gd name="T20" fmla="*/ 0 w 27"/>
              <a:gd name="T21" fmla="*/ 2147483647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7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633528" y="4300165"/>
            <a:ext cx="23812" cy="57150"/>
          </a:xfrm>
          <a:custGeom>
            <a:avLst/>
            <a:gdLst>
              <a:gd name="T0" fmla="*/ 0 w 47"/>
              <a:gd name="T1" fmla="*/ 2147483647 h 49"/>
              <a:gd name="T2" fmla="*/ 2147483647 w 47"/>
              <a:gd name="T3" fmla="*/ 2147483647 h 49"/>
              <a:gd name="T4" fmla="*/ 2147483647 w 47"/>
              <a:gd name="T5" fmla="*/ 2147483647 h 49"/>
              <a:gd name="T6" fmla="*/ 2147483647 w 47"/>
              <a:gd name="T7" fmla="*/ 2147483647 h 49"/>
              <a:gd name="T8" fmla="*/ 2147483647 w 47"/>
              <a:gd name="T9" fmla="*/ 2147483647 h 49"/>
              <a:gd name="T10" fmla="*/ 2147483647 w 47"/>
              <a:gd name="T11" fmla="*/ 2147483647 h 49"/>
              <a:gd name="T12" fmla="*/ 2147483647 w 47"/>
              <a:gd name="T13" fmla="*/ 2147483647 h 49"/>
              <a:gd name="T14" fmla="*/ 2147483647 w 47"/>
              <a:gd name="T15" fmla="*/ 2147483647 h 49"/>
              <a:gd name="T16" fmla="*/ 2147483647 w 47"/>
              <a:gd name="T17" fmla="*/ 2147483647 h 49"/>
              <a:gd name="T18" fmla="*/ 2147483647 w 47"/>
              <a:gd name="T19" fmla="*/ 2147483647 h 49"/>
              <a:gd name="T20" fmla="*/ 2147483647 w 47"/>
              <a:gd name="T21" fmla="*/ 2147483647 h 49"/>
              <a:gd name="T22" fmla="*/ 2147483647 w 47"/>
              <a:gd name="T23" fmla="*/ 2147483647 h 49"/>
              <a:gd name="T24" fmla="*/ 2147483647 w 47"/>
              <a:gd name="T25" fmla="*/ 2147483647 h 49"/>
              <a:gd name="T26" fmla="*/ 2147483647 w 47"/>
              <a:gd name="T27" fmla="*/ 2147483647 h 49"/>
              <a:gd name="T28" fmla="*/ 2147483647 w 47"/>
              <a:gd name="T29" fmla="*/ 2147483647 h 49"/>
              <a:gd name="T30" fmla="*/ 2147483647 w 47"/>
              <a:gd name="T31" fmla="*/ 2147483647 h 49"/>
              <a:gd name="T32" fmla="*/ 2147483647 w 47"/>
              <a:gd name="T33" fmla="*/ 0 h 49"/>
              <a:gd name="T34" fmla="*/ 2147483647 w 47"/>
              <a:gd name="T35" fmla="*/ 0 h 49"/>
              <a:gd name="T36" fmla="*/ 2147483647 w 47"/>
              <a:gd name="T37" fmla="*/ 2147483647 h 49"/>
              <a:gd name="T38" fmla="*/ 2147483647 w 47"/>
              <a:gd name="T39" fmla="*/ 2147483647 h 49"/>
              <a:gd name="T40" fmla="*/ 2147483647 w 47"/>
              <a:gd name="T41" fmla="*/ 2147483647 h 49"/>
              <a:gd name="T42" fmla="*/ 2147483647 w 47"/>
              <a:gd name="T43" fmla="*/ 2147483647 h 49"/>
              <a:gd name="T44" fmla="*/ 2147483647 w 47"/>
              <a:gd name="T45" fmla="*/ 2147483647 h 49"/>
              <a:gd name="T46" fmla="*/ 0 w 47"/>
              <a:gd name="T47" fmla="*/ 2147483647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8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652578" y="427635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147483647 h 9"/>
              <a:gd name="T4" fmla="*/ 2147483647 w 26"/>
              <a:gd name="T5" fmla="*/ 2147483647 h 9"/>
              <a:gd name="T6" fmla="*/ 2147483647 w 26"/>
              <a:gd name="T7" fmla="*/ 2147483647 h 9"/>
              <a:gd name="T8" fmla="*/ 2147483647 w 26"/>
              <a:gd name="T9" fmla="*/ 2147483647 h 9"/>
              <a:gd name="T10" fmla="*/ 2147483647 w 26"/>
              <a:gd name="T11" fmla="*/ 2147483647 h 9"/>
              <a:gd name="T12" fmla="*/ 2147483647 w 26"/>
              <a:gd name="T13" fmla="*/ 2147483647 h 9"/>
              <a:gd name="T14" fmla="*/ 2147483647 w 26"/>
              <a:gd name="T15" fmla="*/ 2147483647 h 9"/>
              <a:gd name="T16" fmla="*/ 2147483647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9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135053" y="394774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2147483647 h 18"/>
              <a:gd name="T4" fmla="*/ 2147483647 w 39"/>
              <a:gd name="T5" fmla="*/ 2147483647 h 18"/>
              <a:gd name="T6" fmla="*/ 2147483647 w 39"/>
              <a:gd name="T7" fmla="*/ 2147483647 h 18"/>
              <a:gd name="T8" fmla="*/ 2147483647 w 39"/>
              <a:gd name="T9" fmla="*/ 2147483647 h 18"/>
              <a:gd name="T10" fmla="*/ 2147483647 w 39"/>
              <a:gd name="T11" fmla="*/ 2147483647 h 18"/>
              <a:gd name="T12" fmla="*/ 2147483647 w 39"/>
              <a:gd name="T13" fmla="*/ 2147483647 h 18"/>
              <a:gd name="T14" fmla="*/ 2147483647 w 39"/>
              <a:gd name="T15" fmla="*/ 2147483647 h 18"/>
              <a:gd name="T16" fmla="*/ 2147483647 w 39"/>
              <a:gd name="T17" fmla="*/ 2147483647 h 18"/>
              <a:gd name="T18" fmla="*/ 2147483647 w 39"/>
              <a:gd name="T19" fmla="*/ 2147483647 h 18"/>
              <a:gd name="T20" fmla="*/ 2147483647 w 39"/>
              <a:gd name="T21" fmla="*/ 2147483647 h 18"/>
              <a:gd name="T22" fmla="*/ 2147483647 w 39"/>
              <a:gd name="T23" fmla="*/ 2147483647 h 18"/>
              <a:gd name="T24" fmla="*/ 2147483647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00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260465" y="3781053"/>
            <a:ext cx="131763" cy="195262"/>
            <a:chOff x="1199" y="2121"/>
            <a:chExt cx="97" cy="123"/>
          </a:xfrm>
          <a:solidFill>
            <a:schemeClr val="bg1">
              <a:lumMod val="75000"/>
            </a:schemeClr>
          </a:solidFill>
        </p:grpSpPr>
        <p:sp>
          <p:nvSpPr>
            <p:cNvPr id="2570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0 h 25"/>
                <a:gd name="T2" fmla="*/ 0 w 52"/>
                <a:gd name="T3" fmla="*/ 0 h 25"/>
                <a:gd name="T4" fmla="*/ 0 w 52"/>
                <a:gd name="T5" fmla="*/ 0 h 25"/>
                <a:gd name="T6" fmla="*/ 0 w 52"/>
                <a:gd name="T7" fmla="*/ 0 h 25"/>
                <a:gd name="T8" fmla="*/ 0 w 52"/>
                <a:gd name="T9" fmla="*/ 0 h 25"/>
                <a:gd name="T10" fmla="*/ 0 w 52"/>
                <a:gd name="T11" fmla="*/ 0 h 25"/>
                <a:gd name="T12" fmla="*/ 0 w 52"/>
                <a:gd name="T13" fmla="*/ 0 h 25"/>
                <a:gd name="T14" fmla="*/ 1 w 52"/>
                <a:gd name="T15" fmla="*/ 0 h 25"/>
                <a:gd name="T16" fmla="*/ 1 w 52"/>
                <a:gd name="T17" fmla="*/ 0 h 25"/>
                <a:gd name="T18" fmla="*/ 0 w 52"/>
                <a:gd name="T19" fmla="*/ 0 h 25"/>
                <a:gd name="T20" fmla="*/ 0 w 52"/>
                <a:gd name="T21" fmla="*/ 0 h 25"/>
                <a:gd name="T22" fmla="*/ 0 w 52"/>
                <a:gd name="T23" fmla="*/ 0 h 25"/>
                <a:gd name="T24" fmla="*/ 0 w 52"/>
                <a:gd name="T25" fmla="*/ 0 h 25"/>
                <a:gd name="T26" fmla="*/ 0 w 52"/>
                <a:gd name="T27" fmla="*/ 0 h 25"/>
                <a:gd name="T28" fmla="*/ 0 w 52"/>
                <a:gd name="T29" fmla="*/ 0 h 25"/>
                <a:gd name="T30" fmla="*/ 0 w 52"/>
                <a:gd name="T31" fmla="*/ 0 h 25"/>
                <a:gd name="T32" fmla="*/ 0 w 52"/>
                <a:gd name="T33" fmla="*/ 0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1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0 h 13"/>
                <a:gd name="T4" fmla="*/ 0 w 33"/>
                <a:gd name="T5" fmla="*/ 0 h 13"/>
                <a:gd name="T6" fmla="*/ 0 w 33"/>
                <a:gd name="T7" fmla="*/ 0 h 13"/>
                <a:gd name="T8" fmla="*/ 0 w 33"/>
                <a:gd name="T9" fmla="*/ 0 h 13"/>
                <a:gd name="T10" fmla="*/ 0 w 33"/>
                <a:gd name="T11" fmla="*/ 0 h 13"/>
                <a:gd name="T12" fmla="*/ 0 w 33"/>
                <a:gd name="T13" fmla="*/ 0 h 13"/>
                <a:gd name="T14" fmla="*/ 0 w 33"/>
                <a:gd name="T15" fmla="*/ 0 h 13"/>
                <a:gd name="T16" fmla="*/ 0 w 33"/>
                <a:gd name="T17" fmla="*/ 0 h 13"/>
                <a:gd name="T18" fmla="*/ 0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2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0 w 67"/>
                <a:gd name="T1" fmla="*/ 0 h 86"/>
                <a:gd name="T2" fmla="*/ 0 w 67"/>
                <a:gd name="T3" fmla="*/ 0 h 86"/>
                <a:gd name="T4" fmla="*/ 0 w 67"/>
                <a:gd name="T5" fmla="*/ 0 h 86"/>
                <a:gd name="T6" fmla="*/ 0 w 67"/>
                <a:gd name="T7" fmla="*/ 0 h 86"/>
                <a:gd name="T8" fmla="*/ 0 w 67"/>
                <a:gd name="T9" fmla="*/ 0 h 86"/>
                <a:gd name="T10" fmla="*/ 0 w 67"/>
                <a:gd name="T11" fmla="*/ 0 h 86"/>
                <a:gd name="T12" fmla="*/ 0 w 67"/>
                <a:gd name="T13" fmla="*/ 0 h 86"/>
                <a:gd name="T14" fmla="*/ 0 w 67"/>
                <a:gd name="T15" fmla="*/ 0 h 86"/>
                <a:gd name="T16" fmla="*/ 0 w 67"/>
                <a:gd name="T17" fmla="*/ 0 h 86"/>
                <a:gd name="T18" fmla="*/ 0 w 67"/>
                <a:gd name="T19" fmla="*/ 0 h 86"/>
                <a:gd name="T20" fmla="*/ 1 w 67"/>
                <a:gd name="T21" fmla="*/ 0 h 86"/>
                <a:gd name="T22" fmla="*/ 1 w 67"/>
                <a:gd name="T23" fmla="*/ 1 h 86"/>
                <a:gd name="T24" fmla="*/ 1 w 67"/>
                <a:gd name="T25" fmla="*/ 1 h 86"/>
                <a:gd name="T26" fmla="*/ 1 w 67"/>
                <a:gd name="T27" fmla="*/ 1 h 86"/>
                <a:gd name="T28" fmla="*/ 1 w 67"/>
                <a:gd name="T29" fmla="*/ 1 h 86"/>
                <a:gd name="T30" fmla="*/ 1 w 67"/>
                <a:gd name="T31" fmla="*/ 1 h 86"/>
                <a:gd name="T32" fmla="*/ 0 w 67"/>
                <a:gd name="T33" fmla="*/ 1 h 86"/>
                <a:gd name="T34" fmla="*/ 0 w 67"/>
                <a:gd name="T35" fmla="*/ 1 h 86"/>
                <a:gd name="T36" fmla="*/ 0 w 67"/>
                <a:gd name="T37" fmla="*/ 1 h 86"/>
                <a:gd name="T38" fmla="*/ 0 w 67"/>
                <a:gd name="T39" fmla="*/ 1 h 86"/>
                <a:gd name="T40" fmla="*/ 0 w 67"/>
                <a:gd name="T41" fmla="*/ 0 h 86"/>
                <a:gd name="T42" fmla="*/ 0 w 67"/>
                <a:gd name="T43" fmla="*/ 0 h 86"/>
                <a:gd name="T44" fmla="*/ 0 w 67"/>
                <a:gd name="T45" fmla="*/ 0 h 86"/>
                <a:gd name="T46" fmla="*/ 0 w 67"/>
                <a:gd name="T47" fmla="*/ 0 h 86"/>
                <a:gd name="T48" fmla="*/ 0 w 67"/>
                <a:gd name="T49" fmla="*/ 0 h 86"/>
                <a:gd name="T50" fmla="*/ 0 w 67"/>
                <a:gd name="T51" fmla="*/ 0 h 86"/>
                <a:gd name="T52" fmla="*/ 0 w 67"/>
                <a:gd name="T53" fmla="*/ 0 h 86"/>
                <a:gd name="T54" fmla="*/ 0 w 67"/>
                <a:gd name="T55" fmla="*/ 0 h 86"/>
                <a:gd name="T56" fmla="*/ 0 w 67"/>
                <a:gd name="T57" fmla="*/ 0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3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0 w 49"/>
                <a:gd name="T1" fmla="*/ 0 h 86"/>
                <a:gd name="T2" fmla="*/ 0 w 49"/>
                <a:gd name="T3" fmla="*/ 0 h 86"/>
                <a:gd name="T4" fmla="*/ 0 w 49"/>
                <a:gd name="T5" fmla="*/ 0 h 86"/>
                <a:gd name="T6" fmla="*/ 0 w 49"/>
                <a:gd name="T7" fmla="*/ 0 h 86"/>
                <a:gd name="T8" fmla="*/ 0 w 49"/>
                <a:gd name="T9" fmla="*/ 0 h 86"/>
                <a:gd name="T10" fmla="*/ 0 w 49"/>
                <a:gd name="T11" fmla="*/ 0 h 86"/>
                <a:gd name="T12" fmla="*/ 0 w 49"/>
                <a:gd name="T13" fmla="*/ 0 h 86"/>
                <a:gd name="T14" fmla="*/ 0 w 49"/>
                <a:gd name="T15" fmla="*/ 0 h 86"/>
                <a:gd name="T16" fmla="*/ 0 w 49"/>
                <a:gd name="T17" fmla="*/ 1 h 86"/>
                <a:gd name="T18" fmla="*/ 0 w 49"/>
                <a:gd name="T19" fmla="*/ 1 h 86"/>
                <a:gd name="T20" fmla="*/ 0 w 49"/>
                <a:gd name="T21" fmla="*/ 1 h 86"/>
                <a:gd name="T22" fmla="*/ 0 w 49"/>
                <a:gd name="T23" fmla="*/ 1 h 86"/>
                <a:gd name="T24" fmla="*/ 0 w 49"/>
                <a:gd name="T25" fmla="*/ 1 h 86"/>
                <a:gd name="T26" fmla="*/ 0 w 49"/>
                <a:gd name="T27" fmla="*/ 1 h 86"/>
                <a:gd name="T28" fmla="*/ 0 w 49"/>
                <a:gd name="T29" fmla="*/ 1 h 86"/>
                <a:gd name="T30" fmla="*/ 0 w 49"/>
                <a:gd name="T31" fmla="*/ 1 h 86"/>
                <a:gd name="T32" fmla="*/ 0 w 49"/>
                <a:gd name="T33" fmla="*/ 1 h 86"/>
                <a:gd name="T34" fmla="*/ 1 w 49"/>
                <a:gd name="T35" fmla="*/ 1 h 86"/>
                <a:gd name="T36" fmla="*/ 1 w 49"/>
                <a:gd name="T37" fmla="*/ 1 h 86"/>
                <a:gd name="T38" fmla="*/ 1 w 49"/>
                <a:gd name="T39" fmla="*/ 0 h 86"/>
                <a:gd name="T40" fmla="*/ 1 w 49"/>
                <a:gd name="T41" fmla="*/ 0 h 86"/>
                <a:gd name="T42" fmla="*/ 1 w 49"/>
                <a:gd name="T43" fmla="*/ 0 h 86"/>
                <a:gd name="T44" fmla="*/ 1 w 49"/>
                <a:gd name="T45" fmla="*/ 0 h 86"/>
                <a:gd name="T46" fmla="*/ 1 w 49"/>
                <a:gd name="T47" fmla="*/ 0 h 86"/>
                <a:gd name="T48" fmla="*/ 0 w 49"/>
                <a:gd name="T49" fmla="*/ 0 h 86"/>
                <a:gd name="T50" fmla="*/ 0 w 49"/>
                <a:gd name="T51" fmla="*/ 0 h 86"/>
                <a:gd name="T52" fmla="*/ 0 w 49"/>
                <a:gd name="T53" fmla="*/ 0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4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0 h 12"/>
                <a:gd name="T12" fmla="*/ 0 w 6"/>
                <a:gd name="T13" fmla="*/ 0 h 12"/>
                <a:gd name="T14" fmla="*/ 0 w 6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5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0 w 39"/>
                <a:gd name="T3" fmla="*/ 0 h 48"/>
                <a:gd name="T4" fmla="*/ 0 w 39"/>
                <a:gd name="T5" fmla="*/ 0 h 48"/>
                <a:gd name="T6" fmla="*/ 0 w 39"/>
                <a:gd name="T7" fmla="*/ 0 h 48"/>
                <a:gd name="T8" fmla="*/ 0 w 39"/>
                <a:gd name="T9" fmla="*/ 0 h 48"/>
                <a:gd name="T10" fmla="*/ 0 w 39"/>
                <a:gd name="T11" fmla="*/ 0 h 48"/>
                <a:gd name="T12" fmla="*/ 0 w 39"/>
                <a:gd name="T13" fmla="*/ 1 h 48"/>
                <a:gd name="T14" fmla="*/ 0 w 39"/>
                <a:gd name="T15" fmla="*/ 0 h 48"/>
                <a:gd name="T16" fmla="*/ 0 w 39"/>
                <a:gd name="T17" fmla="*/ 0 h 48"/>
                <a:gd name="T18" fmla="*/ 0 w 39"/>
                <a:gd name="T19" fmla="*/ 0 h 48"/>
                <a:gd name="T20" fmla="*/ 0 w 39"/>
                <a:gd name="T21" fmla="*/ 0 h 48"/>
                <a:gd name="T22" fmla="*/ 0 w 39"/>
                <a:gd name="T23" fmla="*/ 0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6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0 w 16"/>
                <a:gd name="T1" fmla="*/ 0 h 43"/>
                <a:gd name="T2" fmla="*/ 0 w 16"/>
                <a:gd name="T3" fmla="*/ 0 h 43"/>
                <a:gd name="T4" fmla="*/ 0 w 16"/>
                <a:gd name="T5" fmla="*/ 0 h 43"/>
                <a:gd name="T6" fmla="*/ 0 w 16"/>
                <a:gd name="T7" fmla="*/ 0 h 43"/>
                <a:gd name="T8" fmla="*/ 0 w 16"/>
                <a:gd name="T9" fmla="*/ 0 h 43"/>
                <a:gd name="T10" fmla="*/ 0 w 16"/>
                <a:gd name="T11" fmla="*/ 0 h 43"/>
                <a:gd name="T12" fmla="*/ 0 w 16"/>
                <a:gd name="T13" fmla="*/ 0 h 43"/>
                <a:gd name="T14" fmla="*/ 0 w 16"/>
                <a:gd name="T15" fmla="*/ 0 h 43"/>
                <a:gd name="T16" fmla="*/ 0 w 16"/>
                <a:gd name="T17" fmla="*/ 1 h 43"/>
                <a:gd name="T18" fmla="*/ 0 w 16"/>
                <a:gd name="T19" fmla="*/ 0 h 43"/>
                <a:gd name="T20" fmla="*/ 0 w 16"/>
                <a:gd name="T21" fmla="*/ 0 h 43"/>
                <a:gd name="T22" fmla="*/ 0 w 16"/>
                <a:gd name="T23" fmla="*/ 0 h 43"/>
                <a:gd name="T24" fmla="*/ 0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7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0 w 24"/>
                <a:gd name="T1" fmla="*/ 0 h 37"/>
                <a:gd name="T2" fmla="*/ 0 w 24"/>
                <a:gd name="T3" fmla="*/ 0 h 37"/>
                <a:gd name="T4" fmla="*/ 0 w 24"/>
                <a:gd name="T5" fmla="*/ 0 h 37"/>
                <a:gd name="T6" fmla="*/ 0 w 24"/>
                <a:gd name="T7" fmla="*/ 0 h 37"/>
                <a:gd name="T8" fmla="*/ 0 w 24"/>
                <a:gd name="T9" fmla="*/ 0 h 37"/>
                <a:gd name="T10" fmla="*/ 0 w 24"/>
                <a:gd name="T11" fmla="*/ 0 h 37"/>
                <a:gd name="T12" fmla="*/ 0 w 24"/>
                <a:gd name="T13" fmla="*/ 0 h 37"/>
                <a:gd name="T14" fmla="*/ 0 w 24"/>
                <a:gd name="T15" fmla="*/ 0 h 37"/>
                <a:gd name="T16" fmla="*/ 0 w 24"/>
                <a:gd name="T17" fmla="*/ 0 h 37"/>
                <a:gd name="T18" fmla="*/ 0 w 24"/>
                <a:gd name="T19" fmla="*/ 0 h 37"/>
                <a:gd name="T20" fmla="*/ 0 w 24"/>
                <a:gd name="T21" fmla="*/ 0 h 37"/>
                <a:gd name="T22" fmla="*/ 0 w 24"/>
                <a:gd name="T23" fmla="*/ 0 h 37"/>
                <a:gd name="T24" fmla="*/ 0 w 24"/>
                <a:gd name="T25" fmla="*/ 0 h 37"/>
                <a:gd name="T26" fmla="*/ 0 w 24"/>
                <a:gd name="T27" fmla="*/ 0 h 37"/>
                <a:gd name="T28" fmla="*/ 0 w 24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8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0 w 34"/>
                <a:gd name="T1" fmla="*/ 0 h 55"/>
                <a:gd name="T2" fmla="*/ 0 w 34"/>
                <a:gd name="T3" fmla="*/ 0 h 55"/>
                <a:gd name="T4" fmla="*/ 0 w 34"/>
                <a:gd name="T5" fmla="*/ 0 h 55"/>
                <a:gd name="T6" fmla="*/ 0 w 34"/>
                <a:gd name="T7" fmla="*/ 0 h 55"/>
                <a:gd name="T8" fmla="*/ 0 w 34"/>
                <a:gd name="T9" fmla="*/ 0 h 55"/>
                <a:gd name="T10" fmla="*/ 0 w 34"/>
                <a:gd name="T11" fmla="*/ 0 h 55"/>
                <a:gd name="T12" fmla="*/ 0 w 34"/>
                <a:gd name="T13" fmla="*/ 1 h 55"/>
                <a:gd name="T14" fmla="*/ 0 w 34"/>
                <a:gd name="T15" fmla="*/ 1 h 55"/>
                <a:gd name="T16" fmla="*/ 0 w 34"/>
                <a:gd name="T17" fmla="*/ 1 h 55"/>
                <a:gd name="T18" fmla="*/ 0 w 34"/>
                <a:gd name="T19" fmla="*/ 1 h 55"/>
                <a:gd name="T20" fmla="*/ 0 w 34"/>
                <a:gd name="T21" fmla="*/ 1 h 55"/>
                <a:gd name="T22" fmla="*/ 0 w 34"/>
                <a:gd name="T23" fmla="*/ 0 h 55"/>
                <a:gd name="T24" fmla="*/ 0 w 34"/>
                <a:gd name="T25" fmla="*/ 0 h 55"/>
                <a:gd name="T26" fmla="*/ 0 w 34"/>
                <a:gd name="T27" fmla="*/ 0 h 55"/>
                <a:gd name="T28" fmla="*/ 0 w 34"/>
                <a:gd name="T29" fmla="*/ 0 h 55"/>
                <a:gd name="T30" fmla="*/ 0 w 34"/>
                <a:gd name="T31" fmla="*/ 0 h 55"/>
                <a:gd name="T32" fmla="*/ 0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9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0 w 33"/>
                <a:gd name="T5" fmla="*/ 0 h 12"/>
                <a:gd name="T6" fmla="*/ 0 w 33"/>
                <a:gd name="T7" fmla="*/ 0 h 12"/>
                <a:gd name="T8" fmla="*/ 0 w 33"/>
                <a:gd name="T9" fmla="*/ 0 h 12"/>
                <a:gd name="T10" fmla="*/ 0 w 33"/>
                <a:gd name="T11" fmla="*/ 0 h 12"/>
                <a:gd name="T12" fmla="*/ 0 w 33"/>
                <a:gd name="T13" fmla="*/ 0 h 12"/>
                <a:gd name="T14" fmla="*/ 0 w 33"/>
                <a:gd name="T15" fmla="*/ 0 h 12"/>
                <a:gd name="T16" fmla="*/ 0 w 33"/>
                <a:gd name="T17" fmla="*/ 0 h 12"/>
                <a:gd name="T18" fmla="*/ 0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01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073890" y="5208215"/>
            <a:ext cx="12700" cy="57150"/>
          </a:xfrm>
          <a:custGeom>
            <a:avLst/>
            <a:gdLst>
              <a:gd name="T0" fmla="*/ 0 w 33"/>
              <a:gd name="T1" fmla="*/ 2147483647 h 62"/>
              <a:gd name="T2" fmla="*/ 0 w 33"/>
              <a:gd name="T3" fmla="*/ 2147483647 h 62"/>
              <a:gd name="T4" fmla="*/ 0 w 33"/>
              <a:gd name="T5" fmla="*/ 2147483647 h 62"/>
              <a:gd name="T6" fmla="*/ 0 w 33"/>
              <a:gd name="T7" fmla="*/ 2147483647 h 62"/>
              <a:gd name="T8" fmla="*/ 0 w 33"/>
              <a:gd name="T9" fmla="*/ 2147483647 h 62"/>
              <a:gd name="T10" fmla="*/ 0 w 33"/>
              <a:gd name="T11" fmla="*/ 2147483647 h 62"/>
              <a:gd name="T12" fmla="*/ 2147483647 w 33"/>
              <a:gd name="T13" fmla="*/ 2147483647 h 62"/>
              <a:gd name="T14" fmla="*/ 2147483647 w 33"/>
              <a:gd name="T15" fmla="*/ 2147483647 h 62"/>
              <a:gd name="T16" fmla="*/ 2147483647 w 33"/>
              <a:gd name="T17" fmla="*/ 2147483647 h 62"/>
              <a:gd name="T18" fmla="*/ 2147483647 w 33"/>
              <a:gd name="T19" fmla="*/ 2147483647 h 62"/>
              <a:gd name="T20" fmla="*/ 2147483647 w 33"/>
              <a:gd name="T21" fmla="*/ 0 h 62"/>
              <a:gd name="T22" fmla="*/ 2147483647 w 33"/>
              <a:gd name="T23" fmla="*/ 2147483647 h 62"/>
              <a:gd name="T24" fmla="*/ 2147483647 w 33"/>
              <a:gd name="T25" fmla="*/ 2147483647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2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083415" y="5298703"/>
            <a:ext cx="9525" cy="58737"/>
          </a:xfrm>
          <a:custGeom>
            <a:avLst/>
            <a:gdLst>
              <a:gd name="T0" fmla="*/ 0 w 26"/>
              <a:gd name="T1" fmla="*/ 2147483647 h 18"/>
              <a:gd name="T2" fmla="*/ 0 w 26"/>
              <a:gd name="T3" fmla="*/ 0 h 18"/>
              <a:gd name="T4" fmla="*/ 2147483647 w 26"/>
              <a:gd name="T5" fmla="*/ 0 h 18"/>
              <a:gd name="T6" fmla="*/ 2147483647 w 26"/>
              <a:gd name="T7" fmla="*/ 2147483647 h 18"/>
              <a:gd name="T8" fmla="*/ 2147483647 w 26"/>
              <a:gd name="T9" fmla="*/ 2147483647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3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197715" y="5208215"/>
            <a:ext cx="77788" cy="130175"/>
          </a:xfrm>
          <a:custGeom>
            <a:avLst/>
            <a:gdLst>
              <a:gd name="T0" fmla="*/ 2147483647 w 180"/>
              <a:gd name="T1" fmla="*/ 2147483647 h 240"/>
              <a:gd name="T2" fmla="*/ 2147483647 w 180"/>
              <a:gd name="T3" fmla="*/ 2147483647 h 240"/>
              <a:gd name="T4" fmla="*/ 2147483647 w 180"/>
              <a:gd name="T5" fmla="*/ 2147483647 h 240"/>
              <a:gd name="T6" fmla="*/ 2147483647 w 180"/>
              <a:gd name="T7" fmla="*/ 2147483647 h 240"/>
              <a:gd name="T8" fmla="*/ 2147483647 w 180"/>
              <a:gd name="T9" fmla="*/ 2147483647 h 240"/>
              <a:gd name="T10" fmla="*/ 2147483647 w 180"/>
              <a:gd name="T11" fmla="*/ 2147483647 h 240"/>
              <a:gd name="T12" fmla="*/ 2147483647 w 180"/>
              <a:gd name="T13" fmla="*/ 2147483647 h 240"/>
              <a:gd name="T14" fmla="*/ 2147483647 w 180"/>
              <a:gd name="T15" fmla="*/ 2147483647 h 240"/>
              <a:gd name="T16" fmla="*/ 2147483647 w 180"/>
              <a:gd name="T17" fmla="*/ 2147483647 h 240"/>
              <a:gd name="T18" fmla="*/ 2147483647 w 180"/>
              <a:gd name="T19" fmla="*/ 2147483647 h 240"/>
              <a:gd name="T20" fmla="*/ 2147483647 w 180"/>
              <a:gd name="T21" fmla="*/ 2147483647 h 240"/>
              <a:gd name="T22" fmla="*/ 2147483647 w 180"/>
              <a:gd name="T23" fmla="*/ 2147483647 h 240"/>
              <a:gd name="T24" fmla="*/ 2147483647 w 180"/>
              <a:gd name="T25" fmla="*/ 2147483647 h 240"/>
              <a:gd name="T26" fmla="*/ 2147483647 w 180"/>
              <a:gd name="T27" fmla="*/ 2147483647 h 240"/>
              <a:gd name="T28" fmla="*/ 2147483647 w 180"/>
              <a:gd name="T29" fmla="*/ 2147483647 h 240"/>
              <a:gd name="T30" fmla="*/ 2147483647 w 180"/>
              <a:gd name="T31" fmla="*/ 2147483647 h 240"/>
              <a:gd name="T32" fmla="*/ 2147483647 w 180"/>
              <a:gd name="T33" fmla="*/ 2147483647 h 240"/>
              <a:gd name="T34" fmla="*/ 2147483647 w 180"/>
              <a:gd name="T35" fmla="*/ 2147483647 h 240"/>
              <a:gd name="T36" fmla="*/ 2147483647 w 180"/>
              <a:gd name="T37" fmla="*/ 2147483647 h 240"/>
              <a:gd name="T38" fmla="*/ 2147483647 w 180"/>
              <a:gd name="T39" fmla="*/ 2147483647 h 240"/>
              <a:gd name="T40" fmla="*/ 2147483647 w 180"/>
              <a:gd name="T41" fmla="*/ 2147483647 h 240"/>
              <a:gd name="T42" fmla="*/ 2147483647 w 180"/>
              <a:gd name="T43" fmla="*/ 2147483647 h 240"/>
              <a:gd name="T44" fmla="*/ 2147483647 w 180"/>
              <a:gd name="T45" fmla="*/ 2147483647 h 240"/>
              <a:gd name="T46" fmla="*/ 2147483647 w 180"/>
              <a:gd name="T47" fmla="*/ 2147483647 h 240"/>
              <a:gd name="T48" fmla="*/ 2147483647 w 180"/>
              <a:gd name="T49" fmla="*/ 2147483647 h 240"/>
              <a:gd name="T50" fmla="*/ 2147483647 w 180"/>
              <a:gd name="T51" fmla="*/ 2147483647 h 240"/>
              <a:gd name="T52" fmla="*/ 2147483647 w 180"/>
              <a:gd name="T53" fmla="*/ 2147483647 h 240"/>
              <a:gd name="T54" fmla="*/ 2147483647 w 180"/>
              <a:gd name="T55" fmla="*/ 2147483647 h 240"/>
              <a:gd name="T56" fmla="*/ 0 w 180"/>
              <a:gd name="T57" fmla="*/ 2147483647 h 240"/>
              <a:gd name="T58" fmla="*/ 0 w 180"/>
              <a:gd name="T59" fmla="*/ 2147483647 h 240"/>
              <a:gd name="T60" fmla="*/ 0 w 180"/>
              <a:gd name="T61" fmla="*/ 2147483647 h 240"/>
              <a:gd name="T62" fmla="*/ 0 w 180"/>
              <a:gd name="T63" fmla="*/ 2147483647 h 240"/>
              <a:gd name="T64" fmla="*/ 0 w 180"/>
              <a:gd name="T65" fmla="*/ 0 h 240"/>
              <a:gd name="T66" fmla="*/ 2147483647 w 180"/>
              <a:gd name="T67" fmla="*/ 2147483647 h 240"/>
              <a:gd name="T68" fmla="*/ 2147483647 w 180"/>
              <a:gd name="T69" fmla="*/ 2147483647 h 240"/>
              <a:gd name="T70" fmla="*/ 2147483647 w 180"/>
              <a:gd name="T71" fmla="*/ 2147483647 h 240"/>
              <a:gd name="T72" fmla="*/ 2147483647 w 180"/>
              <a:gd name="T73" fmla="*/ 2147483647 h 240"/>
              <a:gd name="T74" fmla="*/ 2147483647 w 180"/>
              <a:gd name="T75" fmla="*/ 2147483647 h 240"/>
              <a:gd name="T76" fmla="*/ 2147483647 w 180"/>
              <a:gd name="T77" fmla="*/ 2147483647 h 240"/>
              <a:gd name="T78" fmla="*/ 2147483647 w 180"/>
              <a:gd name="T79" fmla="*/ 2147483647 h 240"/>
              <a:gd name="T80" fmla="*/ 2147483647 w 180"/>
              <a:gd name="T81" fmla="*/ 2147483647 h 240"/>
              <a:gd name="T82" fmla="*/ 2147483647 w 180"/>
              <a:gd name="T83" fmla="*/ 2147483647 h 240"/>
              <a:gd name="T84" fmla="*/ 2147483647 w 180"/>
              <a:gd name="T85" fmla="*/ 2147483647 h 240"/>
              <a:gd name="T86" fmla="*/ 2147483647 w 180"/>
              <a:gd name="T87" fmla="*/ 2147483647 h 240"/>
              <a:gd name="T88" fmla="*/ 2147483647 w 180"/>
              <a:gd name="T89" fmla="*/ 2147483647 h 240"/>
              <a:gd name="T90" fmla="*/ 2147483647 w 180"/>
              <a:gd name="T91" fmla="*/ 2147483647 h 240"/>
              <a:gd name="T92" fmla="*/ 2147483647 w 180"/>
              <a:gd name="T93" fmla="*/ 2147483647 h 240"/>
              <a:gd name="T94" fmla="*/ 2147483647 w 180"/>
              <a:gd name="T95" fmla="*/ 2147483647 h 240"/>
              <a:gd name="T96" fmla="*/ 2147483647 w 180"/>
              <a:gd name="T97" fmla="*/ 2147483647 h 240"/>
              <a:gd name="T98" fmla="*/ 2147483647 w 180"/>
              <a:gd name="T99" fmla="*/ 2147483647 h 240"/>
              <a:gd name="T100" fmla="*/ 2147483647 w 180"/>
              <a:gd name="T101" fmla="*/ 2147483647 h 240"/>
              <a:gd name="T102" fmla="*/ 2147483647 w 180"/>
              <a:gd name="T103" fmla="*/ 2147483647 h 240"/>
              <a:gd name="T104" fmla="*/ 2147483647 w 180"/>
              <a:gd name="T105" fmla="*/ 214748364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4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197715" y="5181228"/>
            <a:ext cx="14288" cy="57150"/>
          </a:xfrm>
          <a:custGeom>
            <a:avLst/>
            <a:gdLst>
              <a:gd name="T0" fmla="*/ 0 w 27"/>
              <a:gd name="T1" fmla="*/ 0 h 30"/>
              <a:gd name="T2" fmla="*/ 2147483647 w 27"/>
              <a:gd name="T3" fmla="*/ 2147483647 h 30"/>
              <a:gd name="T4" fmla="*/ 2147483647 w 27"/>
              <a:gd name="T5" fmla="*/ 2147483647 h 30"/>
              <a:gd name="T6" fmla="*/ 2147483647 w 27"/>
              <a:gd name="T7" fmla="*/ 2147483647 h 30"/>
              <a:gd name="T8" fmla="*/ 2147483647 w 27"/>
              <a:gd name="T9" fmla="*/ 2147483647 h 30"/>
              <a:gd name="T10" fmla="*/ 2147483647 w 27"/>
              <a:gd name="T11" fmla="*/ 2147483647 h 30"/>
              <a:gd name="T12" fmla="*/ 0 w 27"/>
              <a:gd name="T13" fmla="*/ 2147483647 h 30"/>
              <a:gd name="T14" fmla="*/ 2147483647 w 27"/>
              <a:gd name="T15" fmla="*/ 2147483647 h 30"/>
              <a:gd name="T16" fmla="*/ 2147483647 w 27"/>
              <a:gd name="T17" fmla="*/ 2147483647 h 30"/>
              <a:gd name="T18" fmla="*/ 2147483647 w 27"/>
              <a:gd name="T19" fmla="*/ 2147483647 h 30"/>
              <a:gd name="T20" fmla="*/ 2147483647 w 27"/>
              <a:gd name="T21" fmla="*/ 2147483647 h 30"/>
              <a:gd name="T22" fmla="*/ 2147483647 w 27"/>
              <a:gd name="T23" fmla="*/ 2147483647 h 30"/>
              <a:gd name="T24" fmla="*/ 2147483647 w 27"/>
              <a:gd name="T25" fmla="*/ 2147483647 h 30"/>
              <a:gd name="T26" fmla="*/ 2147483647 w 27"/>
              <a:gd name="T27" fmla="*/ 2147483647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0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888153" y="5701928"/>
            <a:ext cx="458787" cy="404812"/>
            <a:chOff x="5372" y="3323"/>
            <a:chExt cx="341" cy="253"/>
          </a:xfrm>
        </p:grpSpPr>
        <p:sp>
          <p:nvSpPr>
            <p:cNvPr id="2567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0 h 33"/>
                <a:gd name="T2" fmla="*/ 0 w 53"/>
                <a:gd name="T3" fmla="*/ 0 h 33"/>
                <a:gd name="T4" fmla="*/ 0 w 53"/>
                <a:gd name="T5" fmla="*/ 0 h 33"/>
                <a:gd name="T6" fmla="*/ 0 w 53"/>
                <a:gd name="T7" fmla="*/ 0 h 33"/>
                <a:gd name="T8" fmla="*/ 0 w 53"/>
                <a:gd name="T9" fmla="*/ 0 h 33"/>
                <a:gd name="T10" fmla="*/ 0 w 53"/>
                <a:gd name="T11" fmla="*/ 0 h 33"/>
                <a:gd name="T12" fmla="*/ 0 w 53"/>
                <a:gd name="T13" fmla="*/ 0 h 33"/>
                <a:gd name="T14" fmla="*/ 0 w 53"/>
                <a:gd name="T15" fmla="*/ 0 h 33"/>
                <a:gd name="T16" fmla="*/ 1 w 53"/>
                <a:gd name="T17" fmla="*/ 0 h 33"/>
                <a:gd name="T18" fmla="*/ 1 w 53"/>
                <a:gd name="T19" fmla="*/ 0 h 33"/>
                <a:gd name="T20" fmla="*/ 0 w 53"/>
                <a:gd name="T21" fmla="*/ 0 h 33"/>
                <a:gd name="T22" fmla="*/ 0 w 53"/>
                <a:gd name="T23" fmla="*/ 0 h 33"/>
                <a:gd name="T24" fmla="*/ 0 w 53"/>
                <a:gd name="T25" fmla="*/ 0 h 33"/>
                <a:gd name="T26" fmla="*/ 0 w 53"/>
                <a:gd name="T27" fmla="*/ 0 h 33"/>
                <a:gd name="T28" fmla="*/ 0 w 53"/>
                <a:gd name="T29" fmla="*/ 0 h 33"/>
                <a:gd name="T30" fmla="*/ 0 w 53"/>
                <a:gd name="T31" fmla="*/ 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8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0 w 631"/>
                <a:gd name="T1" fmla="*/ 3 h 358"/>
                <a:gd name="T2" fmla="*/ 1 w 631"/>
                <a:gd name="T3" fmla="*/ 3 h 358"/>
                <a:gd name="T4" fmla="*/ 1 w 631"/>
                <a:gd name="T5" fmla="*/ 3 h 358"/>
                <a:gd name="T6" fmla="*/ 1 w 631"/>
                <a:gd name="T7" fmla="*/ 3 h 358"/>
                <a:gd name="T8" fmla="*/ 1 w 631"/>
                <a:gd name="T9" fmla="*/ 3 h 358"/>
                <a:gd name="T10" fmla="*/ 1 w 631"/>
                <a:gd name="T11" fmla="*/ 3 h 358"/>
                <a:gd name="T12" fmla="*/ 1 w 631"/>
                <a:gd name="T13" fmla="*/ 3 h 358"/>
                <a:gd name="T14" fmla="*/ 2 w 631"/>
                <a:gd name="T15" fmla="*/ 3 h 358"/>
                <a:gd name="T16" fmla="*/ 2 w 631"/>
                <a:gd name="T17" fmla="*/ 2 h 358"/>
                <a:gd name="T18" fmla="*/ 2 w 631"/>
                <a:gd name="T19" fmla="*/ 2 h 358"/>
                <a:gd name="T20" fmla="*/ 3 w 631"/>
                <a:gd name="T21" fmla="*/ 2 h 358"/>
                <a:gd name="T22" fmla="*/ 4 w 631"/>
                <a:gd name="T23" fmla="*/ 2 h 358"/>
                <a:gd name="T24" fmla="*/ 4 w 631"/>
                <a:gd name="T25" fmla="*/ 2 h 358"/>
                <a:gd name="T26" fmla="*/ 4 w 631"/>
                <a:gd name="T27" fmla="*/ 2 h 358"/>
                <a:gd name="T28" fmla="*/ 4 w 631"/>
                <a:gd name="T29" fmla="*/ 2 h 358"/>
                <a:gd name="T30" fmla="*/ 4 w 631"/>
                <a:gd name="T31" fmla="*/ 1 h 358"/>
                <a:gd name="T32" fmla="*/ 5 w 631"/>
                <a:gd name="T33" fmla="*/ 1 h 358"/>
                <a:gd name="T34" fmla="*/ 5 w 631"/>
                <a:gd name="T35" fmla="*/ 1 h 358"/>
                <a:gd name="T36" fmla="*/ 5 w 631"/>
                <a:gd name="T37" fmla="*/ 1 h 358"/>
                <a:gd name="T38" fmla="*/ 6 w 631"/>
                <a:gd name="T39" fmla="*/ 0 h 358"/>
                <a:gd name="T40" fmla="*/ 6 w 631"/>
                <a:gd name="T41" fmla="*/ 0 h 358"/>
                <a:gd name="T42" fmla="*/ 6 w 631"/>
                <a:gd name="T43" fmla="*/ 0 h 358"/>
                <a:gd name="T44" fmla="*/ 6 w 631"/>
                <a:gd name="T45" fmla="*/ 0 h 358"/>
                <a:gd name="T46" fmla="*/ 6 w 631"/>
                <a:gd name="T47" fmla="*/ 0 h 358"/>
                <a:gd name="T48" fmla="*/ 6 w 631"/>
                <a:gd name="T49" fmla="*/ 1 h 358"/>
                <a:gd name="T50" fmla="*/ 6 w 631"/>
                <a:gd name="T51" fmla="*/ 1 h 358"/>
                <a:gd name="T52" fmla="*/ 6 w 631"/>
                <a:gd name="T53" fmla="*/ 1 h 358"/>
                <a:gd name="T54" fmla="*/ 5 w 631"/>
                <a:gd name="T55" fmla="*/ 2 h 358"/>
                <a:gd name="T56" fmla="*/ 5 w 631"/>
                <a:gd name="T57" fmla="*/ 2 h 358"/>
                <a:gd name="T58" fmla="*/ 4 w 631"/>
                <a:gd name="T59" fmla="*/ 2 h 358"/>
                <a:gd name="T60" fmla="*/ 4 w 631"/>
                <a:gd name="T61" fmla="*/ 2 h 358"/>
                <a:gd name="T62" fmla="*/ 4 w 631"/>
                <a:gd name="T63" fmla="*/ 2 h 358"/>
                <a:gd name="T64" fmla="*/ 4 w 631"/>
                <a:gd name="T65" fmla="*/ 2 h 358"/>
                <a:gd name="T66" fmla="*/ 4 w 631"/>
                <a:gd name="T67" fmla="*/ 3 h 358"/>
                <a:gd name="T68" fmla="*/ 4 w 631"/>
                <a:gd name="T69" fmla="*/ 3 h 358"/>
                <a:gd name="T70" fmla="*/ 4 w 631"/>
                <a:gd name="T71" fmla="*/ 2 h 358"/>
                <a:gd name="T72" fmla="*/ 3 w 631"/>
                <a:gd name="T73" fmla="*/ 3 h 358"/>
                <a:gd name="T74" fmla="*/ 3 w 631"/>
                <a:gd name="T75" fmla="*/ 3 h 358"/>
                <a:gd name="T76" fmla="*/ 2 w 631"/>
                <a:gd name="T77" fmla="*/ 4 h 358"/>
                <a:gd name="T78" fmla="*/ 2 w 631"/>
                <a:gd name="T79" fmla="*/ 4 h 358"/>
                <a:gd name="T80" fmla="*/ 1 w 631"/>
                <a:gd name="T81" fmla="*/ 4 h 358"/>
                <a:gd name="T82" fmla="*/ 1 w 631"/>
                <a:gd name="T83" fmla="*/ 4 h 358"/>
                <a:gd name="T84" fmla="*/ 1 w 631"/>
                <a:gd name="T85" fmla="*/ 4 h 358"/>
                <a:gd name="T86" fmla="*/ 0 w 631"/>
                <a:gd name="T87" fmla="*/ 4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9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 w 359"/>
                <a:gd name="T1" fmla="*/ 3 h 431"/>
                <a:gd name="T2" fmla="*/ 1 w 359"/>
                <a:gd name="T3" fmla="*/ 3 h 431"/>
                <a:gd name="T4" fmla="*/ 2 w 359"/>
                <a:gd name="T5" fmla="*/ 2 h 431"/>
                <a:gd name="T6" fmla="*/ 2 w 359"/>
                <a:gd name="T7" fmla="*/ 2 h 431"/>
                <a:gd name="T8" fmla="*/ 2 w 359"/>
                <a:gd name="T9" fmla="*/ 2 h 431"/>
                <a:gd name="T10" fmla="*/ 2 w 359"/>
                <a:gd name="T11" fmla="*/ 2 h 431"/>
                <a:gd name="T12" fmla="*/ 2 w 359"/>
                <a:gd name="T13" fmla="*/ 1 h 431"/>
                <a:gd name="T14" fmla="*/ 2 w 359"/>
                <a:gd name="T15" fmla="*/ 1 h 431"/>
                <a:gd name="T16" fmla="*/ 2 w 359"/>
                <a:gd name="T17" fmla="*/ 0 h 431"/>
                <a:gd name="T18" fmla="*/ 2 w 359"/>
                <a:gd name="T19" fmla="*/ 0 h 431"/>
                <a:gd name="T20" fmla="*/ 2 w 359"/>
                <a:gd name="T21" fmla="*/ 0 h 431"/>
                <a:gd name="T22" fmla="*/ 2 w 359"/>
                <a:gd name="T23" fmla="*/ 0 h 431"/>
                <a:gd name="T24" fmla="*/ 3 w 359"/>
                <a:gd name="T25" fmla="*/ 1 h 431"/>
                <a:gd name="T26" fmla="*/ 3 w 359"/>
                <a:gd name="T27" fmla="*/ 1 h 431"/>
                <a:gd name="T28" fmla="*/ 3 w 359"/>
                <a:gd name="T29" fmla="*/ 1 h 431"/>
                <a:gd name="T30" fmla="*/ 3 w 359"/>
                <a:gd name="T31" fmla="*/ 1 h 431"/>
                <a:gd name="T32" fmla="*/ 2 w 359"/>
                <a:gd name="T33" fmla="*/ 1 h 431"/>
                <a:gd name="T34" fmla="*/ 2 w 359"/>
                <a:gd name="T35" fmla="*/ 2 h 431"/>
                <a:gd name="T36" fmla="*/ 2 w 359"/>
                <a:gd name="T37" fmla="*/ 2 h 431"/>
                <a:gd name="T38" fmla="*/ 2 w 359"/>
                <a:gd name="T39" fmla="*/ 2 h 431"/>
                <a:gd name="T40" fmla="*/ 3 w 359"/>
                <a:gd name="T41" fmla="*/ 2 h 431"/>
                <a:gd name="T42" fmla="*/ 3 w 359"/>
                <a:gd name="T43" fmla="*/ 2 h 431"/>
                <a:gd name="T44" fmla="*/ 3 w 359"/>
                <a:gd name="T45" fmla="*/ 2 h 431"/>
                <a:gd name="T46" fmla="*/ 3 w 359"/>
                <a:gd name="T47" fmla="*/ 2 h 431"/>
                <a:gd name="T48" fmla="*/ 3 w 359"/>
                <a:gd name="T49" fmla="*/ 2 h 431"/>
                <a:gd name="T50" fmla="*/ 3 w 359"/>
                <a:gd name="T51" fmla="*/ 3 h 431"/>
                <a:gd name="T52" fmla="*/ 3 w 359"/>
                <a:gd name="T53" fmla="*/ 3 h 431"/>
                <a:gd name="T54" fmla="*/ 4 w 359"/>
                <a:gd name="T55" fmla="*/ 2 h 431"/>
                <a:gd name="T56" fmla="*/ 4 w 359"/>
                <a:gd name="T57" fmla="*/ 2 h 431"/>
                <a:gd name="T58" fmla="*/ 4 w 359"/>
                <a:gd name="T59" fmla="*/ 2 h 431"/>
                <a:gd name="T60" fmla="*/ 4 w 359"/>
                <a:gd name="T61" fmla="*/ 3 h 431"/>
                <a:gd name="T62" fmla="*/ 4 w 359"/>
                <a:gd name="T63" fmla="*/ 3 h 431"/>
                <a:gd name="T64" fmla="*/ 3 w 359"/>
                <a:gd name="T65" fmla="*/ 3 h 431"/>
                <a:gd name="T66" fmla="*/ 3 w 359"/>
                <a:gd name="T67" fmla="*/ 3 h 431"/>
                <a:gd name="T68" fmla="*/ 2 w 359"/>
                <a:gd name="T69" fmla="*/ 3 h 431"/>
                <a:gd name="T70" fmla="*/ 2 w 359"/>
                <a:gd name="T71" fmla="*/ 4 h 431"/>
                <a:gd name="T72" fmla="*/ 2 w 359"/>
                <a:gd name="T73" fmla="*/ 4 h 431"/>
                <a:gd name="T74" fmla="*/ 2 w 359"/>
                <a:gd name="T75" fmla="*/ 4 h 431"/>
                <a:gd name="T76" fmla="*/ 1 w 359"/>
                <a:gd name="T77" fmla="*/ 5 h 431"/>
                <a:gd name="T78" fmla="*/ 1 w 359"/>
                <a:gd name="T79" fmla="*/ 5 h 431"/>
                <a:gd name="T80" fmla="*/ 0 w 359"/>
                <a:gd name="T81" fmla="*/ 5 h 431"/>
                <a:gd name="T82" fmla="*/ 0 w 359"/>
                <a:gd name="T83" fmla="*/ 5 h 431"/>
                <a:gd name="T84" fmla="*/ 0 w 359"/>
                <a:gd name="T85" fmla="*/ 5 h 431"/>
                <a:gd name="T86" fmla="*/ 0 w 359"/>
                <a:gd name="T87" fmla="*/ 5 h 431"/>
                <a:gd name="T88" fmla="*/ 0 w 359"/>
                <a:gd name="T89" fmla="*/ 5 h 431"/>
                <a:gd name="T90" fmla="*/ 1 w 359"/>
                <a:gd name="T91" fmla="*/ 4 h 431"/>
                <a:gd name="T92" fmla="*/ 1 w 359"/>
                <a:gd name="T93" fmla="*/ 4 h 431"/>
                <a:gd name="T94" fmla="*/ 1 w 359"/>
                <a:gd name="T95" fmla="*/ 4 h 431"/>
                <a:gd name="T96" fmla="*/ 1 w 359"/>
                <a:gd name="T97" fmla="*/ 4 h 431"/>
                <a:gd name="T98" fmla="*/ 1 w 359"/>
                <a:gd name="T99" fmla="*/ 4 h 431"/>
                <a:gd name="T100" fmla="*/ 0 w 359"/>
                <a:gd name="T101" fmla="*/ 4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06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530965" y="4358903"/>
            <a:ext cx="9525" cy="57150"/>
          </a:xfrm>
          <a:custGeom>
            <a:avLst/>
            <a:gdLst>
              <a:gd name="T0" fmla="*/ 0 w 21"/>
              <a:gd name="T1" fmla="*/ 2147483647 h 62"/>
              <a:gd name="T2" fmla="*/ 2147483647 w 21"/>
              <a:gd name="T3" fmla="*/ 2147483647 h 62"/>
              <a:gd name="T4" fmla="*/ 2147483647 w 21"/>
              <a:gd name="T5" fmla="*/ 2147483647 h 62"/>
              <a:gd name="T6" fmla="*/ 2147483647 w 21"/>
              <a:gd name="T7" fmla="*/ 2147483647 h 62"/>
              <a:gd name="T8" fmla="*/ 2147483647 w 21"/>
              <a:gd name="T9" fmla="*/ 2147483647 h 62"/>
              <a:gd name="T10" fmla="*/ 2147483647 w 21"/>
              <a:gd name="T11" fmla="*/ 2147483647 h 62"/>
              <a:gd name="T12" fmla="*/ 2147483647 w 21"/>
              <a:gd name="T13" fmla="*/ 0 h 62"/>
              <a:gd name="T14" fmla="*/ 2147483647 w 21"/>
              <a:gd name="T15" fmla="*/ 2147483647 h 62"/>
              <a:gd name="T16" fmla="*/ 2147483647 w 21"/>
              <a:gd name="T17" fmla="*/ 2147483647 h 62"/>
              <a:gd name="T18" fmla="*/ 2147483647 w 21"/>
              <a:gd name="T19" fmla="*/ 2147483647 h 62"/>
              <a:gd name="T20" fmla="*/ 2147483647 w 21"/>
              <a:gd name="T21" fmla="*/ 2147483647 h 62"/>
              <a:gd name="T22" fmla="*/ 2147483647 w 21"/>
              <a:gd name="T23" fmla="*/ 2147483647 h 62"/>
              <a:gd name="T24" fmla="*/ 0 w 21"/>
              <a:gd name="T25" fmla="*/ 2147483647 h 62"/>
              <a:gd name="T26" fmla="*/ 0 w 21"/>
              <a:gd name="T27" fmla="*/ 2147483647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7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258040" y="5260603"/>
            <a:ext cx="14288" cy="57150"/>
          </a:xfrm>
          <a:custGeom>
            <a:avLst/>
            <a:gdLst>
              <a:gd name="T0" fmla="*/ 0 w 33"/>
              <a:gd name="T1" fmla="*/ 0 h 24"/>
              <a:gd name="T2" fmla="*/ 2147483647 w 33"/>
              <a:gd name="T3" fmla="*/ 2147483647 h 24"/>
              <a:gd name="T4" fmla="*/ 2147483647 w 33"/>
              <a:gd name="T5" fmla="*/ 2147483647 h 24"/>
              <a:gd name="T6" fmla="*/ 2147483647 w 33"/>
              <a:gd name="T7" fmla="*/ 2147483647 h 24"/>
              <a:gd name="T8" fmla="*/ 2147483647 w 33"/>
              <a:gd name="T9" fmla="*/ 2147483647 h 24"/>
              <a:gd name="T10" fmla="*/ 2147483647 w 33"/>
              <a:gd name="T11" fmla="*/ 2147483647 h 24"/>
              <a:gd name="T12" fmla="*/ 2147483647 w 33"/>
              <a:gd name="T13" fmla="*/ 2147483647 h 24"/>
              <a:gd name="T14" fmla="*/ 2147483647 w 33"/>
              <a:gd name="T15" fmla="*/ 0 h 24"/>
              <a:gd name="T16" fmla="*/ 2147483647 w 33"/>
              <a:gd name="T17" fmla="*/ 0 h 24"/>
              <a:gd name="T18" fmla="*/ 2147483647 w 33"/>
              <a:gd name="T19" fmla="*/ 0 h 24"/>
              <a:gd name="T20" fmla="*/ 214748364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8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280265" y="5270128"/>
            <a:ext cx="17463" cy="58737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0 h 25"/>
              <a:gd name="T8" fmla="*/ 2147483647 w 33"/>
              <a:gd name="T9" fmla="*/ 0 h 25"/>
              <a:gd name="T10" fmla="*/ 2147483647 w 33"/>
              <a:gd name="T11" fmla="*/ 0 h 25"/>
              <a:gd name="T12" fmla="*/ 2147483647 w 33"/>
              <a:gd name="T13" fmla="*/ 0 h 25"/>
              <a:gd name="T14" fmla="*/ 0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9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594465" y="4347790"/>
            <a:ext cx="1588" cy="55563"/>
          </a:xfrm>
          <a:custGeom>
            <a:avLst/>
            <a:gdLst>
              <a:gd name="T0" fmla="*/ 0 w 7"/>
              <a:gd name="T1" fmla="*/ 0 h 55563"/>
              <a:gd name="T2" fmla="*/ 2147483647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0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653203" y="4292228"/>
            <a:ext cx="6350" cy="57150"/>
          </a:xfrm>
          <a:custGeom>
            <a:avLst/>
            <a:gdLst>
              <a:gd name="T0" fmla="*/ 2147483647 w 16"/>
              <a:gd name="T1" fmla="*/ 0 h 25"/>
              <a:gd name="T2" fmla="*/ 2147483647 w 16"/>
              <a:gd name="T3" fmla="*/ 2147483647 h 25"/>
              <a:gd name="T4" fmla="*/ 2147483647 w 16"/>
              <a:gd name="T5" fmla="*/ 2147483647 h 25"/>
              <a:gd name="T6" fmla="*/ 2147483647 w 16"/>
              <a:gd name="T7" fmla="*/ 2147483647 h 25"/>
              <a:gd name="T8" fmla="*/ 2147483647 w 16"/>
              <a:gd name="T9" fmla="*/ 2147483647 h 25"/>
              <a:gd name="T10" fmla="*/ 2147483647 w 16"/>
              <a:gd name="T11" fmla="*/ 2147483647 h 25"/>
              <a:gd name="T12" fmla="*/ 2147483647 w 16"/>
              <a:gd name="T13" fmla="*/ 2147483647 h 25"/>
              <a:gd name="T14" fmla="*/ 2147483647 w 16"/>
              <a:gd name="T15" fmla="*/ 2147483647 h 25"/>
              <a:gd name="T16" fmla="*/ 0 w 16"/>
              <a:gd name="T17" fmla="*/ 2147483647 h 25"/>
              <a:gd name="T18" fmla="*/ 2147483647 w 16"/>
              <a:gd name="T19" fmla="*/ 2147483647 h 25"/>
              <a:gd name="T20" fmla="*/ 2147483647 w 16"/>
              <a:gd name="T21" fmla="*/ 2147483647 h 25"/>
              <a:gd name="T22" fmla="*/ 2147483647 w 16"/>
              <a:gd name="T23" fmla="*/ 2147483647 h 25"/>
              <a:gd name="T24" fmla="*/ 2147483647 w 16"/>
              <a:gd name="T25" fmla="*/ 2147483647 h 25"/>
              <a:gd name="T26" fmla="*/ 2147483647 w 16"/>
              <a:gd name="T27" fmla="*/ 2147483647 h 25"/>
              <a:gd name="T28" fmla="*/ 2147483647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1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765915" y="4181103"/>
            <a:ext cx="4763" cy="57150"/>
          </a:xfrm>
          <a:custGeom>
            <a:avLst/>
            <a:gdLst>
              <a:gd name="T0" fmla="*/ 0 w 14"/>
              <a:gd name="T1" fmla="*/ 0 h 18"/>
              <a:gd name="T2" fmla="*/ 2147483647 w 14"/>
              <a:gd name="T3" fmla="*/ 2147483647 h 18"/>
              <a:gd name="T4" fmla="*/ 2147483647 w 14"/>
              <a:gd name="T5" fmla="*/ 2147483647 h 18"/>
              <a:gd name="T6" fmla="*/ 2147483647 w 14"/>
              <a:gd name="T7" fmla="*/ 2147483647 h 18"/>
              <a:gd name="T8" fmla="*/ 2147483647 w 14"/>
              <a:gd name="T9" fmla="*/ 2147483647 h 18"/>
              <a:gd name="T10" fmla="*/ 2147483647 w 14"/>
              <a:gd name="T11" fmla="*/ 2147483647 h 18"/>
              <a:gd name="T12" fmla="*/ 2147483647 w 14"/>
              <a:gd name="T13" fmla="*/ 2147483647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2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918315" y="4879603"/>
            <a:ext cx="26988" cy="58737"/>
          </a:xfrm>
          <a:custGeom>
            <a:avLst/>
            <a:gdLst>
              <a:gd name="T0" fmla="*/ 0 w 67"/>
              <a:gd name="T1" fmla="*/ 0 h 74"/>
              <a:gd name="T2" fmla="*/ 2147483647 w 67"/>
              <a:gd name="T3" fmla="*/ 2147483647 h 74"/>
              <a:gd name="T4" fmla="*/ 2147483647 w 67"/>
              <a:gd name="T5" fmla="*/ 2147483647 h 74"/>
              <a:gd name="T6" fmla="*/ 2147483647 w 67"/>
              <a:gd name="T7" fmla="*/ 2147483647 h 74"/>
              <a:gd name="T8" fmla="*/ 2147483647 w 67"/>
              <a:gd name="T9" fmla="*/ 2147483647 h 74"/>
              <a:gd name="T10" fmla="*/ 2147483647 w 67"/>
              <a:gd name="T11" fmla="*/ 2147483647 h 74"/>
              <a:gd name="T12" fmla="*/ 2147483647 w 67"/>
              <a:gd name="T13" fmla="*/ 2147483647 h 74"/>
              <a:gd name="T14" fmla="*/ 2147483647 w 67"/>
              <a:gd name="T15" fmla="*/ 2147483647 h 74"/>
              <a:gd name="T16" fmla="*/ 2147483647 w 67"/>
              <a:gd name="T17" fmla="*/ 2147483647 h 74"/>
              <a:gd name="T18" fmla="*/ 2147483647 w 67"/>
              <a:gd name="T19" fmla="*/ 2147483647 h 74"/>
              <a:gd name="T20" fmla="*/ 2147483647 w 67"/>
              <a:gd name="T21" fmla="*/ 2147483647 h 74"/>
              <a:gd name="T22" fmla="*/ 2147483647 w 67"/>
              <a:gd name="T23" fmla="*/ 2147483647 h 74"/>
              <a:gd name="T24" fmla="*/ 2147483647 w 67"/>
              <a:gd name="T25" fmla="*/ 2147483647 h 74"/>
              <a:gd name="T26" fmla="*/ 2147483647 w 67"/>
              <a:gd name="T27" fmla="*/ 2147483647 h 74"/>
              <a:gd name="T28" fmla="*/ 2147483647 w 67"/>
              <a:gd name="T29" fmla="*/ 2147483647 h 74"/>
              <a:gd name="T30" fmla="*/ 2147483647 w 67"/>
              <a:gd name="T31" fmla="*/ 2147483647 h 74"/>
              <a:gd name="T32" fmla="*/ 2147483647 w 67"/>
              <a:gd name="T33" fmla="*/ 2147483647 h 74"/>
              <a:gd name="T34" fmla="*/ 2147483647 w 67"/>
              <a:gd name="T35" fmla="*/ 2147483647 h 74"/>
              <a:gd name="T36" fmla="*/ 2147483647 w 67"/>
              <a:gd name="T37" fmla="*/ 0 h 74"/>
              <a:gd name="T38" fmla="*/ 2147483647 w 67"/>
              <a:gd name="T39" fmla="*/ 0 h 74"/>
              <a:gd name="T40" fmla="*/ 2147483647 w 67"/>
              <a:gd name="T41" fmla="*/ 0 h 74"/>
              <a:gd name="T42" fmla="*/ 2147483647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3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981815" y="4893890"/>
            <a:ext cx="12700" cy="57150"/>
          </a:xfrm>
          <a:custGeom>
            <a:avLst/>
            <a:gdLst>
              <a:gd name="T0" fmla="*/ 0 w 34"/>
              <a:gd name="T1" fmla="*/ 0 h 38"/>
              <a:gd name="T2" fmla="*/ 2147483647 w 34"/>
              <a:gd name="T3" fmla="*/ 2147483647 h 38"/>
              <a:gd name="T4" fmla="*/ 2147483647 w 34"/>
              <a:gd name="T5" fmla="*/ 2147483647 h 38"/>
              <a:gd name="T6" fmla="*/ 2147483647 w 34"/>
              <a:gd name="T7" fmla="*/ 2147483647 h 38"/>
              <a:gd name="T8" fmla="*/ 2147483647 w 34"/>
              <a:gd name="T9" fmla="*/ 2147483647 h 38"/>
              <a:gd name="T10" fmla="*/ 2147483647 w 34"/>
              <a:gd name="T11" fmla="*/ 2147483647 h 38"/>
              <a:gd name="T12" fmla="*/ 2147483647 w 34"/>
              <a:gd name="T13" fmla="*/ 2147483647 h 38"/>
              <a:gd name="T14" fmla="*/ 2147483647 w 34"/>
              <a:gd name="T15" fmla="*/ 2147483647 h 38"/>
              <a:gd name="T16" fmla="*/ 2147483647 w 34"/>
              <a:gd name="T17" fmla="*/ 2147483647 h 38"/>
              <a:gd name="T18" fmla="*/ 2147483647 w 34"/>
              <a:gd name="T19" fmla="*/ 2147483647 h 38"/>
              <a:gd name="T20" fmla="*/ 2147483647 w 34"/>
              <a:gd name="T21" fmla="*/ 2147483647 h 38"/>
              <a:gd name="T22" fmla="*/ 2147483647 w 34"/>
              <a:gd name="T23" fmla="*/ 2147483647 h 38"/>
              <a:gd name="T24" fmla="*/ 2147483647 w 34"/>
              <a:gd name="T25" fmla="*/ 2147483647 h 38"/>
              <a:gd name="T26" fmla="*/ 2147483647 w 34"/>
              <a:gd name="T27" fmla="*/ 2147483647 h 38"/>
              <a:gd name="T28" fmla="*/ 2147483647 w 34"/>
              <a:gd name="T29" fmla="*/ 2147483647 h 38"/>
              <a:gd name="T30" fmla="*/ 2147483647 w 34"/>
              <a:gd name="T31" fmla="*/ 2147483647 h 38"/>
              <a:gd name="T32" fmla="*/ 2147483647 w 34"/>
              <a:gd name="T33" fmla="*/ 2147483647 h 38"/>
              <a:gd name="T34" fmla="*/ 2147483647 w 34"/>
              <a:gd name="T35" fmla="*/ 2147483647 h 38"/>
              <a:gd name="T36" fmla="*/ 2147483647 w 34"/>
              <a:gd name="T37" fmla="*/ 2147483647 h 38"/>
              <a:gd name="T38" fmla="*/ 2147483647 w 34"/>
              <a:gd name="T39" fmla="*/ 2147483647 h 38"/>
              <a:gd name="T40" fmla="*/ 2147483647 w 34"/>
              <a:gd name="T41" fmla="*/ 0 h 38"/>
              <a:gd name="T42" fmla="*/ 2147483647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4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838940" y="4670053"/>
            <a:ext cx="25400" cy="55562"/>
          </a:xfrm>
          <a:custGeom>
            <a:avLst/>
            <a:gdLst>
              <a:gd name="T0" fmla="*/ 2147483647 w 53"/>
              <a:gd name="T1" fmla="*/ 2147483647 h 23"/>
              <a:gd name="T2" fmla="*/ 2147483647 w 53"/>
              <a:gd name="T3" fmla="*/ 2147483647 h 23"/>
              <a:gd name="T4" fmla="*/ 2147483647 w 53"/>
              <a:gd name="T5" fmla="*/ 2147483647 h 23"/>
              <a:gd name="T6" fmla="*/ 2147483647 w 53"/>
              <a:gd name="T7" fmla="*/ 2147483647 h 23"/>
              <a:gd name="T8" fmla="*/ 2147483647 w 53"/>
              <a:gd name="T9" fmla="*/ 0 h 23"/>
              <a:gd name="T10" fmla="*/ 2147483647 w 53"/>
              <a:gd name="T11" fmla="*/ 0 h 23"/>
              <a:gd name="T12" fmla="*/ 2147483647 w 53"/>
              <a:gd name="T13" fmla="*/ 2147483647 h 23"/>
              <a:gd name="T14" fmla="*/ 2147483647 w 53"/>
              <a:gd name="T15" fmla="*/ 2147483647 h 23"/>
              <a:gd name="T16" fmla="*/ 2147483647 w 53"/>
              <a:gd name="T17" fmla="*/ 2147483647 h 23"/>
              <a:gd name="T18" fmla="*/ 0 w 53"/>
              <a:gd name="T19" fmla="*/ 2147483647 h 23"/>
              <a:gd name="T20" fmla="*/ 2147483647 w 53"/>
              <a:gd name="T21" fmla="*/ 2147483647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115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781790" y="4644653"/>
            <a:ext cx="11113" cy="57150"/>
          </a:xfrm>
          <a:custGeom>
            <a:avLst/>
            <a:gdLst>
              <a:gd name="T0" fmla="*/ 0 w 26"/>
              <a:gd name="T1" fmla="*/ 0 h 12"/>
              <a:gd name="T2" fmla="*/ 2147483647 w 26"/>
              <a:gd name="T3" fmla="*/ 2147483647 h 12"/>
              <a:gd name="T4" fmla="*/ 2147483647 w 26"/>
              <a:gd name="T5" fmla="*/ 2147483647 h 12"/>
              <a:gd name="T6" fmla="*/ 2147483647 w 26"/>
              <a:gd name="T7" fmla="*/ 2147483647 h 12"/>
              <a:gd name="T8" fmla="*/ 2147483647 w 26"/>
              <a:gd name="T9" fmla="*/ 2147483647 h 12"/>
              <a:gd name="T10" fmla="*/ 2147483647 w 26"/>
              <a:gd name="T11" fmla="*/ 2147483647 h 12"/>
              <a:gd name="T12" fmla="*/ 2147483647 w 26"/>
              <a:gd name="T13" fmla="*/ 2147483647 h 12"/>
              <a:gd name="T14" fmla="*/ 2147483647 w 26"/>
              <a:gd name="T15" fmla="*/ 2147483647 h 12"/>
              <a:gd name="T16" fmla="*/ 2147483647 w 26"/>
              <a:gd name="T17" fmla="*/ 2147483647 h 12"/>
              <a:gd name="T18" fmla="*/ 2147483647 w 26"/>
              <a:gd name="T19" fmla="*/ 2147483647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6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981815" y="4976440"/>
            <a:ext cx="31750" cy="57150"/>
          </a:xfrm>
          <a:custGeom>
            <a:avLst/>
            <a:gdLst>
              <a:gd name="T0" fmla="*/ 0 w 73"/>
              <a:gd name="T1" fmla="*/ 0 h 57150"/>
              <a:gd name="T2" fmla="*/ 2147483647 w 73"/>
              <a:gd name="T3" fmla="*/ 0 h 57150"/>
              <a:gd name="T4" fmla="*/ 2147483647 w 73"/>
              <a:gd name="T5" fmla="*/ 0 h 57150"/>
              <a:gd name="T6" fmla="*/ 2147483647 w 73"/>
              <a:gd name="T7" fmla="*/ 0 h 57150"/>
              <a:gd name="T8" fmla="*/ 2147483647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7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937365" y="4965328"/>
            <a:ext cx="22225" cy="57150"/>
          </a:xfrm>
          <a:custGeom>
            <a:avLst/>
            <a:gdLst>
              <a:gd name="T0" fmla="*/ 0 w 53"/>
              <a:gd name="T1" fmla="*/ 0 h 3"/>
              <a:gd name="T2" fmla="*/ 2147483647 w 53"/>
              <a:gd name="T3" fmla="*/ 0 h 3"/>
              <a:gd name="T4" fmla="*/ 2147483647 w 53"/>
              <a:gd name="T5" fmla="*/ 2147483647 h 3"/>
              <a:gd name="T6" fmla="*/ 2147483647 w 53"/>
              <a:gd name="T7" fmla="*/ 2147483647 h 3"/>
              <a:gd name="T8" fmla="*/ 2147483647 w 53"/>
              <a:gd name="T9" fmla="*/ 2147483647 h 3"/>
              <a:gd name="T10" fmla="*/ 2147483647 w 53"/>
              <a:gd name="T11" fmla="*/ 2147483647 h 3"/>
              <a:gd name="T12" fmla="*/ 2147483647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8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970703" y="495104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19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991340" y="495739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147483647 h 13"/>
              <a:gd name="T4" fmla="*/ 0 w 1588"/>
              <a:gd name="T5" fmla="*/ 2147483647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0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945303" y="4951040"/>
            <a:ext cx="14287" cy="58738"/>
          </a:xfrm>
          <a:custGeom>
            <a:avLst/>
            <a:gdLst>
              <a:gd name="T0" fmla="*/ 0 w 26"/>
              <a:gd name="T1" fmla="*/ 0 h 58738"/>
              <a:gd name="T2" fmla="*/ 2147483647 w 26"/>
              <a:gd name="T3" fmla="*/ 0 h 58738"/>
              <a:gd name="T4" fmla="*/ 214748364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1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938953" y="4931990"/>
            <a:ext cx="6350" cy="60325"/>
          </a:xfrm>
          <a:custGeom>
            <a:avLst/>
            <a:gdLst>
              <a:gd name="T0" fmla="*/ 2147483647 w 20"/>
              <a:gd name="T1" fmla="*/ 0 h 25"/>
              <a:gd name="T2" fmla="*/ 0 w 20"/>
              <a:gd name="T3" fmla="*/ 2147483647 h 25"/>
              <a:gd name="T4" fmla="*/ 2147483647 w 20"/>
              <a:gd name="T5" fmla="*/ 2147483647 h 25"/>
              <a:gd name="T6" fmla="*/ 2147483647 w 20"/>
              <a:gd name="T7" fmla="*/ 2147483647 h 25"/>
              <a:gd name="T8" fmla="*/ 2147483647 w 20"/>
              <a:gd name="T9" fmla="*/ 2147483647 h 25"/>
              <a:gd name="T10" fmla="*/ 2147483647 w 20"/>
              <a:gd name="T11" fmla="*/ 2147483647 h 25"/>
              <a:gd name="T12" fmla="*/ 2147483647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2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8019915" y="4658940"/>
            <a:ext cx="1588" cy="57150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0 h 24"/>
              <a:gd name="T4" fmla="*/ 2147483647 w 6"/>
              <a:gd name="T5" fmla="*/ 2147483647 h 24"/>
              <a:gd name="T6" fmla="*/ 0 w 6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23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894503" y="4330328"/>
            <a:ext cx="163512" cy="114300"/>
            <a:chOff x="5379" y="2466"/>
            <a:chExt cx="122" cy="71"/>
          </a:xfrm>
        </p:grpSpPr>
        <p:sp>
          <p:nvSpPr>
            <p:cNvPr id="2558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0 w 19"/>
                <a:gd name="T1" fmla="*/ 0 h 25"/>
                <a:gd name="T2" fmla="*/ 0 w 19"/>
                <a:gd name="T3" fmla="*/ 0 h 25"/>
                <a:gd name="T4" fmla="*/ 0 w 19"/>
                <a:gd name="T5" fmla="*/ 0 h 25"/>
                <a:gd name="T6" fmla="*/ 0 w 19"/>
                <a:gd name="T7" fmla="*/ 0 h 25"/>
                <a:gd name="T8" fmla="*/ 0 w 19"/>
                <a:gd name="T9" fmla="*/ 0 h 25"/>
                <a:gd name="T10" fmla="*/ 0 w 19"/>
                <a:gd name="T11" fmla="*/ 0 h 25"/>
                <a:gd name="T12" fmla="*/ 0 w 19"/>
                <a:gd name="T13" fmla="*/ 0 h 25"/>
                <a:gd name="T14" fmla="*/ 0 w 19"/>
                <a:gd name="T15" fmla="*/ 0 h 25"/>
                <a:gd name="T16" fmla="*/ 0 w 19"/>
                <a:gd name="T17" fmla="*/ 0 h 25"/>
                <a:gd name="T18" fmla="*/ 0 w 19"/>
                <a:gd name="T19" fmla="*/ 0 h 25"/>
                <a:gd name="T20" fmla="*/ 0 w 19"/>
                <a:gd name="T21" fmla="*/ 0 h 25"/>
                <a:gd name="T22" fmla="*/ 0 w 19"/>
                <a:gd name="T23" fmla="*/ 0 h 25"/>
                <a:gd name="T24" fmla="*/ 0 w 19"/>
                <a:gd name="T25" fmla="*/ 0 h 25"/>
                <a:gd name="T26" fmla="*/ 0 w 19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9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0 w 26"/>
                <a:gd name="T1" fmla="*/ 0 h 18"/>
                <a:gd name="T2" fmla="*/ 0 w 26"/>
                <a:gd name="T3" fmla="*/ 0 h 18"/>
                <a:gd name="T4" fmla="*/ 0 w 26"/>
                <a:gd name="T5" fmla="*/ 0 h 18"/>
                <a:gd name="T6" fmla="*/ 0 w 26"/>
                <a:gd name="T7" fmla="*/ 0 h 18"/>
                <a:gd name="T8" fmla="*/ 0 w 26"/>
                <a:gd name="T9" fmla="*/ 0 h 18"/>
                <a:gd name="T10" fmla="*/ 0 w 26"/>
                <a:gd name="T11" fmla="*/ 0 h 18"/>
                <a:gd name="T12" fmla="*/ 0 w 26"/>
                <a:gd name="T13" fmla="*/ 0 h 18"/>
                <a:gd name="T14" fmla="*/ 0 w 2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0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1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0 h 24"/>
                <a:gd name="T2" fmla="*/ 0 w 26"/>
                <a:gd name="T3" fmla="*/ 0 h 24"/>
                <a:gd name="T4" fmla="*/ 0 w 26"/>
                <a:gd name="T5" fmla="*/ 0 h 24"/>
                <a:gd name="T6" fmla="*/ 0 w 26"/>
                <a:gd name="T7" fmla="*/ 0 h 24"/>
                <a:gd name="T8" fmla="*/ 0 w 26"/>
                <a:gd name="T9" fmla="*/ 0 h 24"/>
                <a:gd name="T10" fmla="*/ 0 w 26"/>
                <a:gd name="T11" fmla="*/ 0 h 24"/>
                <a:gd name="T12" fmla="*/ 0 w 26"/>
                <a:gd name="T13" fmla="*/ 0 h 24"/>
                <a:gd name="T14" fmla="*/ 0 w 26"/>
                <a:gd name="T15" fmla="*/ 0 h 24"/>
                <a:gd name="T16" fmla="*/ 0 w 26"/>
                <a:gd name="T17" fmla="*/ 0 h 24"/>
                <a:gd name="T18" fmla="*/ 0 w 2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2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0 h 6"/>
                <a:gd name="T2" fmla="*/ 0 w 34"/>
                <a:gd name="T3" fmla="*/ 0 h 6"/>
                <a:gd name="T4" fmla="*/ 0 w 34"/>
                <a:gd name="T5" fmla="*/ 0 h 6"/>
                <a:gd name="T6" fmla="*/ 0 w 34"/>
                <a:gd name="T7" fmla="*/ 0 h 6"/>
                <a:gd name="T8" fmla="*/ 0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3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4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0 h 19"/>
                <a:gd name="T2" fmla="*/ 0 w 1"/>
                <a:gd name="T3" fmla="*/ 0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5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6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0 w 14"/>
                <a:gd name="T1" fmla="*/ 0 h 6"/>
                <a:gd name="T2" fmla="*/ 0 w 14"/>
                <a:gd name="T3" fmla="*/ 0 h 6"/>
                <a:gd name="T4" fmla="*/ 0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24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478453" y="4192215"/>
            <a:ext cx="6350" cy="57150"/>
          </a:xfrm>
          <a:custGeom>
            <a:avLst/>
            <a:gdLst>
              <a:gd name="T0" fmla="*/ 2147483647 w 26"/>
              <a:gd name="T1" fmla="*/ 2147483647 h 111"/>
              <a:gd name="T2" fmla="*/ 2147483647 w 26"/>
              <a:gd name="T3" fmla="*/ 2147483647 h 111"/>
              <a:gd name="T4" fmla="*/ 2147483647 w 26"/>
              <a:gd name="T5" fmla="*/ 2147483647 h 111"/>
              <a:gd name="T6" fmla="*/ 2147483647 w 26"/>
              <a:gd name="T7" fmla="*/ 2147483647 h 111"/>
              <a:gd name="T8" fmla="*/ 2147483647 w 26"/>
              <a:gd name="T9" fmla="*/ 2147483647 h 111"/>
              <a:gd name="T10" fmla="*/ 0 w 26"/>
              <a:gd name="T11" fmla="*/ 2147483647 h 111"/>
              <a:gd name="T12" fmla="*/ 0 w 26"/>
              <a:gd name="T13" fmla="*/ 2147483647 h 111"/>
              <a:gd name="T14" fmla="*/ 0 w 26"/>
              <a:gd name="T15" fmla="*/ 2147483647 h 111"/>
              <a:gd name="T16" fmla="*/ 2147483647 w 26"/>
              <a:gd name="T17" fmla="*/ 2147483647 h 111"/>
              <a:gd name="T18" fmla="*/ 2147483647 w 26"/>
              <a:gd name="T19" fmla="*/ 2147483647 h 111"/>
              <a:gd name="T20" fmla="*/ 2147483647 w 26"/>
              <a:gd name="T21" fmla="*/ 2147483647 h 111"/>
              <a:gd name="T22" fmla="*/ 2147483647 w 26"/>
              <a:gd name="T23" fmla="*/ 2147483647 h 111"/>
              <a:gd name="T24" fmla="*/ 2147483647 w 26"/>
              <a:gd name="T25" fmla="*/ 2147483647 h 111"/>
              <a:gd name="T26" fmla="*/ 2147483647 w 26"/>
              <a:gd name="T27" fmla="*/ 2147483647 h 111"/>
              <a:gd name="T28" fmla="*/ 2147483647 w 26"/>
              <a:gd name="T29" fmla="*/ 0 h 111"/>
              <a:gd name="T30" fmla="*/ 2147483647 w 26"/>
              <a:gd name="T31" fmla="*/ 2147483647 h 111"/>
              <a:gd name="T32" fmla="*/ 2147483647 w 26"/>
              <a:gd name="T33" fmla="*/ 2147483647 h 111"/>
              <a:gd name="T34" fmla="*/ 2147483647 w 26"/>
              <a:gd name="T35" fmla="*/ 2147483647 h 111"/>
              <a:gd name="T36" fmla="*/ 2147483647 w 26"/>
              <a:gd name="T37" fmla="*/ 2147483647 h 111"/>
              <a:gd name="T38" fmla="*/ 2147483647 w 26"/>
              <a:gd name="T39" fmla="*/ 2147483647 h 111"/>
              <a:gd name="T40" fmla="*/ 2147483647 w 26"/>
              <a:gd name="T41" fmla="*/ 2147483647 h 111"/>
              <a:gd name="T42" fmla="*/ 2147483647 w 26"/>
              <a:gd name="T43" fmla="*/ 2147483647 h 111"/>
              <a:gd name="T44" fmla="*/ 2147483647 w 26"/>
              <a:gd name="T45" fmla="*/ 2147483647 h 111"/>
              <a:gd name="T46" fmla="*/ 2147483647 w 26"/>
              <a:gd name="T47" fmla="*/ 214748364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5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378065" y="6332165"/>
            <a:ext cx="53975" cy="58738"/>
          </a:xfrm>
          <a:custGeom>
            <a:avLst/>
            <a:gdLst>
              <a:gd name="T0" fmla="*/ 0 w 126"/>
              <a:gd name="T1" fmla="*/ 2147483647 h 62"/>
              <a:gd name="T2" fmla="*/ 2147483647 w 126"/>
              <a:gd name="T3" fmla="*/ 2147483647 h 62"/>
              <a:gd name="T4" fmla="*/ 2147483647 w 126"/>
              <a:gd name="T5" fmla="*/ 2147483647 h 62"/>
              <a:gd name="T6" fmla="*/ 2147483647 w 126"/>
              <a:gd name="T7" fmla="*/ 2147483647 h 62"/>
              <a:gd name="T8" fmla="*/ 2147483647 w 126"/>
              <a:gd name="T9" fmla="*/ 2147483647 h 62"/>
              <a:gd name="T10" fmla="*/ 2147483647 w 126"/>
              <a:gd name="T11" fmla="*/ 2147483647 h 62"/>
              <a:gd name="T12" fmla="*/ 2147483647 w 126"/>
              <a:gd name="T13" fmla="*/ 2147483647 h 62"/>
              <a:gd name="T14" fmla="*/ 2147483647 w 126"/>
              <a:gd name="T15" fmla="*/ 2147483647 h 62"/>
              <a:gd name="T16" fmla="*/ 2147483647 w 126"/>
              <a:gd name="T17" fmla="*/ 2147483647 h 62"/>
              <a:gd name="T18" fmla="*/ 2147483647 w 126"/>
              <a:gd name="T19" fmla="*/ 2147483647 h 62"/>
              <a:gd name="T20" fmla="*/ 2147483647 w 126"/>
              <a:gd name="T21" fmla="*/ 2147483647 h 62"/>
              <a:gd name="T22" fmla="*/ 2147483647 w 126"/>
              <a:gd name="T23" fmla="*/ 2147483647 h 62"/>
              <a:gd name="T24" fmla="*/ 2147483647 w 126"/>
              <a:gd name="T25" fmla="*/ 2147483647 h 62"/>
              <a:gd name="T26" fmla="*/ 2147483647 w 126"/>
              <a:gd name="T27" fmla="*/ 2147483647 h 62"/>
              <a:gd name="T28" fmla="*/ 2147483647 w 126"/>
              <a:gd name="T29" fmla="*/ 2147483647 h 62"/>
              <a:gd name="T30" fmla="*/ 2147483647 w 126"/>
              <a:gd name="T31" fmla="*/ 2147483647 h 62"/>
              <a:gd name="T32" fmla="*/ 2147483647 w 126"/>
              <a:gd name="T33" fmla="*/ 2147483647 h 62"/>
              <a:gd name="T34" fmla="*/ 2147483647 w 126"/>
              <a:gd name="T35" fmla="*/ 2147483647 h 62"/>
              <a:gd name="T36" fmla="*/ 2147483647 w 126"/>
              <a:gd name="T37" fmla="*/ 2147483647 h 62"/>
              <a:gd name="T38" fmla="*/ 2147483647 w 126"/>
              <a:gd name="T39" fmla="*/ 2147483647 h 62"/>
              <a:gd name="T40" fmla="*/ 2147483647 w 126"/>
              <a:gd name="T41" fmla="*/ 2147483647 h 62"/>
              <a:gd name="T42" fmla="*/ 2147483647 w 126"/>
              <a:gd name="T43" fmla="*/ 2147483647 h 62"/>
              <a:gd name="T44" fmla="*/ 2147483647 w 126"/>
              <a:gd name="T45" fmla="*/ 2147483647 h 62"/>
              <a:gd name="T46" fmla="*/ 2147483647 w 126"/>
              <a:gd name="T47" fmla="*/ 2147483647 h 62"/>
              <a:gd name="T48" fmla="*/ 2147483647 w 126"/>
              <a:gd name="T49" fmla="*/ 0 h 62"/>
              <a:gd name="T50" fmla="*/ 0 w 126"/>
              <a:gd name="T51" fmla="*/ 0 h 62"/>
              <a:gd name="T52" fmla="*/ 0 w 126"/>
              <a:gd name="T53" fmla="*/ 2147483647 h 62"/>
              <a:gd name="T54" fmla="*/ 0 w 126"/>
              <a:gd name="T55" fmla="*/ 2147483647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6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679940" y="6170240"/>
            <a:ext cx="30163" cy="55563"/>
          </a:xfrm>
          <a:custGeom>
            <a:avLst/>
            <a:gdLst>
              <a:gd name="T0" fmla="*/ 0 w 66"/>
              <a:gd name="T1" fmla="*/ 0 h 44"/>
              <a:gd name="T2" fmla="*/ 2147483647 w 66"/>
              <a:gd name="T3" fmla="*/ 2147483647 h 44"/>
              <a:gd name="T4" fmla="*/ 2147483647 w 66"/>
              <a:gd name="T5" fmla="*/ 2147483647 h 44"/>
              <a:gd name="T6" fmla="*/ 2147483647 w 66"/>
              <a:gd name="T7" fmla="*/ 2147483647 h 44"/>
              <a:gd name="T8" fmla="*/ 2147483647 w 66"/>
              <a:gd name="T9" fmla="*/ 2147483647 h 44"/>
              <a:gd name="T10" fmla="*/ 2147483647 w 66"/>
              <a:gd name="T11" fmla="*/ 2147483647 h 44"/>
              <a:gd name="T12" fmla="*/ 2147483647 w 66"/>
              <a:gd name="T13" fmla="*/ 2147483647 h 44"/>
              <a:gd name="T14" fmla="*/ 2147483647 w 66"/>
              <a:gd name="T15" fmla="*/ 2147483647 h 44"/>
              <a:gd name="T16" fmla="*/ 2147483647 w 66"/>
              <a:gd name="T17" fmla="*/ 2147483647 h 44"/>
              <a:gd name="T18" fmla="*/ 2147483647 w 66"/>
              <a:gd name="T19" fmla="*/ 2147483647 h 44"/>
              <a:gd name="T20" fmla="*/ 2147483647 w 66"/>
              <a:gd name="T21" fmla="*/ 2147483647 h 44"/>
              <a:gd name="T22" fmla="*/ 2147483647 w 66"/>
              <a:gd name="T23" fmla="*/ 2147483647 h 44"/>
              <a:gd name="T24" fmla="*/ 2147483647 w 66"/>
              <a:gd name="T25" fmla="*/ 2147483647 h 44"/>
              <a:gd name="T26" fmla="*/ 2147483647 w 66"/>
              <a:gd name="T27" fmla="*/ 2147483647 h 44"/>
              <a:gd name="T28" fmla="*/ 2147483647 w 66"/>
              <a:gd name="T29" fmla="*/ 2147483647 h 44"/>
              <a:gd name="T30" fmla="*/ 2147483647 w 66"/>
              <a:gd name="T31" fmla="*/ 2147483647 h 44"/>
              <a:gd name="T32" fmla="*/ 2147483647 w 66"/>
              <a:gd name="T33" fmla="*/ 2147483647 h 44"/>
              <a:gd name="T34" fmla="*/ 2147483647 w 66"/>
              <a:gd name="T35" fmla="*/ 2147483647 h 44"/>
              <a:gd name="T36" fmla="*/ 0 w 66"/>
              <a:gd name="T37" fmla="*/ 2147483647 h 44"/>
              <a:gd name="T38" fmla="*/ 0 w 66"/>
              <a:gd name="T39" fmla="*/ 2147483647 h 44"/>
              <a:gd name="T40" fmla="*/ 0 w 66"/>
              <a:gd name="T41" fmla="*/ 2147483647 h 44"/>
              <a:gd name="T42" fmla="*/ 0 w 66"/>
              <a:gd name="T43" fmla="*/ 2147483647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7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834178" y="2941265"/>
            <a:ext cx="20637" cy="57150"/>
          </a:xfrm>
          <a:custGeom>
            <a:avLst/>
            <a:gdLst>
              <a:gd name="T0" fmla="*/ 2147483647 w 46"/>
              <a:gd name="T1" fmla="*/ 0 h 16"/>
              <a:gd name="T2" fmla="*/ 2147483647 w 46"/>
              <a:gd name="T3" fmla="*/ 2147483647 h 16"/>
              <a:gd name="T4" fmla="*/ 2147483647 w 46"/>
              <a:gd name="T5" fmla="*/ 2147483647 h 16"/>
              <a:gd name="T6" fmla="*/ 2147483647 w 46"/>
              <a:gd name="T7" fmla="*/ 2147483647 h 16"/>
              <a:gd name="T8" fmla="*/ 2147483647 w 46"/>
              <a:gd name="T9" fmla="*/ 2147483647 h 16"/>
              <a:gd name="T10" fmla="*/ 2147483647 w 46"/>
              <a:gd name="T11" fmla="*/ 2147483647 h 16"/>
              <a:gd name="T12" fmla="*/ 2147483647 w 46"/>
              <a:gd name="T13" fmla="*/ 2147483647 h 16"/>
              <a:gd name="T14" fmla="*/ 2147483647 w 46"/>
              <a:gd name="T15" fmla="*/ 2147483647 h 16"/>
              <a:gd name="T16" fmla="*/ 2147483647 w 46"/>
              <a:gd name="T17" fmla="*/ 2147483647 h 16"/>
              <a:gd name="T18" fmla="*/ 2147483647 w 46"/>
              <a:gd name="T19" fmla="*/ 2147483647 h 16"/>
              <a:gd name="T20" fmla="*/ 0 w 46"/>
              <a:gd name="T21" fmla="*/ 0 h 16"/>
              <a:gd name="T22" fmla="*/ 214748364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8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010390" y="2974603"/>
            <a:ext cx="15875" cy="57150"/>
          </a:xfrm>
          <a:custGeom>
            <a:avLst/>
            <a:gdLst>
              <a:gd name="T0" fmla="*/ 2147483647 w 39"/>
              <a:gd name="T1" fmla="*/ 2147483647 h 26"/>
              <a:gd name="T2" fmla="*/ 2147483647 w 39"/>
              <a:gd name="T3" fmla="*/ 2147483647 h 26"/>
              <a:gd name="T4" fmla="*/ 2147483647 w 39"/>
              <a:gd name="T5" fmla="*/ 2147483647 h 26"/>
              <a:gd name="T6" fmla="*/ 2147483647 w 39"/>
              <a:gd name="T7" fmla="*/ 2147483647 h 26"/>
              <a:gd name="T8" fmla="*/ 2147483647 w 39"/>
              <a:gd name="T9" fmla="*/ 2147483647 h 26"/>
              <a:gd name="T10" fmla="*/ 2147483647 w 39"/>
              <a:gd name="T11" fmla="*/ 2147483647 h 26"/>
              <a:gd name="T12" fmla="*/ 2147483647 w 39"/>
              <a:gd name="T13" fmla="*/ 2147483647 h 26"/>
              <a:gd name="T14" fmla="*/ 2147483647 w 39"/>
              <a:gd name="T15" fmla="*/ 2147483647 h 26"/>
              <a:gd name="T16" fmla="*/ 2147483647 w 39"/>
              <a:gd name="T17" fmla="*/ 2147483647 h 26"/>
              <a:gd name="T18" fmla="*/ 2147483647 w 39"/>
              <a:gd name="T19" fmla="*/ 2147483647 h 26"/>
              <a:gd name="T20" fmla="*/ 0 w 39"/>
              <a:gd name="T21" fmla="*/ 0 h 26"/>
              <a:gd name="T22" fmla="*/ 2147483647 w 39"/>
              <a:gd name="T23" fmla="*/ 2147483647 h 26"/>
              <a:gd name="T24" fmla="*/ 2147483647 w 39"/>
              <a:gd name="T25" fmla="*/ 2147483647 h 26"/>
              <a:gd name="T26" fmla="*/ 2147483647 w 39"/>
              <a:gd name="T27" fmla="*/ 2147483647 h 26"/>
              <a:gd name="T28" fmla="*/ 2147483647 w 39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9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459528" y="3204790"/>
            <a:ext cx="4762" cy="58738"/>
          </a:xfrm>
          <a:custGeom>
            <a:avLst/>
            <a:gdLst>
              <a:gd name="T0" fmla="*/ 2147483647 w 11"/>
              <a:gd name="T1" fmla="*/ 0 h 25"/>
              <a:gd name="T2" fmla="*/ 2147483647 w 11"/>
              <a:gd name="T3" fmla="*/ 2147483647 h 25"/>
              <a:gd name="T4" fmla="*/ 2147483647 w 11"/>
              <a:gd name="T5" fmla="*/ 2147483647 h 25"/>
              <a:gd name="T6" fmla="*/ 2147483647 w 11"/>
              <a:gd name="T7" fmla="*/ 2147483647 h 25"/>
              <a:gd name="T8" fmla="*/ 2147483647 w 11"/>
              <a:gd name="T9" fmla="*/ 2147483647 h 25"/>
              <a:gd name="T10" fmla="*/ 2147483647 w 11"/>
              <a:gd name="T11" fmla="*/ 2147483647 h 25"/>
              <a:gd name="T12" fmla="*/ 2147483647 w 11"/>
              <a:gd name="T13" fmla="*/ 2147483647 h 25"/>
              <a:gd name="T14" fmla="*/ 0 w 11"/>
              <a:gd name="T15" fmla="*/ 2147483647 h 25"/>
              <a:gd name="T16" fmla="*/ 0 w 11"/>
              <a:gd name="T17" fmla="*/ 2147483647 h 25"/>
              <a:gd name="T18" fmla="*/ 2147483647 w 11"/>
              <a:gd name="T19" fmla="*/ 2147483647 h 25"/>
              <a:gd name="T20" fmla="*/ 2147483647 w 11"/>
              <a:gd name="T21" fmla="*/ 2147483647 h 25"/>
              <a:gd name="T22" fmla="*/ 2147483647 w 11"/>
              <a:gd name="T23" fmla="*/ 2147483647 h 25"/>
              <a:gd name="T24" fmla="*/ 2147483647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0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273790" y="3766765"/>
            <a:ext cx="14288" cy="58738"/>
          </a:xfrm>
          <a:custGeom>
            <a:avLst/>
            <a:gdLst>
              <a:gd name="T0" fmla="*/ 2147483647 w 20"/>
              <a:gd name="T1" fmla="*/ 0 h 31"/>
              <a:gd name="T2" fmla="*/ 2147483647 w 20"/>
              <a:gd name="T3" fmla="*/ 2147483647 h 31"/>
              <a:gd name="T4" fmla="*/ 2147483647 w 20"/>
              <a:gd name="T5" fmla="*/ 2147483647 h 31"/>
              <a:gd name="T6" fmla="*/ 2147483647 w 20"/>
              <a:gd name="T7" fmla="*/ 2147483647 h 31"/>
              <a:gd name="T8" fmla="*/ 0 w 20"/>
              <a:gd name="T9" fmla="*/ 2147483647 h 31"/>
              <a:gd name="T10" fmla="*/ 0 w 20"/>
              <a:gd name="T11" fmla="*/ 2147483647 h 31"/>
              <a:gd name="T12" fmla="*/ 2147483647 w 20"/>
              <a:gd name="T13" fmla="*/ 2147483647 h 31"/>
              <a:gd name="T14" fmla="*/ 2147483647 w 20"/>
              <a:gd name="T15" fmla="*/ 2147483647 h 31"/>
              <a:gd name="T16" fmla="*/ 2147483647 w 20"/>
              <a:gd name="T17" fmla="*/ 2147483647 h 31"/>
              <a:gd name="T18" fmla="*/ 2147483647 w 20"/>
              <a:gd name="T19" fmla="*/ 2147483647 h 31"/>
              <a:gd name="T20" fmla="*/ 2147483647 w 20"/>
              <a:gd name="T21" fmla="*/ 2147483647 h 31"/>
              <a:gd name="T22" fmla="*/ 2147483647 w 20"/>
              <a:gd name="T23" fmla="*/ 0 h 31"/>
              <a:gd name="T24" fmla="*/ 21474836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1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291253" y="3701678"/>
            <a:ext cx="15875" cy="57150"/>
          </a:xfrm>
          <a:custGeom>
            <a:avLst/>
            <a:gdLst>
              <a:gd name="T0" fmla="*/ 2147483647 w 26"/>
              <a:gd name="T1" fmla="*/ 2147483647 h 37"/>
              <a:gd name="T2" fmla="*/ 0 w 26"/>
              <a:gd name="T3" fmla="*/ 2147483647 h 37"/>
              <a:gd name="T4" fmla="*/ 2147483647 w 26"/>
              <a:gd name="T5" fmla="*/ 2147483647 h 37"/>
              <a:gd name="T6" fmla="*/ 2147483647 w 26"/>
              <a:gd name="T7" fmla="*/ 2147483647 h 37"/>
              <a:gd name="T8" fmla="*/ 2147483647 w 26"/>
              <a:gd name="T9" fmla="*/ 2147483647 h 37"/>
              <a:gd name="T10" fmla="*/ 2147483647 w 26"/>
              <a:gd name="T11" fmla="*/ 0 h 37"/>
              <a:gd name="T12" fmla="*/ 2147483647 w 26"/>
              <a:gd name="T13" fmla="*/ 2147483647 h 37"/>
              <a:gd name="T14" fmla="*/ 2147483647 w 26"/>
              <a:gd name="T15" fmla="*/ 2147483647 h 37"/>
              <a:gd name="T16" fmla="*/ 2147483647 w 26"/>
              <a:gd name="T17" fmla="*/ 2147483647 h 37"/>
              <a:gd name="T18" fmla="*/ 2147483647 w 26"/>
              <a:gd name="T19" fmla="*/ 2147483647 h 37"/>
              <a:gd name="T20" fmla="*/ 2147483647 w 26"/>
              <a:gd name="T21" fmla="*/ 2147483647 h 37"/>
              <a:gd name="T22" fmla="*/ 2147483647 w 26"/>
              <a:gd name="T23" fmla="*/ 2147483647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2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180128" y="3550865"/>
            <a:ext cx="1587" cy="60325"/>
          </a:xfrm>
          <a:custGeom>
            <a:avLst/>
            <a:gdLst>
              <a:gd name="T0" fmla="*/ 0 w 7"/>
              <a:gd name="T1" fmla="*/ 2147483647 h 18"/>
              <a:gd name="T2" fmla="*/ 0 w 7"/>
              <a:gd name="T3" fmla="*/ 0 h 18"/>
              <a:gd name="T4" fmla="*/ 2147483647 w 7"/>
              <a:gd name="T5" fmla="*/ 2147483647 h 18"/>
              <a:gd name="T6" fmla="*/ 0 w 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3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032115" y="2677740"/>
            <a:ext cx="9525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0 w 33"/>
              <a:gd name="T23" fmla="*/ 2147483647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4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017828" y="2445965"/>
            <a:ext cx="3175" cy="5715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5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498965" y="4223965"/>
            <a:ext cx="25400" cy="55563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6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202103" y="4085853"/>
            <a:ext cx="19050" cy="58737"/>
          </a:xfrm>
          <a:custGeom>
            <a:avLst/>
            <a:gdLst>
              <a:gd name="T0" fmla="*/ 2147483647 w 47"/>
              <a:gd name="T1" fmla="*/ 0 h 68"/>
              <a:gd name="T2" fmla="*/ 2147483647 w 47"/>
              <a:gd name="T3" fmla="*/ 2147483647 h 68"/>
              <a:gd name="T4" fmla="*/ 2147483647 w 47"/>
              <a:gd name="T5" fmla="*/ 2147483647 h 68"/>
              <a:gd name="T6" fmla="*/ 2147483647 w 47"/>
              <a:gd name="T7" fmla="*/ 2147483647 h 68"/>
              <a:gd name="T8" fmla="*/ 0 w 47"/>
              <a:gd name="T9" fmla="*/ 2147483647 h 68"/>
              <a:gd name="T10" fmla="*/ 0 w 47"/>
              <a:gd name="T11" fmla="*/ 2147483647 h 68"/>
              <a:gd name="T12" fmla="*/ 2147483647 w 47"/>
              <a:gd name="T13" fmla="*/ 2147483647 h 68"/>
              <a:gd name="T14" fmla="*/ 2147483647 w 47"/>
              <a:gd name="T15" fmla="*/ 2147483647 h 68"/>
              <a:gd name="T16" fmla="*/ 2147483647 w 47"/>
              <a:gd name="T17" fmla="*/ 2147483647 h 68"/>
              <a:gd name="T18" fmla="*/ 2147483647 w 47"/>
              <a:gd name="T19" fmla="*/ 2147483647 h 68"/>
              <a:gd name="T20" fmla="*/ 2147483647 w 47"/>
              <a:gd name="T21" fmla="*/ 2147483647 h 68"/>
              <a:gd name="T22" fmla="*/ 2147483647 w 47"/>
              <a:gd name="T23" fmla="*/ 2147483647 h 68"/>
              <a:gd name="T24" fmla="*/ 2147483647 w 47"/>
              <a:gd name="T25" fmla="*/ 2147483647 h 68"/>
              <a:gd name="T26" fmla="*/ 2147483647 w 47"/>
              <a:gd name="T27" fmla="*/ 2147483647 h 68"/>
              <a:gd name="T28" fmla="*/ 2147483647 w 47"/>
              <a:gd name="T29" fmla="*/ 2147483647 h 68"/>
              <a:gd name="T30" fmla="*/ 2147483647 w 47"/>
              <a:gd name="T31" fmla="*/ 2147483647 h 68"/>
              <a:gd name="T32" fmla="*/ 2147483647 w 47"/>
              <a:gd name="T33" fmla="*/ 2147483647 h 68"/>
              <a:gd name="T34" fmla="*/ 2147483647 w 47"/>
              <a:gd name="T35" fmla="*/ 2147483647 h 68"/>
              <a:gd name="T36" fmla="*/ 2147483647 w 47"/>
              <a:gd name="T37" fmla="*/ 2147483647 h 68"/>
              <a:gd name="T38" fmla="*/ 2147483647 w 47"/>
              <a:gd name="T39" fmla="*/ 2147483647 h 68"/>
              <a:gd name="T40" fmla="*/ 2147483647 w 47"/>
              <a:gd name="T41" fmla="*/ 2147483647 h 68"/>
              <a:gd name="T42" fmla="*/ 2147483647 w 47"/>
              <a:gd name="T43" fmla="*/ 2147483647 h 68"/>
              <a:gd name="T44" fmla="*/ 2147483647 w 47"/>
              <a:gd name="T45" fmla="*/ 2147483647 h 68"/>
              <a:gd name="T46" fmla="*/ 2147483647 w 47"/>
              <a:gd name="T47" fmla="*/ 2147483647 h 68"/>
              <a:gd name="T48" fmla="*/ 2147483647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3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973628" y="4273178"/>
            <a:ext cx="46037" cy="374650"/>
            <a:chOff x="3950" y="2430"/>
            <a:chExt cx="36" cy="234"/>
          </a:xfrm>
        </p:grpSpPr>
        <p:sp>
          <p:nvSpPr>
            <p:cNvPr id="2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8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9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0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1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32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3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4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35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6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7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38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9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0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1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2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3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4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5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6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47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8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9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50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1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2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53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4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5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6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7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213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8038965" y="4773240"/>
            <a:ext cx="185738" cy="214313"/>
            <a:chOff x="5486" y="2743"/>
            <a:chExt cx="137" cy="132"/>
          </a:xfrm>
          <a:solidFill>
            <a:schemeClr val="bg1">
              <a:lumMod val="75000"/>
            </a:schemeClr>
          </a:solidFill>
        </p:grpSpPr>
        <p:sp>
          <p:nvSpPr>
            <p:cNvPr id="3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0 h 87"/>
                <a:gd name="T2" fmla="*/ 0 w 40"/>
                <a:gd name="T3" fmla="*/ 1 h 87"/>
                <a:gd name="T4" fmla="*/ 0 w 40"/>
                <a:gd name="T5" fmla="*/ 1 h 87"/>
                <a:gd name="T6" fmla="*/ 0 w 40"/>
                <a:gd name="T7" fmla="*/ 1 h 87"/>
                <a:gd name="T8" fmla="*/ 0 w 40"/>
                <a:gd name="T9" fmla="*/ 1 h 87"/>
                <a:gd name="T10" fmla="*/ 0 w 40"/>
                <a:gd name="T11" fmla="*/ 1 h 87"/>
                <a:gd name="T12" fmla="*/ 0 w 40"/>
                <a:gd name="T13" fmla="*/ 1 h 87"/>
                <a:gd name="T14" fmla="*/ 0 w 40"/>
                <a:gd name="T15" fmla="*/ 1 h 87"/>
                <a:gd name="T16" fmla="*/ 0 w 40"/>
                <a:gd name="T17" fmla="*/ 1 h 87"/>
                <a:gd name="T18" fmla="*/ 0 w 40"/>
                <a:gd name="T19" fmla="*/ 1 h 87"/>
                <a:gd name="T20" fmla="*/ 0 w 40"/>
                <a:gd name="T21" fmla="*/ 1 h 87"/>
                <a:gd name="T22" fmla="*/ 0 w 40"/>
                <a:gd name="T23" fmla="*/ 1 h 87"/>
                <a:gd name="T24" fmla="*/ 0 w 40"/>
                <a:gd name="T25" fmla="*/ 1 h 87"/>
                <a:gd name="T26" fmla="*/ 0 w 40"/>
                <a:gd name="T27" fmla="*/ 1 h 87"/>
                <a:gd name="T28" fmla="*/ 0 w 40"/>
                <a:gd name="T29" fmla="*/ 0 h 87"/>
                <a:gd name="T30" fmla="*/ 0 w 40"/>
                <a:gd name="T31" fmla="*/ 0 h 87"/>
                <a:gd name="T32" fmla="*/ 0 w 40"/>
                <a:gd name="T33" fmla="*/ 0 h 87"/>
                <a:gd name="T34" fmla="*/ 0 w 40"/>
                <a:gd name="T35" fmla="*/ 0 h 87"/>
                <a:gd name="T36" fmla="*/ 0 w 40"/>
                <a:gd name="T37" fmla="*/ 0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0 h 87"/>
                <a:gd name="T44" fmla="*/ 0 w 40"/>
                <a:gd name="T45" fmla="*/ 0 h 87"/>
                <a:gd name="T46" fmla="*/ 0 w 40"/>
                <a:gd name="T47" fmla="*/ 0 h 87"/>
                <a:gd name="T48" fmla="*/ 0 w 40"/>
                <a:gd name="T49" fmla="*/ 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0 h 37"/>
                <a:gd name="T2" fmla="*/ 0 w 61"/>
                <a:gd name="T3" fmla="*/ 0 h 37"/>
                <a:gd name="T4" fmla="*/ 0 w 61"/>
                <a:gd name="T5" fmla="*/ 0 h 37"/>
                <a:gd name="T6" fmla="*/ 1 w 61"/>
                <a:gd name="T7" fmla="*/ 0 h 37"/>
                <a:gd name="T8" fmla="*/ 1 w 61"/>
                <a:gd name="T9" fmla="*/ 0 h 37"/>
                <a:gd name="T10" fmla="*/ 1 w 61"/>
                <a:gd name="T11" fmla="*/ 0 h 37"/>
                <a:gd name="T12" fmla="*/ 1 w 61"/>
                <a:gd name="T13" fmla="*/ 0 h 37"/>
                <a:gd name="T14" fmla="*/ 1 w 61"/>
                <a:gd name="T15" fmla="*/ 0 h 37"/>
                <a:gd name="T16" fmla="*/ 0 w 61"/>
                <a:gd name="T17" fmla="*/ 0 h 37"/>
                <a:gd name="T18" fmla="*/ 0 w 61"/>
                <a:gd name="T19" fmla="*/ 0 h 37"/>
                <a:gd name="T20" fmla="*/ 0 w 61"/>
                <a:gd name="T21" fmla="*/ 0 h 37"/>
                <a:gd name="T22" fmla="*/ 0 w 61"/>
                <a:gd name="T23" fmla="*/ 0 h 37"/>
                <a:gd name="T24" fmla="*/ 0 w 61"/>
                <a:gd name="T25" fmla="*/ 0 h 37"/>
                <a:gd name="T26" fmla="*/ 0 w 61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0 w 40"/>
                <a:gd name="T1" fmla="*/ 0 h 30"/>
                <a:gd name="T2" fmla="*/ 0 w 40"/>
                <a:gd name="T3" fmla="*/ 0 h 30"/>
                <a:gd name="T4" fmla="*/ 0 w 40"/>
                <a:gd name="T5" fmla="*/ 0 h 30"/>
                <a:gd name="T6" fmla="*/ 0 w 40"/>
                <a:gd name="T7" fmla="*/ 0 h 30"/>
                <a:gd name="T8" fmla="*/ 0 w 40"/>
                <a:gd name="T9" fmla="*/ 0 h 30"/>
                <a:gd name="T10" fmla="*/ 0 w 40"/>
                <a:gd name="T11" fmla="*/ 0 h 30"/>
                <a:gd name="T12" fmla="*/ 0 w 40"/>
                <a:gd name="T13" fmla="*/ 0 h 30"/>
                <a:gd name="T14" fmla="*/ 0 w 40"/>
                <a:gd name="T15" fmla="*/ 0 h 30"/>
                <a:gd name="T16" fmla="*/ 0 w 40"/>
                <a:gd name="T17" fmla="*/ 0 h 30"/>
                <a:gd name="T18" fmla="*/ 0 w 40"/>
                <a:gd name="T19" fmla="*/ 0 h 30"/>
                <a:gd name="T20" fmla="*/ 0 w 40"/>
                <a:gd name="T21" fmla="*/ 0 h 30"/>
                <a:gd name="T22" fmla="*/ 0 w 40"/>
                <a:gd name="T23" fmla="*/ 0 h 30"/>
                <a:gd name="T24" fmla="*/ 0 w 40"/>
                <a:gd name="T25" fmla="*/ 0 h 30"/>
                <a:gd name="T26" fmla="*/ 0 w 40"/>
                <a:gd name="T27" fmla="*/ 0 h 30"/>
                <a:gd name="T28" fmla="*/ 0 w 40"/>
                <a:gd name="T29" fmla="*/ 0 h 30"/>
                <a:gd name="T30" fmla="*/ 0 w 40"/>
                <a:gd name="T31" fmla="*/ 0 h 30"/>
                <a:gd name="T32" fmla="*/ 0 w 40"/>
                <a:gd name="T33" fmla="*/ 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1 w 74"/>
                <a:gd name="T1" fmla="*/ 1 h 80"/>
                <a:gd name="T2" fmla="*/ 1 w 74"/>
                <a:gd name="T3" fmla="*/ 1 h 80"/>
                <a:gd name="T4" fmla="*/ 1 w 74"/>
                <a:gd name="T5" fmla="*/ 1 h 80"/>
                <a:gd name="T6" fmla="*/ 1 w 74"/>
                <a:gd name="T7" fmla="*/ 1 h 80"/>
                <a:gd name="T8" fmla="*/ 1 w 74"/>
                <a:gd name="T9" fmla="*/ 1 h 80"/>
                <a:gd name="T10" fmla="*/ 1 w 74"/>
                <a:gd name="T11" fmla="*/ 1 h 80"/>
                <a:gd name="T12" fmla="*/ 1 w 74"/>
                <a:gd name="T13" fmla="*/ 0 h 80"/>
                <a:gd name="T14" fmla="*/ 0 w 74"/>
                <a:gd name="T15" fmla="*/ 0 h 80"/>
                <a:gd name="T16" fmla="*/ 0 w 74"/>
                <a:gd name="T17" fmla="*/ 0 h 80"/>
                <a:gd name="T18" fmla="*/ 0 w 74"/>
                <a:gd name="T19" fmla="*/ 0 h 80"/>
                <a:gd name="T20" fmla="*/ 0 w 74"/>
                <a:gd name="T21" fmla="*/ 0 h 80"/>
                <a:gd name="T22" fmla="*/ 0 w 74"/>
                <a:gd name="T23" fmla="*/ 0 h 80"/>
                <a:gd name="T24" fmla="*/ 0 w 74"/>
                <a:gd name="T25" fmla="*/ 0 h 80"/>
                <a:gd name="T26" fmla="*/ 0 w 74"/>
                <a:gd name="T27" fmla="*/ 0 h 80"/>
                <a:gd name="T28" fmla="*/ 0 w 74"/>
                <a:gd name="T29" fmla="*/ 0 h 80"/>
                <a:gd name="T30" fmla="*/ 0 w 74"/>
                <a:gd name="T31" fmla="*/ 0 h 80"/>
                <a:gd name="T32" fmla="*/ 0 w 74"/>
                <a:gd name="T33" fmla="*/ 0 h 80"/>
                <a:gd name="T34" fmla="*/ 0 w 74"/>
                <a:gd name="T35" fmla="*/ 0 h 80"/>
                <a:gd name="T36" fmla="*/ 0 w 74"/>
                <a:gd name="T37" fmla="*/ 0 h 80"/>
                <a:gd name="T38" fmla="*/ 0 w 74"/>
                <a:gd name="T39" fmla="*/ 1 h 80"/>
                <a:gd name="T40" fmla="*/ 0 w 74"/>
                <a:gd name="T41" fmla="*/ 1 h 80"/>
                <a:gd name="T42" fmla="*/ 0 w 74"/>
                <a:gd name="T43" fmla="*/ 1 h 80"/>
                <a:gd name="T44" fmla="*/ 0 w 74"/>
                <a:gd name="T45" fmla="*/ 1 h 80"/>
                <a:gd name="T46" fmla="*/ 0 w 74"/>
                <a:gd name="T47" fmla="*/ 1 h 80"/>
                <a:gd name="T48" fmla="*/ 0 w 74"/>
                <a:gd name="T49" fmla="*/ 1 h 80"/>
                <a:gd name="T50" fmla="*/ 1 w 74"/>
                <a:gd name="T51" fmla="*/ 1 h 80"/>
                <a:gd name="T52" fmla="*/ 1 w 74"/>
                <a:gd name="T53" fmla="*/ 1 h 80"/>
                <a:gd name="T54" fmla="*/ 1 w 74"/>
                <a:gd name="T55" fmla="*/ 1 h 80"/>
                <a:gd name="T56" fmla="*/ 1 w 74"/>
                <a:gd name="T57" fmla="*/ 1 h 80"/>
                <a:gd name="T58" fmla="*/ 1 w 74"/>
                <a:gd name="T59" fmla="*/ 1 h 80"/>
                <a:gd name="T60" fmla="*/ 1 w 74"/>
                <a:gd name="T61" fmla="*/ 1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 w 86"/>
                <a:gd name="T1" fmla="*/ 1 h 80"/>
                <a:gd name="T2" fmla="*/ 1 w 86"/>
                <a:gd name="T3" fmla="*/ 1 h 80"/>
                <a:gd name="T4" fmla="*/ 1 w 86"/>
                <a:gd name="T5" fmla="*/ 1 h 80"/>
                <a:gd name="T6" fmla="*/ 1 w 86"/>
                <a:gd name="T7" fmla="*/ 1 h 80"/>
                <a:gd name="T8" fmla="*/ 1 w 86"/>
                <a:gd name="T9" fmla="*/ 1 h 80"/>
                <a:gd name="T10" fmla="*/ 1 w 86"/>
                <a:gd name="T11" fmla="*/ 1 h 80"/>
                <a:gd name="T12" fmla="*/ 1 w 86"/>
                <a:gd name="T13" fmla="*/ 1 h 80"/>
                <a:gd name="T14" fmla="*/ 1 w 86"/>
                <a:gd name="T15" fmla="*/ 1 h 80"/>
                <a:gd name="T16" fmla="*/ 0 w 86"/>
                <a:gd name="T17" fmla="*/ 0 h 80"/>
                <a:gd name="T18" fmla="*/ 0 w 86"/>
                <a:gd name="T19" fmla="*/ 0 h 80"/>
                <a:gd name="T20" fmla="*/ 0 w 86"/>
                <a:gd name="T21" fmla="*/ 0 h 80"/>
                <a:gd name="T22" fmla="*/ 0 w 86"/>
                <a:gd name="T23" fmla="*/ 0 h 80"/>
                <a:gd name="T24" fmla="*/ 0 w 86"/>
                <a:gd name="T25" fmla="*/ 0 h 80"/>
                <a:gd name="T26" fmla="*/ 0 w 86"/>
                <a:gd name="T27" fmla="*/ 0 h 80"/>
                <a:gd name="T28" fmla="*/ 0 w 86"/>
                <a:gd name="T29" fmla="*/ 0 h 80"/>
                <a:gd name="T30" fmla="*/ 0 w 86"/>
                <a:gd name="T31" fmla="*/ 0 h 80"/>
                <a:gd name="T32" fmla="*/ 0 w 86"/>
                <a:gd name="T33" fmla="*/ 1 h 80"/>
                <a:gd name="T34" fmla="*/ 0 w 86"/>
                <a:gd name="T35" fmla="*/ 1 h 80"/>
                <a:gd name="T36" fmla="*/ 0 w 86"/>
                <a:gd name="T37" fmla="*/ 1 h 80"/>
                <a:gd name="T38" fmla="*/ 0 w 86"/>
                <a:gd name="T39" fmla="*/ 1 h 80"/>
                <a:gd name="T40" fmla="*/ 0 w 86"/>
                <a:gd name="T41" fmla="*/ 1 h 80"/>
                <a:gd name="T42" fmla="*/ 1 w 86"/>
                <a:gd name="T43" fmla="*/ 1 h 80"/>
                <a:gd name="T44" fmla="*/ 1 w 86"/>
                <a:gd name="T45" fmla="*/ 1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0 h 31"/>
                <a:gd name="T2" fmla="*/ 0 w 74"/>
                <a:gd name="T3" fmla="*/ 0 h 31"/>
                <a:gd name="T4" fmla="*/ 0 w 74"/>
                <a:gd name="T5" fmla="*/ 0 h 31"/>
                <a:gd name="T6" fmla="*/ 0 w 74"/>
                <a:gd name="T7" fmla="*/ 0 h 31"/>
                <a:gd name="T8" fmla="*/ 0 w 74"/>
                <a:gd name="T9" fmla="*/ 0 h 31"/>
                <a:gd name="T10" fmla="*/ 0 w 74"/>
                <a:gd name="T11" fmla="*/ 0 h 31"/>
                <a:gd name="T12" fmla="*/ 0 w 74"/>
                <a:gd name="T13" fmla="*/ 0 h 31"/>
                <a:gd name="T14" fmla="*/ 0 w 74"/>
                <a:gd name="T15" fmla="*/ 0 h 31"/>
                <a:gd name="T16" fmla="*/ 0 w 74"/>
                <a:gd name="T17" fmla="*/ 0 h 31"/>
                <a:gd name="T18" fmla="*/ 1 w 74"/>
                <a:gd name="T19" fmla="*/ 0 h 31"/>
                <a:gd name="T20" fmla="*/ 1 w 74"/>
                <a:gd name="T21" fmla="*/ 0 h 31"/>
                <a:gd name="T22" fmla="*/ 1 w 74"/>
                <a:gd name="T23" fmla="*/ 0 h 31"/>
                <a:gd name="T24" fmla="*/ 1 w 74"/>
                <a:gd name="T25" fmla="*/ 0 h 31"/>
                <a:gd name="T26" fmla="*/ 1 w 74"/>
                <a:gd name="T27" fmla="*/ 0 h 31"/>
                <a:gd name="T28" fmla="*/ 1 w 74"/>
                <a:gd name="T29" fmla="*/ 0 h 31"/>
                <a:gd name="T30" fmla="*/ 1 w 74"/>
                <a:gd name="T31" fmla="*/ 0 h 31"/>
                <a:gd name="T32" fmla="*/ 1 w 74"/>
                <a:gd name="T33" fmla="*/ 0 h 31"/>
                <a:gd name="T34" fmla="*/ 1 w 74"/>
                <a:gd name="T35" fmla="*/ 0 h 31"/>
                <a:gd name="T36" fmla="*/ 1 w 74"/>
                <a:gd name="T37" fmla="*/ 0 h 31"/>
                <a:gd name="T38" fmla="*/ 1 w 74"/>
                <a:gd name="T39" fmla="*/ 0 h 31"/>
                <a:gd name="T40" fmla="*/ 1 w 74"/>
                <a:gd name="T41" fmla="*/ 0 h 31"/>
                <a:gd name="T42" fmla="*/ 0 w 74"/>
                <a:gd name="T43" fmla="*/ 0 h 31"/>
                <a:gd name="T44" fmla="*/ 0 w 74"/>
                <a:gd name="T45" fmla="*/ 0 h 31"/>
                <a:gd name="T46" fmla="*/ 0 w 74"/>
                <a:gd name="T47" fmla="*/ 0 h 31"/>
                <a:gd name="T48" fmla="*/ 0 w 74"/>
                <a:gd name="T49" fmla="*/ 0 h 31"/>
                <a:gd name="T50" fmla="*/ 0 w 74"/>
                <a:gd name="T51" fmla="*/ 0 h 31"/>
                <a:gd name="T52" fmla="*/ 0 w 74"/>
                <a:gd name="T53" fmla="*/ 0 h 31"/>
                <a:gd name="T54" fmla="*/ 0 w 74"/>
                <a:gd name="T55" fmla="*/ 0 h 31"/>
                <a:gd name="T56" fmla="*/ 0 w 74"/>
                <a:gd name="T57" fmla="*/ 0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0 w 20"/>
                <a:gd name="T1" fmla="*/ 0 h 1"/>
                <a:gd name="T2" fmla="*/ 0 w 20"/>
                <a:gd name="T3" fmla="*/ 0 h 1"/>
                <a:gd name="T4" fmla="*/ 0 w 20"/>
                <a:gd name="T5" fmla="*/ 0 h 1"/>
                <a:gd name="T6" fmla="*/ 0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0 w 100"/>
                <a:gd name="T1" fmla="*/ 0 h 65"/>
                <a:gd name="T2" fmla="*/ 0 w 100"/>
                <a:gd name="T3" fmla="*/ 0 h 65"/>
                <a:gd name="T4" fmla="*/ 1 w 100"/>
                <a:gd name="T5" fmla="*/ 1 h 65"/>
                <a:gd name="T6" fmla="*/ 1 w 100"/>
                <a:gd name="T7" fmla="*/ 1 h 65"/>
                <a:gd name="T8" fmla="*/ 1 w 100"/>
                <a:gd name="T9" fmla="*/ 1 h 65"/>
                <a:gd name="T10" fmla="*/ 1 w 100"/>
                <a:gd name="T11" fmla="*/ 1 h 65"/>
                <a:gd name="T12" fmla="*/ 1 w 100"/>
                <a:gd name="T13" fmla="*/ 1 h 65"/>
                <a:gd name="T14" fmla="*/ 1 w 100"/>
                <a:gd name="T15" fmla="*/ 1 h 65"/>
                <a:gd name="T16" fmla="*/ 1 w 100"/>
                <a:gd name="T17" fmla="*/ 1 h 65"/>
                <a:gd name="T18" fmla="*/ 1 w 100"/>
                <a:gd name="T19" fmla="*/ 1 h 65"/>
                <a:gd name="T20" fmla="*/ 1 w 100"/>
                <a:gd name="T21" fmla="*/ 1 h 65"/>
                <a:gd name="T22" fmla="*/ 1 w 100"/>
                <a:gd name="T23" fmla="*/ 1 h 65"/>
                <a:gd name="T24" fmla="*/ 1 w 100"/>
                <a:gd name="T25" fmla="*/ 1 h 65"/>
                <a:gd name="T26" fmla="*/ 1 w 100"/>
                <a:gd name="T27" fmla="*/ 0 h 65"/>
                <a:gd name="T28" fmla="*/ 1 w 100"/>
                <a:gd name="T29" fmla="*/ 0 h 65"/>
                <a:gd name="T30" fmla="*/ 1 w 100"/>
                <a:gd name="T31" fmla="*/ 0 h 65"/>
                <a:gd name="T32" fmla="*/ 1 w 100"/>
                <a:gd name="T33" fmla="*/ 0 h 65"/>
                <a:gd name="T34" fmla="*/ 0 w 100"/>
                <a:gd name="T35" fmla="*/ 0 h 65"/>
                <a:gd name="T36" fmla="*/ 0 w 100"/>
                <a:gd name="T37" fmla="*/ 0 h 65"/>
                <a:gd name="T38" fmla="*/ 0 w 100"/>
                <a:gd name="T39" fmla="*/ 0 h 65"/>
                <a:gd name="T40" fmla="*/ 0 w 100"/>
                <a:gd name="T41" fmla="*/ 0 h 65"/>
                <a:gd name="T42" fmla="*/ 0 w 100"/>
                <a:gd name="T43" fmla="*/ 0 h 65"/>
                <a:gd name="T44" fmla="*/ 0 w 100"/>
                <a:gd name="T45" fmla="*/ 0 h 65"/>
                <a:gd name="T46" fmla="*/ 0 w 100"/>
                <a:gd name="T47" fmla="*/ 0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1 w 79"/>
                <a:gd name="T1" fmla="*/ 1 h 104"/>
                <a:gd name="T2" fmla="*/ 1 w 79"/>
                <a:gd name="T3" fmla="*/ 1 h 104"/>
                <a:gd name="T4" fmla="*/ 0 w 79"/>
                <a:gd name="T5" fmla="*/ 0 h 104"/>
                <a:gd name="T6" fmla="*/ 0 w 79"/>
                <a:gd name="T7" fmla="*/ 0 h 104"/>
                <a:gd name="T8" fmla="*/ 0 w 79"/>
                <a:gd name="T9" fmla="*/ 0 h 104"/>
                <a:gd name="T10" fmla="*/ 0 w 79"/>
                <a:gd name="T11" fmla="*/ 0 h 104"/>
                <a:gd name="T12" fmla="*/ 0 w 79"/>
                <a:gd name="T13" fmla="*/ 0 h 104"/>
                <a:gd name="T14" fmla="*/ 0 w 79"/>
                <a:gd name="T15" fmla="*/ 0 h 104"/>
                <a:gd name="T16" fmla="*/ 0 w 79"/>
                <a:gd name="T17" fmla="*/ 1 h 104"/>
                <a:gd name="T18" fmla="*/ 0 w 79"/>
                <a:gd name="T19" fmla="*/ 1 h 104"/>
                <a:gd name="T20" fmla="*/ 0 w 79"/>
                <a:gd name="T21" fmla="*/ 1 h 104"/>
                <a:gd name="T22" fmla="*/ 0 w 79"/>
                <a:gd name="T23" fmla="*/ 1 h 104"/>
                <a:gd name="T24" fmla="*/ 0 w 79"/>
                <a:gd name="T25" fmla="*/ 1 h 104"/>
                <a:gd name="T26" fmla="*/ 0 w 79"/>
                <a:gd name="T27" fmla="*/ 1 h 104"/>
                <a:gd name="T28" fmla="*/ 0 w 79"/>
                <a:gd name="T29" fmla="*/ 1 h 104"/>
                <a:gd name="T30" fmla="*/ 0 w 79"/>
                <a:gd name="T31" fmla="*/ 1 h 104"/>
                <a:gd name="T32" fmla="*/ 0 w 79"/>
                <a:gd name="T33" fmla="*/ 1 h 104"/>
                <a:gd name="T34" fmla="*/ 0 w 79"/>
                <a:gd name="T35" fmla="*/ 1 h 104"/>
                <a:gd name="T36" fmla="*/ 0 w 79"/>
                <a:gd name="T37" fmla="*/ 1 h 104"/>
                <a:gd name="T38" fmla="*/ 0 w 79"/>
                <a:gd name="T39" fmla="*/ 1 h 104"/>
                <a:gd name="T40" fmla="*/ 1 w 79"/>
                <a:gd name="T41" fmla="*/ 1 h 104"/>
                <a:gd name="T42" fmla="*/ 1 w 79"/>
                <a:gd name="T43" fmla="*/ 1 h 104"/>
                <a:gd name="T44" fmla="*/ 1 w 79"/>
                <a:gd name="T45" fmla="*/ 1 h 104"/>
                <a:gd name="T46" fmla="*/ 1 w 79"/>
                <a:gd name="T47" fmla="*/ 1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39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384540" y="4511303"/>
            <a:ext cx="11113" cy="55562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0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308340" y="4651003"/>
            <a:ext cx="14288" cy="57150"/>
          </a:xfrm>
          <a:custGeom>
            <a:avLst/>
            <a:gdLst>
              <a:gd name="T0" fmla="*/ 0 w 39"/>
              <a:gd name="T1" fmla="*/ 0 h 35"/>
              <a:gd name="T2" fmla="*/ 2147483647 w 39"/>
              <a:gd name="T3" fmla="*/ 0 h 35"/>
              <a:gd name="T4" fmla="*/ 2147483647 w 39"/>
              <a:gd name="T5" fmla="*/ 2147483647 h 35"/>
              <a:gd name="T6" fmla="*/ 2147483647 w 39"/>
              <a:gd name="T7" fmla="*/ 2147483647 h 35"/>
              <a:gd name="T8" fmla="*/ 2147483647 w 39"/>
              <a:gd name="T9" fmla="*/ 2147483647 h 35"/>
              <a:gd name="T10" fmla="*/ 2147483647 w 39"/>
              <a:gd name="T11" fmla="*/ 2147483647 h 35"/>
              <a:gd name="T12" fmla="*/ 2147483647 w 39"/>
              <a:gd name="T13" fmla="*/ 2147483647 h 35"/>
              <a:gd name="T14" fmla="*/ 2147483647 w 39"/>
              <a:gd name="T15" fmla="*/ 2147483647 h 35"/>
              <a:gd name="T16" fmla="*/ 2147483647 w 39"/>
              <a:gd name="T17" fmla="*/ 2147483647 h 35"/>
              <a:gd name="T18" fmla="*/ 2147483647 w 39"/>
              <a:gd name="T19" fmla="*/ 2147483647 h 35"/>
              <a:gd name="T20" fmla="*/ 2147483647 w 39"/>
              <a:gd name="T21" fmla="*/ 2147483647 h 35"/>
              <a:gd name="T22" fmla="*/ 2147483647 w 39"/>
              <a:gd name="T23" fmla="*/ 2147483647 h 35"/>
              <a:gd name="T24" fmla="*/ 2147483647 w 39"/>
              <a:gd name="T25" fmla="*/ 21474836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1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106978" y="2977778"/>
            <a:ext cx="728662" cy="331787"/>
          </a:xfrm>
          <a:custGeom>
            <a:avLst/>
            <a:gdLst>
              <a:gd name="T0" fmla="*/ 2147483647 w 1688"/>
              <a:gd name="T1" fmla="*/ 2147483647 h 630"/>
              <a:gd name="T2" fmla="*/ 2147483647 w 1688"/>
              <a:gd name="T3" fmla="*/ 2147483647 h 630"/>
              <a:gd name="T4" fmla="*/ 2147483647 w 1688"/>
              <a:gd name="T5" fmla="*/ 2147483647 h 630"/>
              <a:gd name="T6" fmla="*/ 2147483647 w 1688"/>
              <a:gd name="T7" fmla="*/ 2147483647 h 630"/>
              <a:gd name="T8" fmla="*/ 2147483647 w 1688"/>
              <a:gd name="T9" fmla="*/ 2147483647 h 630"/>
              <a:gd name="T10" fmla="*/ 2147483647 w 1688"/>
              <a:gd name="T11" fmla="*/ 2147483647 h 630"/>
              <a:gd name="T12" fmla="*/ 2147483647 w 1688"/>
              <a:gd name="T13" fmla="*/ 2147483647 h 630"/>
              <a:gd name="T14" fmla="*/ 2147483647 w 1688"/>
              <a:gd name="T15" fmla="*/ 2147483647 h 630"/>
              <a:gd name="T16" fmla="*/ 2147483647 w 1688"/>
              <a:gd name="T17" fmla="*/ 2147483647 h 630"/>
              <a:gd name="T18" fmla="*/ 2147483647 w 1688"/>
              <a:gd name="T19" fmla="*/ 2147483647 h 630"/>
              <a:gd name="T20" fmla="*/ 2147483647 w 1688"/>
              <a:gd name="T21" fmla="*/ 2147483647 h 630"/>
              <a:gd name="T22" fmla="*/ 2147483647 w 1688"/>
              <a:gd name="T23" fmla="*/ 2147483647 h 630"/>
              <a:gd name="T24" fmla="*/ 2147483647 w 1688"/>
              <a:gd name="T25" fmla="*/ 2147483647 h 630"/>
              <a:gd name="T26" fmla="*/ 2147483647 w 1688"/>
              <a:gd name="T27" fmla="*/ 2147483647 h 630"/>
              <a:gd name="T28" fmla="*/ 2147483647 w 1688"/>
              <a:gd name="T29" fmla="*/ 2147483647 h 630"/>
              <a:gd name="T30" fmla="*/ 2147483647 w 1688"/>
              <a:gd name="T31" fmla="*/ 2147483647 h 630"/>
              <a:gd name="T32" fmla="*/ 2147483647 w 1688"/>
              <a:gd name="T33" fmla="*/ 2147483647 h 630"/>
              <a:gd name="T34" fmla="*/ 2147483647 w 1688"/>
              <a:gd name="T35" fmla="*/ 2147483647 h 630"/>
              <a:gd name="T36" fmla="*/ 2147483647 w 1688"/>
              <a:gd name="T37" fmla="*/ 2147483647 h 630"/>
              <a:gd name="T38" fmla="*/ 2147483647 w 1688"/>
              <a:gd name="T39" fmla="*/ 2147483647 h 630"/>
              <a:gd name="T40" fmla="*/ 2147483647 w 1688"/>
              <a:gd name="T41" fmla="*/ 2147483647 h 630"/>
              <a:gd name="T42" fmla="*/ 2147483647 w 1688"/>
              <a:gd name="T43" fmla="*/ 2147483647 h 630"/>
              <a:gd name="T44" fmla="*/ 2147483647 w 1688"/>
              <a:gd name="T45" fmla="*/ 2147483647 h 630"/>
              <a:gd name="T46" fmla="*/ 2147483647 w 1688"/>
              <a:gd name="T47" fmla="*/ 2147483647 h 630"/>
              <a:gd name="T48" fmla="*/ 2147483647 w 1688"/>
              <a:gd name="T49" fmla="*/ 2147483647 h 630"/>
              <a:gd name="T50" fmla="*/ 2147483647 w 1688"/>
              <a:gd name="T51" fmla="*/ 2147483647 h 630"/>
              <a:gd name="T52" fmla="*/ 2147483647 w 1688"/>
              <a:gd name="T53" fmla="*/ 2147483647 h 630"/>
              <a:gd name="T54" fmla="*/ 2147483647 w 1688"/>
              <a:gd name="T55" fmla="*/ 2147483647 h 630"/>
              <a:gd name="T56" fmla="*/ 2147483647 w 1688"/>
              <a:gd name="T57" fmla="*/ 2147483647 h 630"/>
              <a:gd name="T58" fmla="*/ 2147483647 w 1688"/>
              <a:gd name="T59" fmla="*/ 2147483647 h 630"/>
              <a:gd name="T60" fmla="*/ 2147483647 w 1688"/>
              <a:gd name="T61" fmla="*/ 2147483647 h 630"/>
              <a:gd name="T62" fmla="*/ 2147483647 w 1688"/>
              <a:gd name="T63" fmla="*/ 2147483647 h 630"/>
              <a:gd name="T64" fmla="*/ 2147483647 w 1688"/>
              <a:gd name="T65" fmla="*/ 2147483647 h 630"/>
              <a:gd name="T66" fmla="*/ 2147483647 w 1688"/>
              <a:gd name="T67" fmla="*/ 2147483647 h 630"/>
              <a:gd name="T68" fmla="*/ 2147483647 w 1688"/>
              <a:gd name="T69" fmla="*/ 2147483647 h 630"/>
              <a:gd name="T70" fmla="*/ 2147483647 w 1688"/>
              <a:gd name="T71" fmla="*/ 2147483647 h 630"/>
              <a:gd name="T72" fmla="*/ 2147483647 w 1688"/>
              <a:gd name="T73" fmla="*/ 2147483647 h 630"/>
              <a:gd name="T74" fmla="*/ 2147483647 w 1688"/>
              <a:gd name="T75" fmla="*/ 2147483647 h 630"/>
              <a:gd name="T76" fmla="*/ 2147483647 w 1688"/>
              <a:gd name="T77" fmla="*/ 2147483647 h 630"/>
              <a:gd name="T78" fmla="*/ 2147483647 w 1688"/>
              <a:gd name="T79" fmla="*/ 2147483647 h 630"/>
              <a:gd name="T80" fmla="*/ 2147483647 w 1688"/>
              <a:gd name="T81" fmla="*/ 2147483647 h 630"/>
              <a:gd name="T82" fmla="*/ 2147483647 w 1688"/>
              <a:gd name="T83" fmla="*/ 2147483647 h 630"/>
              <a:gd name="T84" fmla="*/ 2147483647 w 1688"/>
              <a:gd name="T85" fmla="*/ 2147483647 h 630"/>
              <a:gd name="T86" fmla="*/ 2147483647 w 1688"/>
              <a:gd name="T87" fmla="*/ 2147483647 h 630"/>
              <a:gd name="T88" fmla="*/ 2147483647 w 1688"/>
              <a:gd name="T89" fmla="*/ 2147483647 h 630"/>
              <a:gd name="T90" fmla="*/ 2147483647 w 1688"/>
              <a:gd name="T91" fmla="*/ 2147483647 h 630"/>
              <a:gd name="T92" fmla="*/ 2147483647 w 1688"/>
              <a:gd name="T93" fmla="*/ 2147483647 h 630"/>
              <a:gd name="T94" fmla="*/ 2147483647 w 1688"/>
              <a:gd name="T95" fmla="*/ 2147483647 h 630"/>
              <a:gd name="T96" fmla="*/ 2147483647 w 1688"/>
              <a:gd name="T97" fmla="*/ 2147483647 h 630"/>
              <a:gd name="T98" fmla="*/ 2147483647 w 1688"/>
              <a:gd name="T99" fmla="*/ 2147483647 h 630"/>
              <a:gd name="T100" fmla="*/ 2147483647 w 1688"/>
              <a:gd name="T101" fmla="*/ 2147483647 h 630"/>
              <a:gd name="T102" fmla="*/ 2147483647 w 1688"/>
              <a:gd name="T103" fmla="*/ 2147483647 h 630"/>
              <a:gd name="T104" fmla="*/ 2147483647 w 1688"/>
              <a:gd name="T105" fmla="*/ 2147483647 h 630"/>
              <a:gd name="T106" fmla="*/ 2147483647 w 1688"/>
              <a:gd name="T107" fmla="*/ 2147483647 h 630"/>
              <a:gd name="T108" fmla="*/ 2147483647 w 1688"/>
              <a:gd name="T109" fmla="*/ 2147483647 h 630"/>
              <a:gd name="T110" fmla="*/ 2147483647 w 1688"/>
              <a:gd name="T111" fmla="*/ 2147483647 h 630"/>
              <a:gd name="T112" fmla="*/ 2147483647 w 1688"/>
              <a:gd name="T113" fmla="*/ 2147483647 h 630"/>
              <a:gd name="T114" fmla="*/ 2147483647 w 1688"/>
              <a:gd name="T115" fmla="*/ 2147483647 h 630"/>
              <a:gd name="T116" fmla="*/ 2147483647 w 1688"/>
              <a:gd name="T117" fmla="*/ 214748364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2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433503" y="4944690"/>
            <a:ext cx="328612" cy="415925"/>
          </a:xfrm>
          <a:custGeom>
            <a:avLst/>
            <a:gdLst>
              <a:gd name="T0" fmla="*/ 2147483647 w 758"/>
              <a:gd name="T1" fmla="*/ 2147483647 h 795"/>
              <a:gd name="T2" fmla="*/ 2147483647 w 758"/>
              <a:gd name="T3" fmla="*/ 2147483647 h 795"/>
              <a:gd name="T4" fmla="*/ 2147483647 w 758"/>
              <a:gd name="T5" fmla="*/ 2147483647 h 795"/>
              <a:gd name="T6" fmla="*/ 2147483647 w 758"/>
              <a:gd name="T7" fmla="*/ 2147483647 h 795"/>
              <a:gd name="T8" fmla="*/ 2147483647 w 758"/>
              <a:gd name="T9" fmla="*/ 2147483647 h 795"/>
              <a:gd name="T10" fmla="*/ 2147483647 w 758"/>
              <a:gd name="T11" fmla="*/ 2147483647 h 795"/>
              <a:gd name="T12" fmla="*/ 2147483647 w 758"/>
              <a:gd name="T13" fmla="*/ 2147483647 h 795"/>
              <a:gd name="T14" fmla="*/ 2147483647 w 758"/>
              <a:gd name="T15" fmla="*/ 2147483647 h 795"/>
              <a:gd name="T16" fmla="*/ 2147483647 w 758"/>
              <a:gd name="T17" fmla="*/ 2147483647 h 795"/>
              <a:gd name="T18" fmla="*/ 2147483647 w 758"/>
              <a:gd name="T19" fmla="*/ 2147483647 h 795"/>
              <a:gd name="T20" fmla="*/ 2147483647 w 758"/>
              <a:gd name="T21" fmla="*/ 2147483647 h 795"/>
              <a:gd name="T22" fmla="*/ 2147483647 w 758"/>
              <a:gd name="T23" fmla="*/ 2147483647 h 795"/>
              <a:gd name="T24" fmla="*/ 2147483647 w 758"/>
              <a:gd name="T25" fmla="*/ 2147483647 h 795"/>
              <a:gd name="T26" fmla="*/ 2147483647 w 758"/>
              <a:gd name="T27" fmla="*/ 2147483647 h 795"/>
              <a:gd name="T28" fmla="*/ 2147483647 w 758"/>
              <a:gd name="T29" fmla="*/ 2147483647 h 795"/>
              <a:gd name="T30" fmla="*/ 2147483647 w 758"/>
              <a:gd name="T31" fmla="*/ 2147483647 h 795"/>
              <a:gd name="T32" fmla="*/ 2147483647 w 758"/>
              <a:gd name="T33" fmla="*/ 2147483647 h 795"/>
              <a:gd name="T34" fmla="*/ 2147483647 w 758"/>
              <a:gd name="T35" fmla="*/ 2147483647 h 795"/>
              <a:gd name="T36" fmla="*/ 2147483647 w 758"/>
              <a:gd name="T37" fmla="*/ 2147483647 h 795"/>
              <a:gd name="T38" fmla="*/ 2147483647 w 758"/>
              <a:gd name="T39" fmla="*/ 2147483647 h 795"/>
              <a:gd name="T40" fmla="*/ 2147483647 w 758"/>
              <a:gd name="T41" fmla="*/ 2147483647 h 795"/>
              <a:gd name="T42" fmla="*/ 2147483647 w 758"/>
              <a:gd name="T43" fmla="*/ 2147483647 h 795"/>
              <a:gd name="T44" fmla="*/ 2147483647 w 758"/>
              <a:gd name="T45" fmla="*/ 2147483647 h 795"/>
              <a:gd name="T46" fmla="*/ 2147483647 w 758"/>
              <a:gd name="T47" fmla="*/ 2147483647 h 795"/>
              <a:gd name="T48" fmla="*/ 2147483647 w 758"/>
              <a:gd name="T49" fmla="*/ 2147483647 h 795"/>
              <a:gd name="T50" fmla="*/ 2147483647 w 758"/>
              <a:gd name="T51" fmla="*/ 2147483647 h 795"/>
              <a:gd name="T52" fmla="*/ 2147483647 w 758"/>
              <a:gd name="T53" fmla="*/ 2147483647 h 795"/>
              <a:gd name="T54" fmla="*/ 2147483647 w 758"/>
              <a:gd name="T55" fmla="*/ 2147483647 h 795"/>
              <a:gd name="T56" fmla="*/ 2147483647 w 758"/>
              <a:gd name="T57" fmla="*/ 2147483647 h 795"/>
              <a:gd name="T58" fmla="*/ 2147483647 w 758"/>
              <a:gd name="T59" fmla="*/ 2147483647 h 795"/>
              <a:gd name="T60" fmla="*/ 2147483647 w 758"/>
              <a:gd name="T61" fmla="*/ 2147483647 h 795"/>
              <a:gd name="T62" fmla="*/ 2147483647 w 758"/>
              <a:gd name="T63" fmla="*/ 2147483647 h 795"/>
              <a:gd name="T64" fmla="*/ 2147483647 w 758"/>
              <a:gd name="T65" fmla="*/ 2147483647 h 795"/>
              <a:gd name="T66" fmla="*/ 2147483647 w 758"/>
              <a:gd name="T67" fmla="*/ 2147483647 h 795"/>
              <a:gd name="T68" fmla="*/ 2147483647 w 758"/>
              <a:gd name="T69" fmla="*/ 2147483647 h 795"/>
              <a:gd name="T70" fmla="*/ 2147483647 w 758"/>
              <a:gd name="T71" fmla="*/ 2147483647 h 795"/>
              <a:gd name="T72" fmla="*/ 2147483647 w 758"/>
              <a:gd name="T73" fmla="*/ 2147483647 h 795"/>
              <a:gd name="T74" fmla="*/ 2147483647 w 758"/>
              <a:gd name="T75" fmla="*/ 2147483647 h 795"/>
              <a:gd name="T76" fmla="*/ 2147483647 w 758"/>
              <a:gd name="T77" fmla="*/ 2147483647 h 795"/>
              <a:gd name="T78" fmla="*/ 2147483647 w 758"/>
              <a:gd name="T79" fmla="*/ 2147483647 h 795"/>
              <a:gd name="T80" fmla="*/ 2147483647 w 758"/>
              <a:gd name="T81" fmla="*/ 2147483647 h 795"/>
              <a:gd name="T82" fmla="*/ 2147483647 w 758"/>
              <a:gd name="T83" fmla="*/ 2147483647 h 795"/>
              <a:gd name="T84" fmla="*/ 2147483647 w 758"/>
              <a:gd name="T85" fmla="*/ 2147483647 h 795"/>
              <a:gd name="T86" fmla="*/ 2147483647 w 758"/>
              <a:gd name="T87" fmla="*/ 2147483647 h 795"/>
              <a:gd name="T88" fmla="*/ 2147483647 w 758"/>
              <a:gd name="T89" fmla="*/ 2147483647 h 795"/>
              <a:gd name="T90" fmla="*/ 2147483647 w 758"/>
              <a:gd name="T91" fmla="*/ 2147483647 h 795"/>
              <a:gd name="T92" fmla="*/ 2147483647 w 758"/>
              <a:gd name="T93" fmla="*/ 2147483647 h 795"/>
              <a:gd name="T94" fmla="*/ 2147483647 w 758"/>
              <a:gd name="T95" fmla="*/ 2147483647 h 795"/>
              <a:gd name="T96" fmla="*/ 2147483647 w 758"/>
              <a:gd name="T97" fmla="*/ 2147483647 h 795"/>
              <a:gd name="T98" fmla="*/ 2147483647 w 758"/>
              <a:gd name="T99" fmla="*/ 2147483647 h 795"/>
              <a:gd name="T100" fmla="*/ 2147483647 w 758"/>
              <a:gd name="T101" fmla="*/ 2147483647 h 795"/>
              <a:gd name="T102" fmla="*/ 2147483647 w 758"/>
              <a:gd name="T103" fmla="*/ 2147483647 h 795"/>
              <a:gd name="T104" fmla="*/ 2147483647 w 758"/>
              <a:gd name="T105" fmla="*/ 2147483647 h 795"/>
              <a:gd name="T106" fmla="*/ 2147483647 w 758"/>
              <a:gd name="T107" fmla="*/ 2147483647 h 795"/>
              <a:gd name="T108" fmla="*/ 2147483647 w 758"/>
              <a:gd name="T109" fmla="*/ 2147483647 h 795"/>
              <a:gd name="T110" fmla="*/ 2147483647 w 758"/>
              <a:gd name="T111" fmla="*/ 2147483647 h 795"/>
              <a:gd name="T112" fmla="*/ 2147483647 w 758"/>
              <a:gd name="T113" fmla="*/ 2147483647 h 795"/>
              <a:gd name="T114" fmla="*/ 2147483647 w 758"/>
              <a:gd name="T115" fmla="*/ 2147483647 h 795"/>
              <a:gd name="T116" fmla="*/ 2147483647 w 758"/>
              <a:gd name="T117" fmla="*/ 2147483647 h 795"/>
              <a:gd name="T118" fmla="*/ 0 w 758"/>
              <a:gd name="T119" fmla="*/ 2147483647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3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647815" y="4374778"/>
            <a:ext cx="119063" cy="215900"/>
          </a:xfrm>
          <a:custGeom>
            <a:avLst/>
            <a:gdLst>
              <a:gd name="T0" fmla="*/ 2147483647 w 273"/>
              <a:gd name="T1" fmla="*/ 2147483647 h 414"/>
              <a:gd name="T2" fmla="*/ 2147483647 w 273"/>
              <a:gd name="T3" fmla="*/ 2147483647 h 414"/>
              <a:gd name="T4" fmla="*/ 2147483647 w 273"/>
              <a:gd name="T5" fmla="*/ 2147483647 h 414"/>
              <a:gd name="T6" fmla="*/ 2147483647 w 273"/>
              <a:gd name="T7" fmla="*/ 2147483647 h 414"/>
              <a:gd name="T8" fmla="*/ 2147483647 w 273"/>
              <a:gd name="T9" fmla="*/ 2147483647 h 414"/>
              <a:gd name="T10" fmla="*/ 2147483647 w 273"/>
              <a:gd name="T11" fmla="*/ 2147483647 h 414"/>
              <a:gd name="T12" fmla="*/ 2147483647 w 273"/>
              <a:gd name="T13" fmla="*/ 2147483647 h 414"/>
              <a:gd name="T14" fmla="*/ 2147483647 w 273"/>
              <a:gd name="T15" fmla="*/ 2147483647 h 414"/>
              <a:gd name="T16" fmla="*/ 2147483647 w 273"/>
              <a:gd name="T17" fmla="*/ 2147483647 h 414"/>
              <a:gd name="T18" fmla="*/ 2147483647 w 273"/>
              <a:gd name="T19" fmla="*/ 2147483647 h 414"/>
              <a:gd name="T20" fmla="*/ 2147483647 w 273"/>
              <a:gd name="T21" fmla="*/ 2147483647 h 414"/>
              <a:gd name="T22" fmla="*/ 2147483647 w 273"/>
              <a:gd name="T23" fmla="*/ 2147483647 h 414"/>
              <a:gd name="T24" fmla="*/ 2147483647 w 273"/>
              <a:gd name="T25" fmla="*/ 2147483647 h 414"/>
              <a:gd name="T26" fmla="*/ 2147483647 w 273"/>
              <a:gd name="T27" fmla="*/ 2147483647 h 414"/>
              <a:gd name="T28" fmla="*/ 2147483647 w 273"/>
              <a:gd name="T29" fmla="*/ 2147483647 h 414"/>
              <a:gd name="T30" fmla="*/ 2147483647 w 273"/>
              <a:gd name="T31" fmla="*/ 2147483647 h 414"/>
              <a:gd name="T32" fmla="*/ 2147483647 w 273"/>
              <a:gd name="T33" fmla="*/ 2147483647 h 414"/>
              <a:gd name="T34" fmla="*/ 2147483647 w 273"/>
              <a:gd name="T35" fmla="*/ 2147483647 h 414"/>
              <a:gd name="T36" fmla="*/ 2147483647 w 273"/>
              <a:gd name="T37" fmla="*/ 2147483647 h 414"/>
              <a:gd name="T38" fmla="*/ 2147483647 w 273"/>
              <a:gd name="T39" fmla="*/ 2147483647 h 414"/>
              <a:gd name="T40" fmla="*/ 2147483647 w 273"/>
              <a:gd name="T41" fmla="*/ 2147483647 h 414"/>
              <a:gd name="T42" fmla="*/ 2147483647 w 273"/>
              <a:gd name="T43" fmla="*/ 2147483647 h 414"/>
              <a:gd name="T44" fmla="*/ 2147483647 w 273"/>
              <a:gd name="T45" fmla="*/ 2147483647 h 414"/>
              <a:gd name="T46" fmla="*/ 2147483647 w 273"/>
              <a:gd name="T47" fmla="*/ 2147483647 h 414"/>
              <a:gd name="T48" fmla="*/ 2147483647 w 273"/>
              <a:gd name="T49" fmla="*/ 2147483647 h 414"/>
              <a:gd name="T50" fmla="*/ 2147483647 w 273"/>
              <a:gd name="T51" fmla="*/ 2147483647 h 414"/>
              <a:gd name="T52" fmla="*/ 2147483647 w 273"/>
              <a:gd name="T53" fmla="*/ 2147483647 h 414"/>
              <a:gd name="T54" fmla="*/ 2147483647 w 273"/>
              <a:gd name="T55" fmla="*/ 2147483647 h 414"/>
              <a:gd name="T56" fmla="*/ 2147483647 w 273"/>
              <a:gd name="T57" fmla="*/ 2147483647 h 414"/>
              <a:gd name="T58" fmla="*/ 2147483647 w 273"/>
              <a:gd name="T59" fmla="*/ 2147483647 h 414"/>
              <a:gd name="T60" fmla="*/ 2147483647 w 273"/>
              <a:gd name="T61" fmla="*/ 2147483647 h 414"/>
              <a:gd name="T62" fmla="*/ 2147483647 w 273"/>
              <a:gd name="T63" fmla="*/ 2147483647 h 414"/>
              <a:gd name="T64" fmla="*/ 2147483647 w 273"/>
              <a:gd name="T65" fmla="*/ 2147483647 h 414"/>
              <a:gd name="T66" fmla="*/ 2147483647 w 273"/>
              <a:gd name="T67" fmla="*/ 2147483647 h 414"/>
              <a:gd name="T68" fmla="*/ 2147483647 w 273"/>
              <a:gd name="T69" fmla="*/ 2147483647 h 414"/>
              <a:gd name="T70" fmla="*/ 2147483647 w 273"/>
              <a:gd name="T71" fmla="*/ 2147483647 h 414"/>
              <a:gd name="T72" fmla="*/ 2147483647 w 273"/>
              <a:gd name="T73" fmla="*/ 2147483647 h 414"/>
              <a:gd name="T74" fmla="*/ 2147483647 w 273"/>
              <a:gd name="T75" fmla="*/ 2147483647 h 414"/>
              <a:gd name="T76" fmla="*/ 2147483647 w 273"/>
              <a:gd name="T77" fmla="*/ 2147483647 h 414"/>
              <a:gd name="T78" fmla="*/ 2147483647 w 273"/>
              <a:gd name="T79" fmla="*/ 2147483647 h 414"/>
              <a:gd name="T80" fmla="*/ 2147483647 w 273"/>
              <a:gd name="T81" fmla="*/ 2147483647 h 414"/>
              <a:gd name="T82" fmla="*/ 2147483647 w 273"/>
              <a:gd name="T83" fmla="*/ 2147483647 h 414"/>
              <a:gd name="T84" fmla="*/ 2147483647 w 273"/>
              <a:gd name="T85" fmla="*/ 2147483647 h 414"/>
              <a:gd name="T86" fmla="*/ 2147483647 w 273"/>
              <a:gd name="T87" fmla="*/ 2147483647 h 414"/>
              <a:gd name="T88" fmla="*/ 2147483647 w 273"/>
              <a:gd name="T89" fmla="*/ 2147483647 h 414"/>
              <a:gd name="T90" fmla="*/ 2147483647 w 273"/>
              <a:gd name="T91" fmla="*/ 2147483647 h 414"/>
              <a:gd name="T92" fmla="*/ 2147483647 w 273"/>
              <a:gd name="T93" fmla="*/ 2147483647 h 414"/>
              <a:gd name="T94" fmla="*/ 2147483647 w 273"/>
              <a:gd name="T95" fmla="*/ 2147483647 h 414"/>
              <a:gd name="T96" fmla="*/ 2147483647 w 273"/>
              <a:gd name="T97" fmla="*/ 2147483647 h 414"/>
              <a:gd name="T98" fmla="*/ 2147483647 w 273"/>
              <a:gd name="T99" fmla="*/ 2147483647 h 414"/>
              <a:gd name="T100" fmla="*/ 2147483647 w 273"/>
              <a:gd name="T101" fmla="*/ 2147483647 h 414"/>
              <a:gd name="T102" fmla="*/ 2147483647 w 273"/>
              <a:gd name="T103" fmla="*/ 2147483647 h 414"/>
              <a:gd name="T104" fmla="*/ 2147483647 w 273"/>
              <a:gd name="T105" fmla="*/ 2147483647 h 414"/>
              <a:gd name="T106" fmla="*/ 2147483647 w 273"/>
              <a:gd name="T107" fmla="*/ 2147483647 h 414"/>
              <a:gd name="T108" fmla="*/ 2147483647 w 273"/>
              <a:gd name="T109" fmla="*/ 2147483647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44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362065" y="4209678"/>
            <a:ext cx="323850" cy="401637"/>
            <a:chOff x="1486" y="2412"/>
            <a:chExt cx="244" cy="256"/>
          </a:xfrm>
          <a:solidFill>
            <a:schemeClr val="bg1">
              <a:lumMod val="75000"/>
            </a:schemeClr>
          </a:solidFill>
        </p:grpSpPr>
        <p:sp>
          <p:nvSpPr>
            <p:cNvPr id="12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0 h 22"/>
                <a:gd name="T4" fmla="*/ 0 w 54"/>
                <a:gd name="T5" fmla="*/ 0 h 22"/>
                <a:gd name="T6" fmla="*/ 0 w 54"/>
                <a:gd name="T7" fmla="*/ 0 h 22"/>
                <a:gd name="T8" fmla="*/ 0 w 54"/>
                <a:gd name="T9" fmla="*/ 0 h 22"/>
                <a:gd name="T10" fmla="*/ 0 w 54"/>
                <a:gd name="T11" fmla="*/ 0 h 22"/>
                <a:gd name="T12" fmla="*/ 0 w 54"/>
                <a:gd name="T13" fmla="*/ 0 h 22"/>
                <a:gd name="T14" fmla="*/ 0 w 54"/>
                <a:gd name="T15" fmla="*/ 0 h 22"/>
                <a:gd name="T16" fmla="*/ 0 w 54"/>
                <a:gd name="T17" fmla="*/ 0 h 22"/>
                <a:gd name="T18" fmla="*/ 0 w 54"/>
                <a:gd name="T19" fmla="*/ 0 h 22"/>
                <a:gd name="T20" fmla="*/ 0 w 54"/>
                <a:gd name="T21" fmla="*/ 0 h 22"/>
                <a:gd name="T22" fmla="*/ 1 w 54"/>
                <a:gd name="T23" fmla="*/ 0 h 22"/>
                <a:gd name="T24" fmla="*/ 1 w 54"/>
                <a:gd name="T25" fmla="*/ 0 h 22"/>
                <a:gd name="T26" fmla="*/ 1 w 54"/>
                <a:gd name="T27" fmla="*/ 0 h 22"/>
                <a:gd name="T28" fmla="*/ 0 w 54"/>
                <a:gd name="T29" fmla="*/ 0 h 22"/>
                <a:gd name="T30" fmla="*/ 0 w 54"/>
                <a:gd name="T31" fmla="*/ 0 h 22"/>
                <a:gd name="T32" fmla="*/ 0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0 w 6"/>
                <a:gd name="T1" fmla="*/ 0 h 24"/>
                <a:gd name="T2" fmla="*/ 0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0 h 24"/>
                <a:gd name="T10" fmla="*/ 0 w 6"/>
                <a:gd name="T11" fmla="*/ 0 h 24"/>
                <a:gd name="T12" fmla="*/ 0 w 6"/>
                <a:gd name="T13" fmla="*/ 0 h 24"/>
                <a:gd name="T14" fmla="*/ 0 w 6"/>
                <a:gd name="T15" fmla="*/ 0 h 24"/>
                <a:gd name="T16" fmla="*/ 0 w 6"/>
                <a:gd name="T17" fmla="*/ 0 h 24"/>
                <a:gd name="T18" fmla="*/ 0 w 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0 h 12"/>
                <a:gd name="T2" fmla="*/ 0 w 27"/>
                <a:gd name="T3" fmla="*/ 0 h 12"/>
                <a:gd name="T4" fmla="*/ 0 w 27"/>
                <a:gd name="T5" fmla="*/ 0 h 12"/>
                <a:gd name="T6" fmla="*/ 0 w 27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0 w 743"/>
                <a:gd name="T1" fmla="*/ 3 h 672"/>
                <a:gd name="T2" fmla="*/ 1 w 743"/>
                <a:gd name="T3" fmla="*/ 3 h 672"/>
                <a:gd name="T4" fmla="*/ 1 w 743"/>
                <a:gd name="T5" fmla="*/ 4 h 672"/>
                <a:gd name="T6" fmla="*/ 2 w 743"/>
                <a:gd name="T7" fmla="*/ 4 h 672"/>
                <a:gd name="T8" fmla="*/ 2 w 743"/>
                <a:gd name="T9" fmla="*/ 4 h 672"/>
                <a:gd name="T10" fmla="*/ 4 w 743"/>
                <a:gd name="T11" fmla="*/ 5 h 672"/>
                <a:gd name="T12" fmla="*/ 3 w 743"/>
                <a:gd name="T13" fmla="*/ 5 h 672"/>
                <a:gd name="T14" fmla="*/ 4 w 743"/>
                <a:gd name="T15" fmla="*/ 6 h 672"/>
                <a:gd name="T16" fmla="*/ 4 w 743"/>
                <a:gd name="T17" fmla="*/ 7 h 672"/>
                <a:gd name="T18" fmla="*/ 4 w 743"/>
                <a:gd name="T19" fmla="*/ 7 h 672"/>
                <a:gd name="T20" fmla="*/ 4 w 743"/>
                <a:gd name="T21" fmla="*/ 8 h 672"/>
                <a:gd name="T22" fmla="*/ 4 w 743"/>
                <a:gd name="T23" fmla="*/ 8 h 672"/>
                <a:gd name="T24" fmla="*/ 5 w 743"/>
                <a:gd name="T25" fmla="*/ 8 h 672"/>
                <a:gd name="T26" fmla="*/ 5 w 743"/>
                <a:gd name="T27" fmla="*/ 8 h 672"/>
                <a:gd name="T28" fmla="*/ 6 w 743"/>
                <a:gd name="T29" fmla="*/ 8 h 672"/>
                <a:gd name="T30" fmla="*/ 6 w 743"/>
                <a:gd name="T31" fmla="*/ 7 h 672"/>
                <a:gd name="T32" fmla="*/ 6 w 743"/>
                <a:gd name="T33" fmla="*/ 6 h 672"/>
                <a:gd name="T34" fmla="*/ 7 w 743"/>
                <a:gd name="T35" fmla="*/ 6 h 672"/>
                <a:gd name="T36" fmla="*/ 7 w 743"/>
                <a:gd name="T37" fmla="*/ 6 h 672"/>
                <a:gd name="T38" fmla="*/ 8 w 743"/>
                <a:gd name="T39" fmla="*/ 5 h 672"/>
                <a:gd name="T40" fmla="*/ 8 w 743"/>
                <a:gd name="T41" fmla="*/ 5 h 672"/>
                <a:gd name="T42" fmla="*/ 8 w 743"/>
                <a:gd name="T43" fmla="*/ 5 h 672"/>
                <a:gd name="T44" fmla="*/ 8 w 743"/>
                <a:gd name="T45" fmla="*/ 4 h 672"/>
                <a:gd name="T46" fmla="*/ 8 w 743"/>
                <a:gd name="T47" fmla="*/ 4 h 672"/>
                <a:gd name="T48" fmla="*/ 8 w 743"/>
                <a:gd name="T49" fmla="*/ 3 h 672"/>
                <a:gd name="T50" fmla="*/ 9 w 743"/>
                <a:gd name="T51" fmla="*/ 3 h 672"/>
                <a:gd name="T52" fmla="*/ 9 w 743"/>
                <a:gd name="T53" fmla="*/ 3 h 672"/>
                <a:gd name="T54" fmla="*/ 8 w 743"/>
                <a:gd name="T55" fmla="*/ 2 h 672"/>
                <a:gd name="T56" fmla="*/ 8 w 743"/>
                <a:gd name="T57" fmla="*/ 2 h 672"/>
                <a:gd name="T58" fmla="*/ 8 w 743"/>
                <a:gd name="T59" fmla="*/ 2 h 672"/>
                <a:gd name="T60" fmla="*/ 8 w 743"/>
                <a:gd name="T61" fmla="*/ 2 h 672"/>
                <a:gd name="T62" fmla="*/ 7 w 743"/>
                <a:gd name="T63" fmla="*/ 2 h 672"/>
                <a:gd name="T64" fmla="*/ 7 w 743"/>
                <a:gd name="T65" fmla="*/ 1 h 672"/>
                <a:gd name="T66" fmla="*/ 7 w 743"/>
                <a:gd name="T67" fmla="*/ 1 h 672"/>
                <a:gd name="T68" fmla="*/ 6 w 743"/>
                <a:gd name="T69" fmla="*/ 1 h 672"/>
                <a:gd name="T70" fmla="*/ 6 w 743"/>
                <a:gd name="T71" fmla="*/ 1 h 672"/>
                <a:gd name="T72" fmla="*/ 6 w 743"/>
                <a:gd name="T73" fmla="*/ 1 h 672"/>
                <a:gd name="T74" fmla="*/ 5 w 743"/>
                <a:gd name="T75" fmla="*/ 1 h 672"/>
                <a:gd name="T76" fmla="*/ 5 w 743"/>
                <a:gd name="T77" fmla="*/ 1 h 672"/>
                <a:gd name="T78" fmla="*/ 5 w 743"/>
                <a:gd name="T79" fmla="*/ 1 h 672"/>
                <a:gd name="T80" fmla="*/ 4 w 743"/>
                <a:gd name="T81" fmla="*/ 1 h 672"/>
                <a:gd name="T82" fmla="*/ 4 w 743"/>
                <a:gd name="T83" fmla="*/ 1 h 672"/>
                <a:gd name="T84" fmla="*/ 4 w 743"/>
                <a:gd name="T85" fmla="*/ 1 h 672"/>
                <a:gd name="T86" fmla="*/ 3 w 743"/>
                <a:gd name="T87" fmla="*/ 1 h 672"/>
                <a:gd name="T88" fmla="*/ 3 w 743"/>
                <a:gd name="T89" fmla="*/ 1 h 672"/>
                <a:gd name="T90" fmla="*/ 2 w 743"/>
                <a:gd name="T91" fmla="*/ 0 h 672"/>
                <a:gd name="T92" fmla="*/ 2 w 743"/>
                <a:gd name="T93" fmla="*/ 0 h 672"/>
                <a:gd name="T94" fmla="*/ 2 w 743"/>
                <a:gd name="T95" fmla="*/ 1 h 672"/>
                <a:gd name="T96" fmla="*/ 1 w 743"/>
                <a:gd name="T97" fmla="*/ 1 h 672"/>
                <a:gd name="T98" fmla="*/ 1 w 743"/>
                <a:gd name="T99" fmla="*/ 2 h 672"/>
                <a:gd name="T100" fmla="*/ 1 w 743"/>
                <a:gd name="T101" fmla="*/ 2 h 672"/>
                <a:gd name="T102" fmla="*/ 1 w 743"/>
                <a:gd name="T103" fmla="*/ 2 h 672"/>
                <a:gd name="T104" fmla="*/ 1 w 743"/>
                <a:gd name="T105" fmla="*/ 2 h 672"/>
                <a:gd name="T106" fmla="*/ 1 w 743"/>
                <a:gd name="T107" fmla="*/ 2 h 672"/>
                <a:gd name="T108" fmla="*/ 1 w 743"/>
                <a:gd name="T109" fmla="*/ 1 h 672"/>
                <a:gd name="T110" fmla="*/ 1 w 743"/>
                <a:gd name="T111" fmla="*/ 1 h 672"/>
                <a:gd name="T112" fmla="*/ 1 w 743"/>
                <a:gd name="T113" fmla="*/ 0 h 672"/>
                <a:gd name="T114" fmla="*/ 1 w 743"/>
                <a:gd name="T115" fmla="*/ 0 h 672"/>
                <a:gd name="T116" fmla="*/ 0 w 743"/>
                <a:gd name="T117" fmla="*/ 1 h 672"/>
                <a:gd name="T118" fmla="*/ 0 w 743"/>
                <a:gd name="T119" fmla="*/ 1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45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383328" y="5749553"/>
            <a:ext cx="31750" cy="11112"/>
          </a:xfrm>
          <a:custGeom>
            <a:avLst/>
            <a:gdLst>
              <a:gd name="T0" fmla="*/ 0 w 79"/>
              <a:gd name="T1" fmla="*/ 2147483647 h 23"/>
              <a:gd name="T2" fmla="*/ 2147483647 w 79"/>
              <a:gd name="T3" fmla="*/ 2147483647 h 23"/>
              <a:gd name="T4" fmla="*/ 2147483647 w 79"/>
              <a:gd name="T5" fmla="*/ 2147483647 h 23"/>
              <a:gd name="T6" fmla="*/ 2147483647 w 79"/>
              <a:gd name="T7" fmla="*/ 2147483647 h 23"/>
              <a:gd name="T8" fmla="*/ 2147483647 w 79"/>
              <a:gd name="T9" fmla="*/ 0 h 23"/>
              <a:gd name="T10" fmla="*/ 2147483647 w 79"/>
              <a:gd name="T11" fmla="*/ 0 h 23"/>
              <a:gd name="T12" fmla="*/ 2147483647 w 79"/>
              <a:gd name="T13" fmla="*/ 2147483647 h 23"/>
              <a:gd name="T14" fmla="*/ 2147483647 w 79"/>
              <a:gd name="T15" fmla="*/ 2147483647 h 23"/>
              <a:gd name="T16" fmla="*/ 2147483647 w 79"/>
              <a:gd name="T17" fmla="*/ 2147483647 h 23"/>
              <a:gd name="T18" fmla="*/ 2147483647 w 79"/>
              <a:gd name="T19" fmla="*/ 2147483647 h 23"/>
              <a:gd name="T20" fmla="*/ 2147483647 w 79"/>
              <a:gd name="T21" fmla="*/ 2147483647 h 23"/>
              <a:gd name="T22" fmla="*/ 2147483647 w 79"/>
              <a:gd name="T23" fmla="*/ 2147483647 h 23"/>
              <a:gd name="T24" fmla="*/ 2147483647 w 79"/>
              <a:gd name="T25" fmla="*/ 2147483647 h 23"/>
              <a:gd name="T26" fmla="*/ 2147483647 w 79"/>
              <a:gd name="T27" fmla="*/ 2147483647 h 23"/>
              <a:gd name="T28" fmla="*/ 2147483647 w 79"/>
              <a:gd name="T29" fmla="*/ 2147483647 h 23"/>
              <a:gd name="T30" fmla="*/ 2147483647 w 79"/>
              <a:gd name="T31" fmla="*/ 2147483647 h 23"/>
              <a:gd name="T32" fmla="*/ 2147483647 w 79"/>
              <a:gd name="T33" fmla="*/ 2147483647 h 23"/>
              <a:gd name="T34" fmla="*/ 2147483647 w 79"/>
              <a:gd name="T35" fmla="*/ 2147483647 h 23"/>
              <a:gd name="T36" fmla="*/ 2147483647 w 79"/>
              <a:gd name="T37" fmla="*/ 2147483647 h 23"/>
              <a:gd name="T38" fmla="*/ 2147483647 w 79"/>
              <a:gd name="T39" fmla="*/ 2147483647 h 23"/>
              <a:gd name="T40" fmla="*/ 2147483647 w 79"/>
              <a:gd name="T41" fmla="*/ 2147483647 h 23"/>
              <a:gd name="T42" fmla="*/ 2147483647 w 79"/>
              <a:gd name="T43" fmla="*/ 2147483647 h 23"/>
              <a:gd name="T44" fmla="*/ 2147483647 w 79"/>
              <a:gd name="T45" fmla="*/ 2147483647 h 23"/>
              <a:gd name="T46" fmla="*/ 2147483647 w 79"/>
              <a:gd name="T47" fmla="*/ 2147483647 h 23"/>
              <a:gd name="T48" fmla="*/ 0 w 79"/>
              <a:gd name="T49" fmla="*/ 2147483647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6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499215" y="588290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2147483647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7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589703" y="588131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48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589703" y="5881315"/>
            <a:ext cx="3175" cy="15875"/>
          </a:xfrm>
          <a:custGeom>
            <a:avLst/>
            <a:gdLst>
              <a:gd name="T0" fmla="*/ 0 w 5"/>
              <a:gd name="T1" fmla="*/ 0 h 30"/>
              <a:gd name="T2" fmla="*/ 2147483647 w 5"/>
              <a:gd name="T3" fmla="*/ 2147483647 h 30"/>
              <a:gd name="T4" fmla="*/ 2147483647 w 5"/>
              <a:gd name="T5" fmla="*/ 2147483647 h 30"/>
              <a:gd name="T6" fmla="*/ 2147483647 w 5"/>
              <a:gd name="T7" fmla="*/ 2147483647 h 30"/>
              <a:gd name="T8" fmla="*/ 2147483647 w 5"/>
              <a:gd name="T9" fmla="*/ 2147483647 h 30"/>
              <a:gd name="T10" fmla="*/ 2147483647 w 5"/>
              <a:gd name="T11" fmla="*/ 2147483647 h 30"/>
              <a:gd name="T12" fmla="*/ 2147483647 w 5"/>
              <a:gd name="T13" fmla="*/ 2147483647 h 30"/>
              <a:gd name="T14" fmla="*/ 2147483647 w 5"/>
              <a:gd name="T15" fmla="*/ 2147483647 h 30"/>
              <a:gd name="T16" fmla="*/ 0 w 5"/>
              <a:gd name="T17" fmla="*/ 2147483647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9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888153" y="5351090"/>
            <a:ext cx="22225" cy="28575"/>
          </a:xfrm>
          <a:custGeom>
            <a:avLst/>
            <a:gdLst>
              <a:gd name="T0" fmla="*/ 0 w 53"/>
              <a:gd name="T1" fmla="*/ 2147483647 h 55"/>
              <a:gd name="T2" fmla="*/ 2147483647 w 53"/>
              <a:gd name="T3" fmla="*/ 2147483647 h 55"/>
              <a:gd name="T4" fmla="*/ 2147483647 w 53"/>
              <a:gd name="T5" fmla="*/ 2147483647 h 55"/>
              <a:gd name="T6" fmla="*/ 2147483647 w 53"/>
              <a:gd name="T7" fmla="*/ 2147483647 h 55"/>
              <a:gd name="T8" fmla="*/ 2147483647 w 53"/>
              <a:gd name="T9" fmla="*/ 2147483647 h 55"/>
              <a:gd name="T10" fmla="*/ 2147483647 w 53"/>
              <a:gd name="T11" fmla="*/ 2147483647 h 55"/>
              <a:gd name="T12" fmla="*/ 2147483647 w 53"/>
              <a:gd name="T13" fmla="*/ 2147483647 h 55"/>
              <a:gd name="T14" fmla="*/ 2147483647 w 53"/>
              <a:gd name="T15" fmla="*/ 2147483647 h 55"/>
              <a:gd name="T16" fmla="*/ 2147483647 w 53"/>
              <a:gd name="T17" fmla="*/ 2147483647 h 55"/>
              <a:gd name="T18" fmla="*/ 2147483647 w 53"/>
              <a:gd name="T19" fmla="*/ 2147483647 h 55"/>
              <a:gd name="T20" fmla="*/ 2147483647 w 53"/>
              <a:gd name="T21" fmla="*/ 2147483647 h 55"/>
              <a:gd name="T22" fmla="*/ 2147483647 w 53"/>
              <a:gd name="T23" fmla="*/ 2147483647 h 55"/>
              <a:gd name="T24" fmla="*/ 2147483647 w 53"/>
              <a:gd name="T25" fmla="*/ 2147483647 h 55"/>
              <a:gd name="T26" fmla="*/ 2147483647 w 53"/>
              <a:gd name="T27" fmla="*/ 0 h 55"/>
              <a:gd name="T28" fmla="*/ 2147483647 w 53"/>
              <a:gd name="T29" fmla="*/ 2147483647 h 55"/>
              <a:gd name="T30" fmla="*/ 0 w 53"/>
              <a:gd name="T31" fmla="*/ 2147483647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0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894503" y="5278065"/>
            <a:ext cx="26987" cy="39688"/>
          </a:xfrm>
          <a:custGeom>
            <a:avLst/>
            <a:gdLst>
              <a:gd name="T0" fmla="*/ 0 w 65"/>
              <a:gd name="T1" fmla="*/ 2147483647 h 75"/>
              <a:gd name="T2" fmla="*/ 2147483647 w 65"/>
              <a:gd name="T3" fmla="*/ 2147483647 h 75"/>
              <a:gd name="T4" fmla="*/ 2147483647 w 65"/>
              <a:gd name="T5" fmla="*/ 2147483647 h 75"/>
              <a:gd name="T6" fmla="*/ 2147483647 w 65"/>
              <a:gd name="T7" fmla="*/ 2147483647 h 75"/>
              <a:gd name="T8" fmla="*/ 2147483647 w 65"/>
              <a:gd name="T9" fmla="*/ 2147483647 h 75"/>
              <a:gd name="T10" fmla="*/ 2147483647 w 65"/>
              <a:gd name="T11" fmla="*/ 2147483647 h 75"/>
              <a:gd name="T12" fmla="*/ 2147483647 w 65"/>
              <a:gd name="T13" fmla="*/ 2147483647 h 75"/>
              <a:gd name="T14" fmla="*/ 2147483647 w 65"/>
              <a:gd name="T15" fmla="*/ 2147483647 h 75"/>
              <a:gd name="T16" fmla="*/ 2147483647 w 65"/>
              <a:gd name="T17" fmla="*/ 2147483647 h 75"/>
              <a:gd name="T18" fmla="*/ 2147483647 w 65"/>
              <a:gd name="T19" fmla="*/ 2147483647 h 75"/>
              <a:gd name="T20" fmla="*/ 2147483647 w 65"/>
              <a:gd name="T21" fmla="*/ 2147483647 h 75"/>
              <a:gd name="T22" fmla="*/ 2147483647 w 65"/>
              <a:gd name="T23" fmla="*/ 2147483647 h 75"/>
              <a:gd name="T24" fmla="*/ 2147483647 w 65"/>
              <a:gd name="T25" fmla="*/ 2147483647 h 75"/>
              <a:gd name="T26" fmla="*/ 2147483647 w 65"/>
              <a:gd name="T27" fmla="*/ 2147483647 h 75"/>
              <a:gd name="T28" fmla="*/ 2147483647 w 65"/>
              <a:gd name="T29" fmla="*/ 2147483647 h 75"/>
              <a:gd name="T30" fmla="*/ 2147483647 w 65"/>
              <a:gd name="T31" fmla="*/ 2147483647 h 75"/>
              <a:gd name="T32" fmla="*/ 2147483647 w 65"/>
              <a:gd name="T33" fmla="*/ 2147483647 h 75"/>
              <a:gd name="T34" fmla="*/ 2147483647 w 65"/>
              <a:gd name="T35" fmla="*/ 2147483647 h 75"/>
              <a:gd name="T36" fmla="*/ 2147483647 w 65"/>
              <a:gd name="T37" fmla="*/ 0 h 75"/>
              <a:gd name="T38" fmla="*/ 2147483647 w 65"/>
              <a:gd name="T39" fmla="*/ 0 h 75"/>
              <a:gd name="T40" fmla="*/ 2147483647 w 65"/>
              <a:gd name="T41" fmla="*/ 0 h 75"/>
              <a:gd name="T42" fmla="*/ 2147483647 w 65"/>
              <a:gd name="T43" fmla="*/ 2147483647 h 75"/>
              <a:gd name="T44" fmla="*/ 2147483647 w 65"/>
              <a:gd name="T45" fmla="*/ 2147483647 h 75"/>
              <a:gd name="T46" fmla="*/ 2147483647 w 65"/>
              <a:gd name="T47" fmla="*/ 2147483647 h 75"/>
              <a:gd name="T48" fmla="*/ 2147483647 w 65"/>
              <a:gd name="T49" fmla="*/ 2147483647 h 75"/>
              <a:gd name="T50" fmla="*/ 2147483647 w 65"/>
              <a:gd name="T51" fmla="*/ 2147483647 h 75"/>
              <a:gd name="T52" fmla="*/ 2147483647 w 65"/>
              <a:gd name="T53" fmla="*/ 2147483647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1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870690" y="5254253"/>
            <a:ext cx="17463" cy="30162"/>
          </a:xfrm>
          <a:custGeom>
            <a:avLst/>
            <a:gdLst>
              <a:gd name="T0" fmla="*/ 0 w 40"/>
              <a:gd name="T1" fmla="*/ 2147483647 h 62"/>
              <a:gd name="T2" fmla="*/ 2147483647 w 40"/>
              <a:gd name="T3" fmla="*/ 2147483647 h 62"/>
              <a:gd name="T4" fmla="*/ 2147483647 w 40"/>
              <a:gd name="T5" fmla="*/ 2147483647 h 62"/>
              <a:gd name="T6" fmla="*/ 2147483647 w 40"/>
              <a:gd name="T7" fmla="*/ 2147483647 h 62"/>
              <a:gd name="T8" fmla="*/ 2147483647 w 40"/>
              <a:gd name="T9" fmla="*/ 2147483647 h 62"/>
              <a:gd name="T10" fmla="*/ 2147483647 w 40"/>
              <a:gd name="T11" fmla="*/ 2147483647 h 62"/>
              <a:gd name="T12" fmla="*/ 2147483647 w 40"/>
              <a:gd name="T13" fmla="*/ 2147483647 h 62"/>
              <a:gd name="T14" fmla="*/ 2147483647 w 40"/>
              <a:gd name="T15" fmla="*/ 2147483647 h 62"/>
              <a:gd name="T16" fmla="*/ 2147483647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2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789728" y="5132015"/>
            <a:ext cx="68262" cy="138113"/>
          </a:xfrm>
          <a:custGeom>
            <a:avLst/>
            <a:gdLst>
              <a:gd name="T0" fmla="*/ 2147483647 w 159"/>
              <a:gd name="T1" fmla="*/ 2147483647 h 259"/>
              <a:gd name="T2" fmla="*/ 2147483647 w 159"/>
              <a:gd name="T3" fmla="*/ 2147483647 h 259"/>
              <a:gd name="T4" fmla="*/ 2147483647 w 159"/>
              <a:gd name="T5" fmla="*/ 2147483647 h 259"/>
              <a:gd name="T6" fmla="*/ 2147483647 w 159"/>
              <a:gd name="T7" fmla="*/ 2147483647 h 259"/>
              <a:gd name="T8" fmla="*/ 2147483647 w 159"/>
              <a:gd name="T9" fmla="*/ 2147483647 h 259"/>
              <a:gd name="T10" fmla="*/ 2147483647 w 159"/>
              <a:gd name="T11" fmla="*/ 2147483647 h 259"/>
              <a:gd name="T12" fmla="*/ 2147483647 w 159"/>
              <a:gd name="T13" fmla="*/ 2147483647 h 259"/>
              <a:gd name="T14" fmla="*/ 2147483647 w 159"/>
              <a:gd name="T15" fmla="*/ 2147483647 h 259"/>
              <a:gd name="T16" fmla="*/ 2147483647 w 159"/>
              <a:gd name="T17" fmla="*/ 2147483647 h 259"/>
              <a:gd name="T18" fmla="*/ 2147483647 w 159"/>
              <a:gd name="T19" fmla="*/ 2147483647 h 259"/>
              <a:gd name="T20" fmla="*/ 2147483647 w 159"/>
              <a:gd name="T21" fmla="*/ 2147483647 h 259"/>
              <a:gd name="T22" fmla="*/ 2147483647 w 159"/>
              <a:gd name="T23" fmla="*/ 2147483647 h 259"/>
              <a:gd name="T24" fmla="*/ 2147483647 w 159"/>
              <a:gd name="T25" fmla="*/ 2147483647 h 259"/>
              <a:gd name="T26" fmla="*/ 2147483647 w 159"/>
              <a:gd name="T27" fmla="*/ 2147483647 h 259"/>
              <a:gd name="T28" fmla="*/ 2147483647 w 159"/>
              <a:gd name="T29" fmla="*/ 2147483647 h 259"/>
              <a:gd name="T30" fmla="*/ 2147483647 w 159"/>
              <a:gd name="T31" fmla="*/ 2147483647 h 259"/>
              <a:gd name="T32" fmla="*/ 2147483647 w 159"/>
              <a:gd name="T33" fmla="*/ 2147483647 h 259"/>
              <a:gd name="T34" fmla="*/ 2147483647 w 159"/>
              <a:gd name="T35" fmla="*/ 2147483647 h 259"/>
              <a:gd name="T36" fmla="*/ 2147483647 w 159"/>
              <a:gd name="T37" fmla="*/ 2147483647 h 259"/>
              <a:gd name="T38" fmla="*/ 2147483647 w 159"/>
              <a:gd name="T39" fmla="*/ 2147483647 h 259"/>
              <a:gd name="T40" fmla="*/ 2147483647 w 159"/>
              <a:gd name="T41" fmla="*/ 2147483647 h 259"/>
              <a:gd name="T42" fmla="*/ 2147483647 w 159"/>
              <a:gd name="T43" fmla="*/ 2147483647 h 259"/>
              <a:gd name="T44" fmla="*/ 2147483647 w 159"/>
              <a:gd name="T45" fmla="*/ 2147483647 h 259"/>
              <a:gd name="T46" fmla="*/ 2147483647 w 159"/>
              <a:gd name="T47" fmla="*/ 2147483647 h 259"/>
              <a:gd name="T48" fmla="*/ 2147483647 w 159"/>
              <a:gd name="T49" fmla="*/ 2147483647 h 259"/>
              <a:gd name="T50" fmla="*/ 2147483647 w 159"/>
              <a:gd name="T51" fmla="*/ 2147483647 h 259"/>
              <a:gd name="T52" fmla="*/ 2147483647 w 159"/>
              <a:gd name="T53" fmla="*/ 2147483647 h 259"/>
              <a:gd name="T54" fmla="*/ 2147483647 w 159"/>
              <a:gd name="T55" fmla="*/ 2147483647 h 259"/>
              <a:gd name="T56" fmla="*/ 2147483647 w 159"/>
              <a:gd name="T57" fmla="*/ 2147483647 h 259"/>
              <a:gd name="T58" fmla="*/ 2147483647 w 159"/>
              <a:gd name="T59" fmla="*/ 2147483647 h 259"/>
              <a:gd name="T60" fmla="*/ 2147483647 w 159"/>
              <a:gd name="T61" fmla="*/ 2147483647 h 259"/>
              <a:gd name="T62" fmla="*/ 2147483647 w 159"/>
              <a:gd name="T63" fmla="*/ 2147483647 h 259"/>
              <a:gd name="T64" fmla="*/ 2147483647 w 159"/>
              <a:gd name="T65" fmla="*/ 2147483647 h 259"/>
              <a:gd name="T66" fmla="*/ 2147483647 w 159"/>
              <a:gd name="T67" fmla="*/ 2147483647 h 259"/>
              <a:gd name="T68" fmla="*/ 2147483647 w 159"/>
              <a:gd name="T69" fmla="*/ 2147483647 h 259"/>
              <a:gd name="T70" fmla="*/ 0 w 159"/>
              <a:gd name="T71" fmla="*/ 2147483647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3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783378" y="509867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54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783378" y="5082803"/>
            <a:ext cx="6350" cy="15875"/>
          </a:xfrm>
          <a:custGeom>
            <a:avLst/>
            <a:gdLst>
              <a:gd name="T0" fmla="*/ 0 w 13"/>
              <a:gd name="T1" fmla="*/ 2147483647 h 25"/>
              <a:gd name="T2" fmla="*/ 2147483647 w 13"/>
              <a:gd name="T3" fmla="*/ 2147483647 h 25"/>
              <a:gd name="T4" fmla="*/ 2147483647 w 13"/>
              <a:gd name="T5" fmla="*/ 2147483647 h 25"/>
              <a:gd name="T6" fmla="*/ 2147483647 w 13"/>
              <a:gd name="T7" fmla="*/ 2147483647 h 25"/>
              <a:gd name="T8" fmla="*/ 2147483647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5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789728" y="507010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56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743690" y="5003428"/>
            <a:ext cx="46038" cy="66675"/>
          </a:xfrm>
          <a:custGeom>
            <a:avLst/>
            <a:gdLst>
              <a:gd name="T0" fmla="*/ 2147483647 w 100"/>
              <a:gd name="T1" fmla="*/ 2147483647 h 123"/>
              <a:gd name="T2" fmla="*/ 2147483647 w 100"/>
              <a:gd name="T3" fmla="*/ 2147483647 h 123"/>
              <a:gd name="T4" fmla="*/ 2147483647 w 100"/>
              <a:gd name="T5" fmla="*/ 2147483647 h 123"/>
              <a:gd name="T6" fmla="*/ 2147483647 w 100"/>
              <a:gd name="T7" fmla="*/ 2147483647 h 123"/>
              <a:gd name="T8" fmla="*/ 2147483647 w 100"/>
              <a:gd name="T9" fmla="*/ 2147483647 h 123"/>
              <a:gd name="T10" fmla="*/ 2147483647 w 100"/>
              <a:gd name="T11" fmla="*/ 2147483647 h 123"/>
              <a:gd name="T12" fmla="*/ 2147483647 w 100"/>
              <a:gd name="T13" fmla="*/ 2147483647 h 123"/>
              <a:gd name="T14" fmla="*/ 2147483647 w 100"/>
              <a:gd name="T15" fmla="*/ 2147483647 h 123"/>
              <a:gd name="T16" fmla="*/ 2147483647 w 100"/>
              <a:gd name="T17" fmla="*/ 2147483647 h 123"/>
              <a:gd name="T18" fmla="*/ 2147483647 w 100"/>
              <a:gd name="T19" fmla="*/ 2147483647 h 123"/>
              <a:gd name="T20" fmla="*/ 2147483647 w 100"/>
              <a:gd name="T21" fmla="*/ 2147483647 h 123"/>
              <a:gd name="T22" fmla="*/ 2147483647 w 100"/>
              <a:gd name="T23" fmla="*/ 2147483647 h 123"/>
              <a:gd name="T24" fmla="*/ 0 w 100"/>
              <a:gd name="T25" fmla="*/ 2147483647 h 123"/>
              <a:gd name="T26" fmla="*/ 2147483647 w 100"/>
              <a:gd name="T27" fmla="*/ 2147483647 h 123"/>
              <a:gd name="T28" fmla="*/ 2147483647 w 100"/>
              <a:gd name="T29" fmla="*/ 2147483647 h 123"/>
              <a:gd name="T30" fmla="*/ 2147483647 w 100"/>
              <a:gd name="T31" fmla="*/ 2147483647 h 123"/>
              <a:gd name="T32" fmla="*/ 2147483647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7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757978" y="4946278"/>
            <a:ext cx="1587" cy="50800"/>
          </a:xfrm>
          <a:custGeom>
            <a:avLst/>
            <a:gdLst>
              <a:gd name="T0" fmla="*/ 2147483647 w 5"/>
              <a:gd name="T1" fmla="*/ 0 h 99"/>
              <a:gd name="T2" fmla="*/ 2147483647 w 5"/>
              <a:gd name="T3" fmla="*/ 2147483647 h 99"/>
              <a:gd name="T4" fmla="*/ 2147483647 w 5"/>
              <a:gd name="T5" fmla="*/ 2147483647 h 99"/>
              <a:gd name="T6" fmla="*/ 0 w 5"/>
              <a:gd name="T7" fmla="*/ 2147483647 h 99"/>
              <a:gd name="T8" fmla="*/ 0 w 5"/>
              <a:gd name="T9" fmla="*/ 2147483647 h 99"/>
              <a:gd name="T10" fmla="*/ 2147483647 w 5"/>
              <a:gd name="T11" fmla="*/ 2147483647 h 99"/>
              <a:gd name="T12" fmla="*/ 2147483647 w 5"/>
              <a:gd name="T13" fmla="*/ 2147483647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8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764328" y="4939928"/>
            <a:ext cx="7937" cy="36512"/>
          </a:xfrm>
          <a:custGeom>
            <a:avLst/>
            <a:gdLst>
              <a:gd name="T0" fmla="*/ 2147483647 w 14"/>
              <a:gd name="T1" fmla="*/ 0 h 68"/>
              <a:gd name="T2" fmla="*/ 2147483647 w 14"/>
              <a:gd name="T3" fmla="*/ 2147483647 h 68"/>
              <a:gd name="T4" fmla="*/ 2147483647 w 14"/>
              <a:gd name="T5" fmla="*/ 2147483647 h 68"/>
              <a:gd name="T6" fmla="*/ 2147483647 w 14"/>
              <a:gd name="T7" fmla="*/ 2147483647 h 68"/>
              <a:gd name="T8" fmla="*/ 0 w 14"/>
              <a:gd name="T9" fmla="*/ 2147483647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9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780203" y="492087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2147483647 h 43"/>
              <a:gd name="T4" fmla="*/ 0 w 1587"/>
              <a:gd name="T5" fmla="*/ 2147483647 h 43"/>
              <a:gd name="T6" fmla="*/ 0 w 1587"/>
              <a:gd name="T7" fmla="*/ 2147483647 h 43"/>
              <a:gd name="T8" fmla="*/ 0 w 1587"/>
              <a:gd name="T9" fmla="*/ 2147483647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0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780203" y="493992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61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764328" y="4924053"/>
            <a:ext cx="1587" cy="15875"/>
          </a:xfrm>
          <a:custGeom>
            <a:avLst/>
            <a:gdLst>
              <a:gd name="T0" fmla="*/ 0 w 1587"/>
              <a:gd name="T1" fmla="*/ 2147483647 h 31"/>
              <a:gd name="T2" fmla="*/ 0 w 1587"/>
              <a:gd name="T3" fmla="*/ 2147483647 h 31"/>
              <a:gd name="T4" fmla="*/ 0 w 1587"/>
              <a:gd name="T5" fmla="*/ 2147483647 h 31"/>
              <a:gd name="T6" fmla="*/ 0 w 1587"/>
              <a:gd name="T7" fmla="*/ 214748364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2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484928" y="5913065"/>
            <a:ext cx="96837" cy="87313"/>
          </a:xfrm>
          <a:custGeom>
            <a:avLst/>
            <a:gdLst>
              <a:gd name="T0" fmla="*/ 2147483647 w 225"/>
              <a:gd name="T1" fmla="*/ 2147483647 h 167"/>
              <a:gd name="T2" fmla="*/ 2147483647 w 225"/>
              <a:gd name="T3" fmla="*/ 2147483647 h 167"/>
              <a:gd name="T4" fmla="*/ 0 w 225"/>
              <a:gd name="T5" fmla="*/ 2147483647 h 167"/>
              <a:gd name="T6" fmla="*/ 2147483647 w 225"/>
              <a:gd name="T7" fmla="*/ 2147483647 h 167"/>
              <a:gd name="T8" fmla="*/ 2147483647 w 225"/>
              <a:gd name="T9" fmla="*/ 2147483647 h 167"/>
              <a:gd name="T10" fmla="*/ 2147483647 w 225"/>
              <a:gd name="T11" fmla="*/ 2147483647 h 167"/>
              <a:gd name="T12" fmla="*/ 2147483647 w 225"/>
              <a:gd name="T13" fmla="*/ 2147483647 h 167"/>
              <a:gd name="T14" fmla="*/ 2147483647 w 225"/>
              <a:gd name="T15" fmla="*/ 2147483647 h 167"/>
              <a:gd name="T16" fmla="*/ 2147483647 w 225"/>
              <a:gd name="T17" fmla="*/ 2147483647 h 167"/>
              <a:gd name="T18" fmla="*/ 2147483647 w 225"/>
              <a:gd name="T19" fmla="*/ 2147483647 h 167"/>
              <a:gd name="T20" fmla="*/ 2147483647 w 225"/>
              <a:gd name="T21" fmla="*/ 2147483647 h 167"/>
              <a:gd name="T22" fmla="*/ 2147483647 w 225"/>
              <a:gd name="T23" fmla="*/ 2147483647 h 167"/>
              <a:gd name="T24" fmla="*/ 2147483647 w 225"/>
              <a:gd name="T25" fmla="*/ 2147483647 h 167"/>
              <a:gd name="T26" fmla="*/ 2147483647 w 225"/>
              <a:gd name="T27" fmla="*/ 2147483647 h 167"/>
              <a:gd name="T28" fmla="*/ 2147483647 w 225"/>
              <a:gd name="T29" fmla="*/ 2147483647 h 167"/>
              <a:gd name="T30" fmla="*/ 2147483647 w 225"/>
              <a:gd name="T31" fmla="*/ 2147483647 h 167"/>
              <a:gd name="T32" fmla="*/ 2147483647 w 225"/>
              <a:gd name="T33" fmla="*/ 2147483647 h 167"/>
              <a:gd name="T34" fmla="*/ 2147483647 w 225"/>
              <a:gd name="T35" fmla="*/ 0 h 167"/>
              <a:gd name="T36" fmla="*/ 2147483647 w 225"/>
              <a:gd name="T37" fmla="*/ 2147483647 h 167"/>
              <a:gd name="T38" fmla="*/ 2147483647 w 225"/>
              <a:gd name="T39" fmla="*/ 2147483647 h 167"/>
              <a:gd name="T40" fmla="*/ 2147483647 w 225"/>
              <a:gd name="T41" fmla="*/ 2147483647 h 167"/>
              <a:gd name="T42" fmla="*/ 2147483647 w 225"/>
              <a:gd name="T43" fmla="*/ 2147483647 h 167"/>
              <a:gd name="T44" fmla="*/ 2147483647 w 225"/>
              <a:gd name="T45" fmla="*/ 2147483647 h 167"/>
              <a:gd name="T46" fmla="*/ 2147483647 w 225"/>
              <a:gd name="T47" fmla="*/ 2147483647 h 167"/>
              <a:gd name="T48" fmla="*/ 2147483647 w 225"/>
              <a:gd name="T49" fmla="*/ 2147483647 h 167"/>
              <a:gd name="T50" fmla="*/ 2147483647 w 225"/>
              <a:gd name="T51" fmla="*/ 2147483647 h 167"/>
              <a:gd name="T52" fmla="*/ 2147483647 w 225"/>
              <a:gd name="T53" fmla="*/ 2147483647 h 167"/>
              <a:gd name="T54" fmla="*/ 2147483647 w 225"/>
              <a:gd name="T55" fmla="*/ 2147483647 h 167"/>
              <a:gd name="T56" fmla="*/ 2147483647 w 225"/>
              <a:gd name="T57" fmla="*/ 2147483647 h 167"/>
              <a:gd name="T58" fmla="*/ 2147483647 w 225"/>
              <a:gd name="T59" fmla="*/ 2147483647 h 167"/>
              <a:gd name="T60" fmla="*/ 2147483647 w 225"/>
              <a:gd name="T61" fmla="*/ 2147483647 h 167"/>
              <a:gd name="T62" fmla="*/ 2147483647 w 225"/>
              <a:gd name="T63" fmla="*/ 2147483647 h 167"/>
              <a:gd name="T64" fmla="*/ 2147483647 w 225"/>
              <a:gd name="T65" fmla="*/ 2147483647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3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623040" y="5132015"/>
            <a:ext cx="3175" cy="17463"/>
          </a:xfrm>
          <a:custGeom>
            <a:avLst/>
            <a:gdLst>
              <a:gd name="T0" fmla="*/ 0 w 7"/>
              <a:gd name="T1" fmla="*/ 2147483647 h 31"/>
              <a:gd name="T2" fmla="*/ 2147483647 w 7"/>
              <a:gd name="T3" fmla="*/ 2147483647 h 31"/>
              <a:gd name="T4" fmla="*/ 2147483647 w 7"/>
              <a:gd name="T5" fmla="*/ 2147483647 h 31"/>
              <a:gd name="T6" fmla="*/ 2147483647 w 7"/>
              <a:gd name="T7" fmla="*/ 2147483647 h 31"/>
              <a:gd name="T8" fmla="*/ 2147483647 w 7"/>
              <a:gd name="T9" fmla="*/ 0 h 31"/>
              <a:gd name="T10" fmla="*/ 2147483647 w 7"/>
              <a:gd name="T11" fmla="*/ 2147483647 h 31"/>
              <a:gd name="T12" fmla="*/ 2147483647 w 7"/>
              <a:gd name="T13" fmla="*/ 2147483647 h 31"/>
              <a:gd name="T14" fmla="*/ 2147483647 w 7"/>
              <a:gd name="T15" fmla="*/ 2147483647 h 31"/>
              <a:gd name="T16" fmla="*/ 0 w 7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4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556365" y="5054228"/>
            <a:ext cx="15875" cy="15875"/>
          </a:xfrm>
          <a:custGeom>
            <a:avLst/>
            <a:gdLst>
              <a:gd name="T0" fmla="*/ 2147483647 w 33"/>
              <a:gd name="T1" fmla="*/ 2147483647 h 31"/>
              <a:gd name="T2" fmla="*/ 2147483647 w 33"/>
              <a:gd name="T3" fmla="*/ 0 h 31"/>
              <a:gd name="T4" fmla="*/ 2147483647 w 33"/>
              <a:gd name="T5" fmla="*/ 0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0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2147483647 w 33"/>
              <a:gd name="T29" fmla="*/ 2147483647 h 31"/>
              <a:gd name="T30" fmla="*/ 2147483647 w 33"/>
              <a:gd name="T31" fmla="*/ 2147483647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5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572240" y="4966915"/>
            <a:ext cx="3175" cy="9525"/>
          </a:xfrm>
          <a:custGeom>
            <a:avLst/>
            <a:gdLst>
              <a:gd name="T0" fmla="*/ 0 w 13"/>
              <a:gd name="T1" fmla="*/ 2147483647 h 19"/>
              <a:gd name="T2" fmla="*/ 2147483647 w 13"/>
              <a:gd name="T3" fmla="*/ 2147483647 h 19"/>
              <a:gd name="T4" fmla="*/ 2147483647 w 13"/>
              <a:gd name="T5" fmla="*/ 2147483647 h 19"/>
              <a:gd name="T6" fmla="*/ 2147483647 w 13"/>
              <a:gd name="T7" fmla="*/ 2147483647 h 19"/>
              <a:gd name="T8" fmla="*/ 2147483647 w 13"/>
              <a:gd name="T9" fmla="*/ 2147483647 h 19"/>
              <a:gd name="T10" fmla="*/ 2147483647 w 13"/>
              <a:gd name="T11" fmla="*/ 2147483647 h 19"/>
              <a:gd name="T12" fmla="*/ 2147483647 w 13"/>
              <a:gd name="T13" fmla="*/ 0 h 19"/>
              <a:gd name="T14" fmla="*/ 0 w 13"/>
              <a:gd name="T15" fmla="*/ 2147483647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6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411903" y="4970090"/>
            <a:ext cx="36512" cy="22225"/>
          </a:xfrm>
          <a:custGeom>
            <a:avLst/>
            <a:gdLst>
              <a:gd name="T0" fmla="*/ 2147483647 w 87"/>
              <a:gd name="T1" fmla="*/ 2147483647 h 42"/>
              <a:gd name="T2" fmla="*/ 2147483647 w 87"/>
              <a:gd name="T3" fmla="*/ 2147483647 h 42"/>
              <a:gd name="T4" fmla="*/ 2147483647 w 87"/>
              <a:gd name="T5" fmla="*/ 2147483647 h 42"/>
              <a:gd name="T6" fmla="*/ 2147483647 w 87"/>
              <a:gd name="T7" fmla="*/ 2147483647 h 42"/>
              <a:gd name="T8" fmla="*/ 2147483647 w 87"/>
              <a:gd name="T9" fmla="*/ 2147483647 h 42"/>
              <a:gd name="T10" fmla="*/ 2147483647 w 87"/>
              <a:gd name="T11" fmla="*/ 2147483647 h 42"/>
              <a:gd name="T12" fmla="*/ 2147483647 w 87"/>
              <a:gd name="T13" fmla="*/ 2147483647 h 42"/>
              <a:gd name="T14" fmla="*/ 2147483647 w 87"/>
              <a:gd name="T15" fmla="*/ 2147483647 h 42"/>
              <a:gd name="T16" fmla="*/ 2147483647 w 87"/>
              <a:gd name="T17" fmla="*/ 2147483647 h 42"/>
              <a:gd name="T18" fmla="*/ 2147483647 w 87"/>
              <a:gd name="T19" fmla="*/ 2147483647 h 42"/>
              <a:gd name="T20" fmla="*/ 2147483647 w 87"/>
              <a:gd name="T21" fmla="*/ 2147483647 h 42"/>
              <a:gd name="T22" fmla="*/ 2147483647 w 87"/>
              <a:gd name="T23" fmla="*/ 2147483647 h 42"/>
              <a:gd name="T24" fmla="*/ 2147483647 w 87"/>
              <a:gd name="T25" fmla="*/ 0 h 42"/>
              <a:gd name="T26" fmla="*/ 2147483647 w 87"/>
              <a:gd name="T27" fmla="*/ 0 h 42"/>
              <a:gd name="T28" fmla="*/ 2147483647 w 87"/>
              <a:gd name="T29" fmla="*/ 0 h 42"/>
              <a:gd name="T30" fmla="*/ 2147483647 w 87"/>
              <a:gd name="T31" fmla="*/ 0 h 42"/>
              <a:gd name="T32" fmla="*/ 2147483647 w 87"/>
              <a:gd name="T33" fmla="*/ 2147483647 h 42"/>
              <a:gd name="T34" fmla="*/ 2147483647 w 87"/>
              <a:gd name="T35" fmla="*/ 2147483647 h 42"/>
              <a:gd name="T36" fmla="*/ 2147483647 w 87"/>
              <a:gd name="T37" fmla="*/ 2147483647 h 42"/>
              <a:gd name="T38" fmla="*/ 2147483647 w 87"/>
              <a:gd name="T39" fmla="*/ 2147483647 h 42"/>
              <a:gd name="T40" fmla="*/ 0 w 87"/>
              <a:gd name="T41" fmla="*/ 2147483647 h 42"/>
              <a:gd name="T42" fmla="*/ 2147483647 w 87"/>
              <a:gd name="T43" fmla="*/ 2147483647 h 42"/>
              <a:gd name="T44" fmla="*/ 2147483647 w 87"/>
              <a:gd name="T45" fmla="*/ 2147483647 h 42"/>
              <a:gd name="T46" fmla="*/ 2147483647 w 87"/>
              <a:gd name="T47" fmla="*/ 2147483647 h 42"/>
              <a:gd name="T48" fmla="*/ 2147483647 w 87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7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656378" y="5433640"/>
            <a:ext cx="1587" cy="14288"/>
          </a:xfrm>
          <a:custGeom>
            <a:avLst/>
            <a:gdLst>
              <a:gd name="T0" fmla="*/ 0 w 7"/>
              <a:gd name="T1" fmla="*/ 0 h 31"/>
              <a:gd name="T2" fmla="*/ 2147483647 w 7"/>
              <a:gd name="T3" fmla="*/ 0 h 31"/>
              <a:gd name="T4" fmla="*/ 2147483647 w 7"/>
              <a:gd name="T5" fmla="*/ 2147483647 h 31"/>
              <a:gd name="T6" fmla="*/ 0 w 7"/>
              <a:gd name="T7" fmla="*/ 2147483647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8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892790" y="4939928"/>
            <a:ext cx="1019175" cy="908050"/>
          </a:xfrm>
          <a:custGeom>
            <a:avLst/>
            <a:gdLst>
              <a:gd name="T0" fmla="*/ 2147483647 w 2332"/>
              <a:gd name="T1" fmla="*/ 2147483647 h 1731"/>
              <a:gd name="T2" fmla="*/ 2147483647 w 2332"/>
              <a:gd name="T3" fmla="*/ 2147483647 h 1731"/>
              <a:gd name="T4" fmla="*/ 2147483647 w 2332"/>
              <a:gd name="T5" fmla="*/ 2147483647 h 1731"/>
              <a:gd name="T6" fmla="*/ 2147483647 w 2332"/>
              <a:gd name="T7" fmla="*/ 2147483647 h 1731"/>
              <a:gd name="T8" fmla="*/ 2147483647 w 2332"/>
              <a:gd name="T9" fmla="*/ 2147483647 h 1731"/>
              <a:gd name="T10" fmla="*/ 2147483647 w 2332"/>
              <a:gd name="T11" fmla="*/ 2147483647 h 1731"/>
              <a:gd name="T12" fmla="*/ 2147483647 w 2332"/>
              <a:gd name="T13" fmla="*/ 2147483647 h 1731"/>
              <a:gd name="T14" fmla="*/ 2147483647 w 2332"/>
              <a:gd name="T15" fmla="*/ 2147483647 h 1731"/>
              <a:gd name="T16" fmla="*/ 2147483647 w 2332"/>
              <a:gd name="T17" fmla="*/ 2147483647 h 1731"/>
              <a:gd name="T18" fmla="*/ 2147483647 w 2332"/>
              <a:gd name="T19" fmla="*/ 2147483647 h 1731"/>
              <a:gd name="T20" fmla="*/ 2147483647 w 2332"/>
              <a:gd name="T21" fmla="*/ 2147483647 h 1731"/>
              <a:gd name="T22" fmla="*/ 2147483647 w 2332"/>
              <a:gd name="T23" fmla="*/ 2147483647 h 1731"/>
              <a:gd name="T24" fmla="*/ 2147483647 w 2332"/>
              <a:gd name="T25" fmla="*/ 2147483647 h 1731"/>
              <a:gd name="T26" fmla="*/ 2147483647 w 2332"/>
              <a:gd name="T27" fmla="*/ 2147483647 h 1731"/>
              <a:gd name="T28" fmla="*/ 2147483647 w 2332"/>
              <a:gd name="T29" fmla="*/ 2147483647 h 1731"/>
              <a:gd name="T30" fmla="*/ 2147483647 w 2332"/>
              <a:gd name="T31" fmla="*/ 2147483647 h 1731"/>
              <a:gd name="T32" fmla="*/ 2147483647 w 2332"/>
              <a:gd name="T33" fmla="*/ 2147483647 h 1731"/>
              <a:gd name="T34" fmla="*/ 2147483647 w 2332"/>
              <a:gd name="T35" fmla="*/ 2147483647 h 1731"/>
              <a:gd name="T36" fmla="*/ 2147483647 w 2332"/>
              <a:gd name="T37" fmla="*/ 2147483647 h 1731"/>
              <a:gd name="T38" fmla="*/ 2147483647 w 2332"/>
              <a:gd name="T39" fmla="*/ 2147483647 h 1731"/>
              <a:gd name="T40" fmla="*/ 2147483647 w 2332"/>
              <a:gd name="T41" fmla="*/ 2147483647 h 1731"/>
              <a:gd name="T42" fmla="*/ 2147483647 w 2332"/>
              <a:gd name="T43" fmla="*/ 2147483647 h 1731"/>
              <a:gd name="T44" fmla="*/ 2147483647 w 2332"/>
              <a:gd name="T45" fmla="*/ 2147483647 h 1731"/>
              <a:gd name="T46" fmla="*/ 2147483647 w 2332"/>
              <a:gd name="T47" fmla="*/ 2147483647 h 1731"/>
              <a:gd name="T48" fmla="*/ 2147483647 w 2332"/>
              <a:gd name="T49" fmla="*/ 2147483647 h 1731"/>
              <a:gd name="T50" fmla="*/ 2147483647 w 2332"/>
              <a:gd name="T51" fmla="*/ 2147483647 h 1731"/>
              <a:gd name="T52" fmla="*/ 2147483647 w 2332"/>
              <a:gd name="T53" fmla="*/ 2147483647 h 1731"/>
              <a:gd name="T54" fmla="*/ 2147483647 w 2332"/>
              <a:gd name="T55" fmla="*/ 2147483647 h 1731"/>
              <a:gd name="T56" fmla="*/ 2147483647 w 2332"/>
              <a:gd name="T57" fmla="*/ 2147483647 h 1731"/>
              <a:gd name="T58" fmla="*/ 2147483647 w 2332"/>
              <a:gd name="T59" fmla="*/ 2147483647 h 1731"/>
              <a:gd name="T60" fmla="*/ 2147483647 w 2332"/>
              <a:gd name="T61" fmla="*/ 2147483647 h 1731"/>
              <a:gd name="T62" fmla="*/ 2147483647 w 2332"/>
              <a:gd name="T63" fmla="*/ 2147483647 h 1731"/>
              <a:gd name="T64" fmla="*/ 2147483647 w 2332"/>
              <a:gd name="T65" fmla="*/ 2147483647 h 1731"/>
              <a:gd name="T66" fmla="*/ 2147483647 w 2332"/>
              <a:gd name="T67" fmla="*/ 2147483647 h 1731"/>
              <a:gd name="T68" fmla="*/ 2147483647 w 2332"/>
              <a:gd name="T69" fmla="*/ 2147483647 h 1731"/>
              <a:gd name="T70" fmla="*/ 2147483647 w 2332"/>
              <a:gd name="T71" fmla="*/ 2147483647 h 1731"/>
              <a:gd name="T72" fmla="*/ 2147483647 w 2332"/>
              <a:gd name="T73" fmla="*/ 2147483647 h 1731"/>
              <a:gd name="T74" fmla="*/ 2147483647 w 2332"/>
              <a:gd name="T75" fmla="*/ 2147483647 h 1731"/>
              <a:gd name="T76" fmla="*/ 2147483647 w 2332"/>
              <a:gd name="T77" fmla="*/ 2147483647 h 1731"/>
              <a:gd name="T78" fmla="*/ 2147483647 w 2332"/>
              <a:gd name="T79" fmla="*/ 2147483647 h 1731"/>
              <a:gd name="T80" fmla="*/ 2147483647 w 2332"/>
              <a:gd name="T81" fmla="*/ 2147483647 h 1731"/>
              <a:gd name="T82" fmla="*/ 2147483647 w 2332"/>
              <a:gd name="T83" fmla="*/ 2147483647 h 1731"/>
              <a:gd name="T84" fmla="*/ 2147483647 w 2332"/>
              <a:gd name="T85" fmla="*/ 2147483647 h 1731"/>
              <a:gd name="T86" fmla="*/ 2147483647 w 2332"/>
              <a:gd name="T87" fmla="*/ 2147483647 h 1731"/>
              <a:gd name="T88" fmla="*/ 2147483647 w 2332"/>
              <a:gd name="T89" fmla="*/ 2147483647 h 1731"/>
              <a:gd name="T90" fmla="*/ 2147483647 w 2332"/>
              <a:gd name="T91" fmla="*/ 2147483647 h 1731"/>
              <a:gd name="T92" fmla="*/ 2147483647 w 2332"/>
              <a:gd name="T93" fmla="*/ 2147483647 h 1731"/>
              <a:gd name="T94" fmla="*/ 2147483647 w 2332"/>
              <a:gd name="T95" fmla="*/ 2147483647 h 1731"/>
              <a:gd name="T96" fmla="*/ 2147483647 w 2332"/>
              <a:gd name="T97" fmla="*/ 2147483647 h 1731"/>
              <a:gd name="T98" fmla="*/ 2147483647 w 2332"/>
              <a:gd name="T99" fmla="*/ 2147483647 h 1731"/>
              <a:gd name="T100" fmla="*/ 2147483647 w 2332"/>
              <a:gd name="T101" fmla="*/ 2147483647 h 1731"/>
              <a:gd name="T102" fmla="*/ 2147483647 w 2332"/>
              <a:gd name="T103" fmla="*/ 2147483647 h 1731"/>
              <a:gd name="T104" fmla="*/ 2147483647 w 2332"/>
              <a:gd name="T105" fmla="*/ 2147483647 h 1731"/>
              <a:gd name="T106" fmla="*/ 2147483647 w 2332"/>
              <a:gd name="T107" fmla="*/ 2147483647 h 1731"/>
              <a:gd name="T108" fmla="*/ 2147483647 w 2332"/>
              <a:gd name="T109" fmla="*/ 2147483647 h 1731"/>
              <a:gd name="T110" fmla="*/ 2147483647 w 2332"/>
              <a:gd name="T111" fmla="*/ 2147483647 h 1731"/>
              <a:gd name="T112" fmla="*/ 2147483647 w 2332"/>
              <a:gd name="T113" fmla="*/ 2147483647 h 1731"/>
              <a:gd name="T114" fmla="*/ 2147483647 w 2332"/>
              <a:gd name="T115" fmla="*/ 2147483647 h 1731"/>
              <a:gd name="T116" fmla="*/ 2147483647 w 2332"/>
              <a:gd name="T117" fmla="*/ 2147483647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9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379403" y="3606428"/>
            <a:ext cx="668337" cy="581025"/>
          </a:xfrm>
          <a:custGeom>
            <a:avLst/>
            <a:gdLst>
              <a:gd name="T0" fmla="*/ 2147483647 w 1535"/>
              <a:gd name="T1" fmla="*/ 2147483647 h 1109"/>
              <a:gd name="T2" fmla="*/ 2147483647 w 1535"/>
              <a:gd name="T3" fmla="*/ 2147483647 h 1109"/>
              <a:gd name="T4" fmla="*/ 2147483647 w 1535"/>
              <a:gd name="T5" fmla="*/ 2147483647 h 1109"/>
              <a:gd name="T6" fmla="*/ 2147483647 w 1535"/>
              <a:gd name="T7" fmla="*/ 2147483647 h 1109"/>
              <a:gd name="T8" fmla="*/ 2147483647 w 1535"/>
              <a:gd name="T9" fmla="*/ 2147483647 h 1109"/>
              <a:gd name="T10" fmla="*/ 2147483647 w 1535"/>
              <a:gd name="T11" fmla="*/ 2147483647 h 1109"/>
              <a:gd name="T12" fmla="*/ 2147483647 w 1535"/>
              <a:gd name="T13" fmla="*/ 2147483647 h 1109"/>
              <a:gd name="T14" fmla="*/ 2147483647 w 1535"/>
              <a:gd name="T15" fmla="*/ 2147483647 h 1109"/>
              <a:gd name="T16" fmla="*/ 2147483647 w 1535"/>
              <a:gd name="T17" fmla="*/ 2147483647 h 1109"/>
              <a:gd name="T18" fmla="*/ 2147483647 w 1535"/>
              <a:gd name="T19" fmla="*/ 2147483647 h 1109"/>
              <a:gd name="T20" fmla="*/ 2147483647 w 1535"/>
              <a:gd name="T21" fmla="*/ 2147483647 h 1109"/>
              <a:gd name="T22" fmla="*/ 2147483647 w 1535"/>
              <a:gd name="T23" fmla="*/ 2147483647 h 1109"/>
              <a:gd name="T24" fmla="*/ 2147483647 w 1535"/>
              <a:gd name="T25" fmla="*/ 2147483647 h 1109"/>
              <a:gd name="T26" fmla="*/ 2147483647 w 1535"/>
              <a:gd name="T27" fmla="*/ 2147483647 h 1109"/>
              <a:gd name="T28" fmla="*/ 2147483647 w 1535"/>
              <a:gd name="T29" fmla="*/ 2147483647 h 1109"/>
              <a:gd name="T30" fmla="*/ 2147483647 w 1535"/>
              <a:gd name="T31" fmla="*/ 2147483647 h 1109"/>
              <a:gd name="T32" fmla="*/ 2147483647 w 1535"/>
              <a:gd name="T33" fmla="*/ 2147483647 h 1109"/>
              <a:gd name="T34" fmla="*/ 2147483647 w 1535"/>
              <a:gd name="T35" fmla="*/ 2147483647 h 1109"/>
              <a:gd name="T36" fmla="*/ 2147483647 w 1535"/>
              <a:gd name="T37" fmla="*/ 2147483647 h 1109"/>
              <a:gd name="T38" fmla="*/ 2147483647 w 1535"/>
              <a:gd name="T39" fmla="*/ 2147483647 h 1109"/>
              <a:gd name="T40" fmla="*/ 2147483647 w 1535"/>
              <a:gd name="T41" fmla="*/ 2147483647 h 1109"/>
              <a:gd name="T42" fmla="*/ 2147483647 w 1535"/>
              <a:gd name="T43" fmla="*/ 2147483647 h 1109"/>
              <a:gd name="T44" fmla="*/ 2147483647 w 1535"/>
              <a:gd name="T45" fmla="*/ 2147483647 h 1109"/>
              <a:gd name="T46" fmla="*/ 2147483647 w 1535"/>
              <a:gd name="T47" fmla="*/ 2147483647 h 1109"/>
              <a:gd name="T48" fmla="*/ 2147483647 w 1535"/>
              <a:gd name="T49" fmla="*/ 2147483647 h 1109"/>
              <a:gd name="T50" fmla="*/ 2147483647 w 1535"/>
              <a:gd name="T51" fmla="*/ 2147483647 h 1109"/>
              <a:gd name="T52" fmla="*/ 2147483647 w 1535"/>
              <a:gd name="T53" fmla="*/ 2147483647 h 1109"/>
              <a:gd name="T54" fmla="*/ 2147483647 w 1535"/>
              <a:gd name="T55" fmla="*/ 2147483647 h 1109"/>
              <a:gd name="T56" fmla="*/ 2147483647 w 1535"/>
              <a:gd name="T57" fmla="*/ 2147483647 h 1109"/>
              <a:gd name="T58" fmla="*/ 2147483647 w 1535"/>
              <a:gd name="T59" fmla="*/ 2147483647 h 1109"/>
              <a:gd name="T60" fmla="*/ 2147483647 w 1535"/>
              <a:gd name="T61" fmla="*/ 2147483647 h 1109"/>
              <a:gd name="T62" fmla="*/ 2147483647 w 1535"/>
              <a:gd name="T63" fmla="*/ 2147483647 h 1109"/>
              <a:gd name="T64" fmla="*/ 2147483647 w 1535"/>
              <a:gd name="T65" fmla="*/ 2147483647 h 1109"/>
              <a:gd name="T66" fmla="*/ 2147483647 w 1535"/>
              <a:gd name="T67" fmla="*/ 2147483647 h 1109"/>
              <a:gd name="T68" fmla="*/ 2147483647 w 1535"/>
              <a:gd name="T69" fmla="*/ 2147483647 h 1109"/>
              <a:gd name="T70" fmla="*/ 2147483647 w 1535"/>
              <a:gd name="T71" fmla="*/ 2147483647 h 1109"/>
              <a:gd name="T72" fmla="*/ 2147483647 w 1535"/>
              <a:gd name="T73" fmla="*/ 2147483647 h 1109"/>
              <a:gd name="T74" fmla="*/ 2147483647 w 1535"/>
              <a:gd name="T75" fmla="*/ 2147483647 h 1109"/>
              <a:gd name="T76" fmla="*/ 2147483647 w 1535"/>
              <a:gd name="T77" fmla="*/ 2147483647 h 1109"/>
              <a:gd name="T78" fmla="*/ 2147483647 w 1535"/>
              <a:gd name="T79" fmla="*/ 2147483647 h 1109"/>
              <a:gd name="T80" fmla="*/ 2147483647 w 1535"/>
              <a:gd name="T81" fmla="*/ 2147483647 h 1109"/>
              <a:gd name="T82" fmla="*/ 2147483647 w 1535"/>
              <a:gd name="T83" fmla="*/ 2147483647 h 1109"/>
              <a:gd name="T84" fmla="*/ 2147483647 w 1535"/>
              <a:gd name="T85" fmla="*/ 2147483647 h 1109"/>
              <a:gd name="T86" fmla="*/ 2147483647 w 1535"/>
              <a:gd name="T87" fmla="*/ 2147483647 h 1109"/>
              <a:gd name="T88" fmla="*/ 2147483647 w 1535"/>
              <a:gd name="T89" fmla="*/ 2147483647 h 1109"/>
              <a:gd name="T90" fmla="*/ 2147483647 w 1535"/>
              <a:gd name="T91" fmla="*/ 2147483647 h 1109"/>
              <a:gd name="T92" fmla="*/ 2147483647 w 1535"/>
              <a:gd name="T93" fmla="*/ 2147483647 h 1109"/>
              <a:gd name="T94" fmla="*/ 2147483647 w 1535"/>
              <a:gd name="T95" fmla="*/ 2147483647 h 1109"/>
              <a:gd name="T96" fmla="*/ 2147483647 w 1535"/>
              <a:gd name="T97" fmla="*/ 2147483647 h 1109"/>
              <a:gd name="T98" fmla="*/ 2147483647 w 1535"/>
              <a:gd name="T99" fmla="*/ 2147483647 h 1109"/>
              <a:gd name="T100" fmla="*/ 2147483647 w 1535"/>
              <a:gd name="T101" fmla="*/ 2147483647 h 1109"/>
              <a:gd name="T102" fmla="*/ 2147483647 w 1535"/>
              <a:gd name="T103" fmla="*/ 2147483647 h 1109"/>
              <a:gd name="T104" fmla="*/ 2147483647 w 1535"/>
              <a:gd name="T105" fmla="*/ 2147483647 h 1109"/>
              <a:gd name="T106" fmla="*/ 2147483647 w 1535"/>
              <a:gd name="T107" fmla="*/ 2147483647 h 1109"/>
              <a:gd name="T108" fmla="*/ 2147483647 w 1535"/>
              <a:gd name="T109" fmla="*/ 2147483647 h 1109"/>
              <a:gd name="T110" fmla="*/ 2147483647 w 1535"/>
              <a:gd name="T111" fmla="*/ 2147483647 h 1109"/>
              <a:gd name="T112" fmla="*/ 2147483647 w 1535"/>
              <a:gd name="T113" fmla="*/ 2147483647 h 1109"/>
              <a:gd name="T114" fmla="*/ 2147483647 w 1535"/>
              <a:gd name="T115" fmla="*/ 2147483647 h 1109"/>
              <a:gd name="T116" fmla="*/ 2147483647 w 1535"/>
              <a:gd name="T117" fmla="*/ 2147483647 h 1109"/>
              <a:gd name="T118" fmla="*/ 2147483647 w 1535"/>
              <a:gd name="T119" fmla="*/ 2147483647 h 1109"/>
              <a:gd name="T120" fmla="*/ 2147483647 w 1535"/>
              <a:gd name="T121" fmla="*/ 2147483647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0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654165" y="5246315"/>
            <a:ext cx="211138" cy="265113"/>
          </a:xfrm>
          <a:custGeom>
            <a:avLst/>
            <a:gdLst>
              <a:gd name="T0" fmla="*/ 2147483647 w 486"/>
              <a:gd name="T1" fmla="*/ 2147483647 h 505"/>
              <a:gd name="T2" fmla="*/ 2147483647 w 486"/>
              <a:gd name="T3" fmla="*/ 2147483647 h 505"/>
              <a:gd name="T4" fmla="*/ 2147483647 w 486"/>
              <a:gd name="T5" fmla="*/ 2147483647 h 505"/>
              <a:gd name="T6" fmla="*/ 2147483647 w 486"/>
              <a:gd name="T7" fmla="*/ 2147483647 h 505"/>
              <a:gd name="T8" fmla="*/ 2147483647 w 486"/>
              <a:gd name="T9" fmla="*/ 2147483647 h 505"/>
              <a:gd name="T10" fmla="*/ 2147483647 w 486"/>
              <a:gd name="T11" fmla="*/ 2147483647 h 505"/>
              <a:gd name="T12" fmla="*/ 2147483647 w 486"/>
              <a:gd name="T13" fmla="*/ 2147483647 h 505"/>
              <a:gd name="T14" fmla="*/ 2147483647 w 486"/>
              <a:gd name="T15" fmla="*/ 2147483647 h 505"/>
              <a:gd name="T16" fmla="*/ 2147483647 w 486"/>
              <a:gd name="T17" fmla="*/ 2147483647 h 505"/>
              <a:gd name="T18" fmla="*/ 2147483647 w 486"/>
              <a:gd name="T19" fmla="*/ 2147483647 h 505"/>
              <a:gd name="T20" fmla="*/ 2147483647 w 486"/>
              <a:gd name="T21" fmla="*/ 2147483647 h 505"/>
              <a:gd name="T22" fmla="*/ 2147483647 w 486"/>
              <a:gd name="T23" fmla="*/ 2147483647 h 505"/>
              <a:gd name="T24" fmla="*/ 2147483647 w 486"/>
              <a:gd name="T25" fmla="*/ 2147483647 h 505"/>
              <a:gd name="T26" fmla="*/ 2147483647 w 486"/>
              <a:gd name="T27" fmla="*/ 2147483647 h 505"/>
              <a:gd name="T28" fmla="*/ 2147483647 w 486"/>
              <a:gd name="T29" fmla="*/ 2147483647 h 505"/>
              <a:gd name="T30" fmla="*/ 2147483647 w 486"/>
              <a:gd name="T31" fmla="*/ 2147483647 h 505"/>
              <a:gd name="T32" fmla="*/ 2147483647 w 486"/>
              <a:gd name="T33" fmla="*/ 2147483647 h 505"/>
              <a:gd name="T34" fmla="*/ 2147483647 w 486"/>
              <a:gd name="T35" fmla="*/ 2147483647 h 505"/>
              <a:gd name="T36" fmla="*/ 2147483647 w 486"/>
              <a:gd name="T37" fmla="*/ 2147483647 h 505"/>
              <a:gd name="T38" fmla="*/ 2147483647 w 486"/>
              <a:gd name="T39" fmla="*/ 2147483647 h 505"/>
              <a:gd name="T40" fmla="*/ 2147483647 w 486"/>
              <a:gd name="T41" fmla="*/ 2147483647 h 505"/>
              <a:gd name="T42" fmla="*/ 2147483647 w 486"/>
              <a:gd name="T43" fmla="*/ 2147483647 h 505"/>
              <a:gd name="T44" fmla="*/ 2147483647 w 486"/>
              <a:gd name="T45" fmla="*/ 2147483647 h 505"/>
              <a:gd name="T46" fmla="*/ 2147483647 w 486"/>
              <a:gd name="T47" fmla="*/ 2147483647 h 505"/>
              <a:gd name="T48" fmla="*/ 2147483647 w 486"/>
              <a:gd name="T49" fmla="*/ 2147483647 h 505"/>
              <a:gd name="T50" fmla="*/ 2147483647 w 486"/>
              <a:gd name="T51" fmla="*/ 2147483647 h 505"/>
              <a:gd name="T52" fmla="*/ 2147483647 w 486"/>
              <a:gd name="T53" fmla="*/ 2147483647 h 505"/>
              <a:gd name="T54" fmla="*/ 2147483647 w 486"/>
              <a:gd name="T55" fmla="*/ 2147483647 h 505"/>
              <a:gd name="T56" fmla="*/ 2147483647 w 486"/>
              <a:gd name="T57" fmla="*/ 2147483647 h 505"/>
              <a:gd name="T58" fmla="*/ 2147483647 w 486"/>
              <a:gd name="T59" fmla="*/ 2147483647 h 505"/>
              <a:gd name="T60" fmla="*/ 2147483647 w 486"/>
              <a:gd name="T61" fmla="*/ 2147483647 h 505"/>
              <a:gd name="T62" fmla="*/ 2147483647 w 486"/>
              <a:gd name="T63" fmla="*/ 2147483647 h 505"/>
              <a:gd name="T64" fmla="*/ 2147483647 w 486"/>
              <a:gd name="T65" fmla="*/ 2147483647 h 505"/>
              <a:gd name="T66" fmla="*/ 2147483647 w 486"/>
              <a:gd name="T67" fmla="*/ 2147483647 h 505"/>
              <a:gd name="T68" fmla="*/ 2147483647 w 486"/>
              <a:gd name="T69" fmla="*/ 2147483647 h 505"/>
              <a:gd name="T70" fmla="*/ 2147483647 w 486"/>
              <a:gd name="T71" fmla="*/ 2147483647 h 505"/>
              <a:gd name="T72" fmla="*/ 2147483647 w 486"/>
              <a:gd name="T73" fmla="*/ 2147483647 h 505"/>
              <a:gd name="T74" fmla="*/ 2147483647 w 486"/>
              <a:gd name="T75" fmla="*/ 2147483647 h 505"/>
              <a:gd name="T76" fmla="*/ 2147483647 w 486"/>
              <a:gd name="T77" fmla="*/ 2147483647 h 505"/>
              <a:gd name="T78" fmla="*/ 2147483647 w 486"/>
              <a:gd name="T79" fmla="*/ 2147483647 h 505"/>
              <a:gd name="T80" fmla="*/ 2147483647 w 486"/>
              <a:gd name="T81" fmla="*/ 2147483647 h 505"/>
              <a:gd name="T82" fmla="*/ 2147483647 w 486"/>
              <a:gd name="T83" fmla="*/ 2147483647 h 505"/>
              <a:gd name="T84" fmla="*/ 2147483647 w 486"/>
              <a:gd name="T85" fmla="*/ 2147483647 h 505"/>
              <a:gd name="T86" fmla="*/ 2147483647 w 486"/>
              <a:gd name="T87" fmla="*/ 2147483647 h 505"/>
              <a:gd name="T88" fmla="*/ 2147483647 w 486"/>
              <a:gd name="T89" fmla="*/ 2147483647 h 505"/>
              <a:gd name="T90" fmla="*/ 2147483647 w 486"/>
              <a:gd name="T91" fmla="*/ 2147483647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1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824028" y="4450978"/>
            <a:ext cx="73025" cy="109537"/>
          </a:xfrm>
          <a:custGeom>
            <a:avLst/>
            <a:gdLst>
              <a:gd name="T0" fmla="*/ 2147483647 w 166"/>
              <a:gd name="T1" fmla="*/ 2147483647 h 208"/>
              <a:gd name="T2" fmla="*/ 2147483647 w 166"/>
              <a:gd name="T3" fmla="*/ 2147483647 h 208"/>
              <a:gd name="T4" fmla="*/ 2147483647 w 166"/>
              <a:gd name="T5" fmla="*/ 2147483647 h 208"/>
              <a:gd name="T6" fmla="*/ 2147483647 w 166"/>
              <a:gd name="T7" fmla="*/ 2147483647 h 208"/>
              <a:gd name="T8" fmla="*/ 2147483647 w 166"/>
              <a:gd name="T9" fmla="*/ 2147483647 h 208"/>
              <a:gd name="T10" fmla="*/ 2147483647 w 166"/>
              <a:gd name="T11" fmla="*/ 2147483647 h 208"/>
              <a:gd name="T12" fmla="*/ 2147483647 w 166"/>
              <a:gd name="T13" fmla="*/ 2147483647 h 208"/>
              <a:gd name="T14" fmla="*/ 2147483647 w 166"/>
              <a:gd name="T15" fmla="*/ 2147483647 h 208"/>
              <a:gd name="T16" fmla="*/ 2147483647 w 166"/>
              <a:gd name="T17" fmla="*/ 2147483647 h 208"/>
              <a:gd name="T18" fmla="*/ 2147483647 w 166"/>
              <a:gd name="T19" fmla="*/ 2147483647 h 208"/>
              <a:gd name="T20" fmla="*/ 2147483647 w 166"/>
              <a:gd name="T21" fmla="*/ 2147483647 h 208"/>
              <a:gd name="T22" fmla="*/ 2147483647 w 166"/>
              <a:gd name="T23" fmla="*/ 2147483647 h 208"/>
              <a:gd name="T24" fmla="*/ 2147483647 w 166"/>
              <a:gd name="T25" fmla="*/ 2147483647 h 208"/>
              <a:gd name="T26" fmla="*/ 2147483647 w 166"/>
              <a:gd name="T27" fmla="*/ 2147483647 h 208"/>
              <a:gd name="T28" fmla="*/ 2147483647 w 166"/>
              <a:gd name="T29" fmla="*/ 2147483647 h 208"/>
              <a:gd name="T30" fmla="*/ 2147483647 w 166"/>
              <a:gd name="T31" fmla="*/ 2147483647 h 208"/>
              <a:gd name="T32" fmla="*/ 2147483647 w 166"/>
              <a:gd name="T33" fmla="*/ 2147483647 h 208"/>
              <a:gd name="T34" fmla="*/ 2147483647 w 166"/>
              <a:gd name="T35" fmla="*/ 2147483647 h 208"/>
              <a:gd name="T36" fmla="*/ 2147483647 w 166"/>
              <a:gd name="T37" fmla="*/ 2147483647 h 208"/>
              <a:gd name="T38" fmla="*/ 2147483647 w 166"/>
              <a:gd name="T39" fmla="*/ 2147483647 h 208"/>
              <a:gd name="T40" fmla="*/ 2147483647 w 166"/>
              <a:gd name="T41" fmla="*/ 2147483647 h 208"/>
              <a:gd name="T42" fmla="*/ 2147483647 w 166"/>
              <a:gd name="T43" fmla="*/ 2147483647 h 208"/>
              <a:gd name="T44" fmla="*/ 2147483647 w 166"/>
              <a:gd name="T45" fmla="*/ 2147483647 h 208"/>
              <a:gd name="T46" fmla="*/ 2147483647 w 166"/>
              <a:gd name="T47" fmla="*/ 2147483647 h 208"/>
              <a:gd name="T48" fmla="*/ 2147483647 w 166"/>
              <a:gd name="T49" fmla="*/ 2147483647 h 208"/>
              <a:gd name="T50" fmla="*/ 2147483647 w 166"/>
              <a:gd name="T51" fmla="*/ 2147483647 h 208"/>
              <a:gd name="T52" fmla="*/ 2147483647 w 166"/>
              <a:gd name="T53" fmla="*/ 2147483647 h 208"/>
              <a:gd name="T54" fmla="*/ 2147483647 w 166"/>
              <a:gd name="T55" fmla="*/ 0 h 208"/>
              <a:gd name="T56" fmla="*/ 2147483647 w 166"/>
              <a:gd name="T57" fmla="*/ 2147483647 h 208"/>
              <a:gd name="T58" fmla="*/ 2147483647 w 166"/>
              <a:gd name="T59" fmla="*/ 2147483647 h 208"/>
              <a:gd name="T60" fmla="*/ 2147483647 w 166"/>
              <a:gd name="T61" fmla="*/ 2147483647 h 208"/>
              <a:gd name="T62" fmla="*/ 2147483647 w 166"/>
              <a:gd name="T63" fmla="*/ 2147483647 h 208"/>
              <a:gd name="T64" fmla="*/ 2147483647 w 166"/>
              <a:gd name="T65" fmla="*/ 2147483647 h 208"/>
              <a:gd name="T66" fmla="*/ 2147483647 w 166"/>
              <a:gd name="T67" fmla="*/ 2147483647 h 208"/>
              <a:gd name="T68" fmla="*/ 2147483647 w 166"/>
              <a:gd name="T69" fmla="*/ 2147483647 h 208"/>
              <a:gd name="T70" fmla="*/ 0 w 166"/>
              <a:gd name="T71" fmla="*/ 2147483647 h 208"/>
              <a:gd name="T72" fmla="*/ 0 w 166"/>
              <a:gd name="T73" fmla="*/ 2147483647 h 208"/>
              <a:gd name="T74" fmla="*/ 2147483647 w 166"/>
              <a:gd name="T75" fmla="*/ 2147483647 h 208"/>
              <a:gd name="T76" fmla="*/ 2147483647 w 166"/>
              <a:gd name="T77" fmla="*/ 2147483647 h 208"/>
              <a:gd name="T78" fmla="*/ 2147483647 w 166"/>
              <a:gd name="T79" fmla="*/ 2147483647 h 208"/>
              <a:gd name="T80" fmla="*/ 2147483647 w 166"/>
              <a:gd name="T81" fmla="*/ 2147483647 h 208"/>
              <a:gd name="T82" fmla="*/ 2147483647 w 166"/>
              <a:gd name="T83" fmla="*/ 2147483647 h 208"/>
              <a:gd name="T84" fmla="*/ 2147483647 w 166"/>
              <a:gd name="T85" fmla="*/ 2147483647 h 208"/>
              <a:gd name="T86" fmla="*/ 2147483647 w 166"/>
              <a:gd name="T87" fmla="*/ 2147483647 h 208"/>
              <a:gd name="T88" fmla="*/ 2147483647 w 166"/>
              <a:gd name="T89" fmla="*/ 2147483647 h 208"/>
              <a:gd name="T90" fmla="*/ 2147483647 w 166"/>
              <a:gd name="T91" fmla="*/ 2147483647 h 208"/>
              <a:gd name="T92" fmla="*/ 2147483647 w 166"/>
              <a:gd name="T93" fmla="*/ 2147483647 h 208"/>
              <a:gd name="T94" fmla="*/ 2147483647 w 166"/>
              <a:gd name="T95" fmla="*/ 2147483647 h 208"/>
              <a:gd name="T96" fmla="*/ 2147483647 w 166"/>
              <a:gd name="T97" fmla="*/ 2147483647 h 208"/>
              <a:gd name="T98" fmla="*/ 2147483647 w 166"/>
              <a:gd name="T99" fmla="*/ 2147483647 h 208"/>
              <a:gd name="T100" fmla="*/ 2147483647 w 166"/>
              <a:gd name="T101" fmla="*/ 2147483647 h 208"/>
              <a:gd name="T102" fmla="*/ 2147483647 w 166"/>
              <a:gd name="T103" fmla="*/ 2147483647 h 208"/>
              <a:gd name="T104" fmla="*/ 2147483647 w 166"/>
              <a:gd name="T105" fmla="*/ 2147483647 h 208"/>
              <a:gd name="T106" fmla="*/ 2147483647 w 166"/>
              <a:gd name="T107" fmla="*/ 2147483647 h 208"/>
              <a:gd name="T108" fmla="*/ 2147483647 w 166"/>
              <a:gd name="T109" fmla="*/ 2147483647 h 208"/>
              <a:gd name="T110" fmla="*/ 2147483647 w 166"/>
              <a:gd name="T111" fmla="*/ 2147483647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172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338253" y="4009653"/>
            <a:ext cx="69850" cy="58737"/>
          </a:xfrm>
          <a:custGeom>
            <a:avLst/>
            <a:gdLst>
              <a:gd name="T0" fmla="*/ 2147483647 w 164"/>
              <a:gd name="T1" fmla="*/ 2147483647 h 104"/>
              <a:gd name="T2" fmla="*/ 2147483647 w 164"/>
              <a:gd name="T3" fmla="*/ 2147483647 h 104"/>
              <a:gd name="T4" fmla="*/ 2147483647 w 164"/>
              <a:gd name="T5" fmla="*/ 2147483647 h 104"/>
              <a:gd name="T6" fmla="*/ 2147483647 w 164"/>
              <a:gd name="T7" fmla="*/ 2147483647 h 104"/>
              <a:gd name="T8" fmla="*/ 2147483647 w 164"/>
              <a:gd name="T9" fmla="*/ 2147483647 h 104"/>
              <a:gd name="T10" fmla="*/ 2147483647 w 164"/>
              <a:gd name="T11" fmla="*/ 2147483647 h 104"/>
              <a:gd name="T12" fmla="*/ 2147483647 w 164"/>
              <a:gd name="T13" fmla="*/ 2147483647 h 104"/>
              <a:gd name="T14" fmla="*/ 2147483647 w 164"/>
              <a:gd name="T15" fmla="*/ 2147483647 h 104"/>
              <a:gd name="T16" fmla="*/ 2147483647 w 164"/>
              <a:gd name="T17" fmla="*/ 2147483647 h 104"/>
              <a:gd name="T18" fmla="*/ 2147483647 w 164"/>
              <a:gd name="T19" fmla="*/ 2147483647 h 104"/>
              <a:gd name="T20" fmla="*/ 2147483647 w 164"/>
              <a:gd name="T21" fmla="*/ 2147483647 h 104"/>
              <a:gd name="T22" fmla="*/ 2147483647 w 164"/>
              <a:gd name="T23" fmla="*/ 2147483647 h 104"/>
              <a:gd name="T24" fmla="*/ 2147483647 w 164"/>
              <a:gd name="T25" fmla="*/ 2147483647 h 104"/>
              <a:gd name="T26" fmla="*/ 2147483647 w 164"/>
              <a:gd name="T27" fmla="*/ 2147483647 h 104"/>
              <a:gd name="T28" fmla="*/ 2147483647 w 164"/>
              <a:gd name="T29" fmla="*/ 2147483647 h 104"/>
              <a:gd name="T30" fmla="*/ 2147483647 w 164"/>
              <a:gd name="T31" fmla="*/ 2147483647 h 104"/>
              <a:gd name="T32" fmla="*/ 2147483647 w 164"/>
              <a:gd name="T33" fmla="*/ 2147483647 h 104"/>
              <a:gd name="T34" fmla="*/ 0 w 164"/>
              <a:gd name="T35" fmla="*/ 2147483647 h 104"/>
              <a:gd name="T36" fmla="*/ 0 w 164"/>
              <a:gd name="T37" fmla="*/ 2147483647 h 104"/>
              <a:gd name="T38" fmla="*/ 0 w 164"/>
              <a:gd name="T39" fmla="*/ 2147483647 h 104"/>
              <a:gd name="T40" fmla="*/ 2147483647 w 164"/>
              <a:gd name="T41" fmla="*/ 2147483647 h 104"/>
              <a:gd name="T42" fmla="*/ 2147483647 w 164"/>
              <a:gd name="T43" fmla="*/ 2147483647 h 104"/>
              <a:gd name="T44" fmla="*/ 2147483647 w 164"/>
              <a:gd name="T45" fmla="*/ 2147483647 h 104"/>
              <a:gd name="T46" fmla="*/ 2147483647 w 164"/>
              <a:gd name="T47" fmla="*/ 2147483647 h 104"/>
              <a:gd name="T48" fmla="*/ 2147483647 w 164"/>
              <a:gd name="T49" fmla="*/ 2147483647 h 104"/>
              <a:gd name="T50" fmla="*/ 2147483647 w 164"/>
              <a:gd name="T51" fmla="*/ 2147483647 h 104"/>
              <a:gd name="T52" fmla="*/ 2147483647 w 164"/>
              <a:gd name="T53" fmla="*/ 2147483647 h 104"/>
              <a:gd name="T54" fmla="*/ 2147483647 w 164"/>
              <a:gd name="T55" fmla="*/ 2147483647 h 104"/>
              <a:gd name="T56" fmla="*/ 2147483647 w 164"/>
              <a:gd name="T57" fmla="*/ 2147483647 h 104"/>
              <a:gd name="T58" fmla="*/ 2147483647 w 164"/>
              <a:gd name="T59" fmla="*/ 2147483647 h 104"/>
              <a:gd name="T60" fmla="*/ 2147483647 w 164"/>
              <a:gd name="T61" fmla="*/ 2147483647 h 104"/>
              <a:gd name="T62" fmla="*/ 2147483647 w 164"/>
              <a:gd name="T63" fmla="*/ 2147483647 h 104"/>
              <a:gd name="T64" fmla="*/ 2147483647 w 164"/>
              <a:gd name="T65" fmla="*/ 2147483647 h 104"/>
              <a:gd name="T66" fmla="*/ 2147483647 w 164"/>
              <a:gd name="T67" fmla="*/ 2147483647 h 104"/>
              <a:gd name="T68" fmla="*/ 2147483647 w 164"/>
              <a:gd name="T69" fmla="*/ 2147483647 h 104"/>
              <a:gd name="T70" fmla="*/ 2147483647 w 164"/>
              <a:gd name="T71" fmla="*/ 2147483647 h 104"/>
              <a:gd name="T72" fmla="*/ 2147483647 w 164"/>
              <a:gd name="T73" fmla="*/ 2147483647 h 104"/>
              <a:gd name="T74" fmla="*/ 2147483647 w 164"/>
              <a:gd name="T75" fmla="*/ 2147483647 h 104"/>
              <a:gd name="T76" fmla="*/ 2147483647 w 164"/>
              <a:gd name="T77" fmla="*/ 2147483647 h 104"/>
              <a:gd name="T78" fmla="*/ 2147483647 w 164"/>
              <a:gd name="T79" fmla="*/ 2147483647 h 104"/>
              <a:gd name="T80" fmla="*/ 2147483647 w 164"/>
              <a:gd name="T81" fmla="*/ 0 h 104"/>
              <a:gd name="T82" fmla="*/ 2147483647 w 164"/>
              <a:gd name="T83" fmla="*/ 0 h 104"/>
              <a:gd name="T84" fmla="*/ 2147483647 w 164"/>
              <a:gd name="T85" fmla="*/ 2147483647 h 104"/>
              <a:gd name="T86" fmla="*/ 2147483647 w 164"/>
              <a:gd name="T87" fmla="*/ 2147483647 h 104"/>
              <a:gd name="T88" fmla="*/ 2147483647 w 164"/>
              <a:gd name="T89" fmla="*/ 2147483647 h 104"/>
              <a:gd name="T90" fmla="*/ 2147483647 w 164"/>
              <a:gd name="T91" fmla="*/ 2147483647 h 104"/>
              <a:gd name="T92" fmla="*/ 2147483647 w 164"/>
              <a:gd name="T93" fmla="*/ 2147483647 h 104"/>
              <a:gd name="T94" fmla="*/ 2147483647 w 164"/>
              <a:gd name="T95" fmla="*/ 2147483647 h 104"/>
              <a:gd name="T96" fmla="*/ 2147483647 w 164"/>
              <a:gd name="T97" fmla="*/ 2147483647 h 104"/>
              <a:gd name="T98" fmla="*/ 2147483647 w 164"/>
              <a:gd name="T99" fmla="*/ 2147483647 h 104"/>
              <a:gd name="T100" fmla="*/ 2147483647 w 164"/>
              <a:gd name="T101" fmla="*/ 2147483647 h 104"/>
              <a:gd name="T102" fmla="*/ 2147483647 w 164"/>
              <a:gd name="T103" fmla="*/ 2147483647 h 104"/>
              <a:gd name="T104" fmla="*/ 2147483647 w 164"/>
              <a:gd name="T105" fmla="*/ 2147483647 h 104"/>
              <a:gd name="T106" fmla="*/ 2147483647 w 164"/>
              <a:gd name="T107" fmla="*/ 2147483647 h 104"/>
              <a:gd name="T108" fmla="*/ 2147483647 w 164"/>
              <a:gd name="T109" fmla="*/ 214748364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3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704965" y="6363915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4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670040" y="6343278"/>
            <a:ext cx="34925" cy="58737"/>
          </a:xfrm>
          <a:custGeom>
            <a:avLst/>
            <a:gdLst>
              <a:gd name="T0" fmla="*/ 0 w 80"/>
              <a:gd name="T1" fmla="*/ 0 h 18"/>
              <a:gd name="T2" fmla="*/ 2147483647 w 80"/>
              <a:gd name="T3" fmla="*/ 2147483647 h 18"/>
              <a:gd name="T4" fmla="*/ 2147483647 w 80"/>
              <a:gd name="T5" fmla="*/ 2147483647 h 18"/>
              <a:gd name="T6" fmla="*/ 2147483647 w 80"/>
              <a:gd name="T7" fmla="*/ 2147483647 h 18"/>
              <a:gd name="T8" fmla="*/ 2147483647 w 80"/>
              <a:gd name="T9" fmla="*/ 2147483647 h 18"/>
              <a:gd name="T10" fmla="*/ 2147483647 w 80"/>
              <a:gd name="T11" fmla="*/ 2147483647 h 18"/>
              <a:gd name="T12" fmla="*/ 2147483647 w 80"/>
              <a:gd name="T13" fmla="*/ 2147483647 h 18"/>
              <a:gd name="T14" fmla="*/ 2147483647 w 80"/>
              <a:gd name="T15" fmla="*/ 2147483647 h 18"/>
              <a:gd name="T16" fmla="*/ 2147483647 w 80"/>
              <a:gd name="T17" fmla="*/ 2147483647 h 18"/>
              <a:gd name="T18" fmla="*/ 2147483647 w 80"/>
              <a:gd name="T19" fmla="*/ 2147483647 h 18"/>
              <a:gd name="T20" fmla="*/ 2147483647 w 80"/>
              <a:gd name="T21" fmla="*/ 2147483647 h 18"/>
              <a:gd name="T22" fmla="*/ 2147483647 w 80"/>
              <a:gd name="T23" fmla="*/ 2147483647 h 18"/>
              <a:gd name="T24" fmla="*/ 2147483647 w 80"/>
              <a:gd name="T25" fmla="*/ 2147483647 h 18"/>
              <a:gd name="T26" fmla="*/ 2147483647 w 80"/>
              <a:gd name="T27" fmla="*/ 2147483647 h 18"/>
              <a:gd name="T28" fmla="*/ 2147483647 w 80"/>
              <a:gd name="T29" fmla="*/ 2147483647 h 18"/>
              <a:gd name="T30" fmla="*/ 2147483647 w 80"/>
              <a:gd name="T31" fmla="*/ 2147483647 h 18"/>
              <a:gd name="T32" fmla="*/ 2147483647 w 80"/>
              <a:gd name="T33" fmla="*/ 2147483647 h 18"/>
              <a:gd name="T34" fmla="*/ 2147483647 w 80"/>
              <a:gd name="T35" fmla="*/ 2147483647 h 18"/>
              <a:gd name="T36" fmla="*/ 2147483647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5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670040" y="6322640"/>
            <a:ext cx="22225" cy="60325"/>
          </a:xfrm>
          <a:custGeom>
            <a:avLst/>
            <a:gdLst>
              <a:gd name="T0" fmla="*/ 2147483647 w 46"/>
              <a:gd name="T1" fmla="*/ 0 h 27"/>
              <a:gd name="T2" fmla="*/ 0 w 46"/>
              <a:gd name="T3" fmla="*/ 2147483647 h 27"/>
              <a:gd name="T4" fmla="*/ 2147483647 w 46"/>
              <a:gd name="T5" fmla="*/ 2147483647 h 27"/>
              <a:gd name="T6" fmla="*/ 2147483647 w 46"/>
              <a:gd name="T7" fmla="*/ 2147483647 h 27"/>
              <a:gd name="T8" fmla="*/ 2147483647 w 46"/>
              <a:gd name="T9" fmla="*/ 2147483647 h 27"/>
              <a:gd name="T10" fmla="*/ 2147483647 w 46"/>
              <a:gd name="T11" fmla="*/ 2147483647 h 27"/>
              <a:gd name="T12" fmla="*/ 2147483647 w 46"/>
              <a:gd name="T13" fmla="*/ 2147483647 h 27"/>
              <a:gd name="T14" fmla="*/ 2147483647 w 46"/>
              <a:gd name="T15" fmla="*/ 2147483647 h 27"/>
              <a:gd name="T16" fmla="*/ 2147483647 w 46"/>
              <a:gd name="T17" fmla="*/ 2147483647 h 27"/>
              <a:gd name="T18" fmla="*/ 2147483647 w 46"/>
              <a:gd name="T19" fmla="*/ 2147483647 h 27"/>
              <a:gd name="T20" fmla="*/ 2147483647 w 46"/>
              <a:gd name="T21" fmla="*/ 2147483647 h 27"/>
              <a:gd name="T22" fmla="*/ 2147483647 w 46"/>
              <a:gd name="T23" fmla="*/ 2147483647 h 27"/>
              <a:gd name="T24" fmla="*/ 2147483647 w 46"/>
              <a:gd name="T25" fmla="*/ 2147483647 h 27"/>
              <a:gd name="T26" fmla="*/ 2147483647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6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639878" y="6316290"/>
            <a:ext cx="25400" cy="60325"/>
          </a:xfrm>
          <a:custGeom>
            <a:avLst/>
            <a:gdLst>
              <a:gd name="T0" fmla="*/ 2147483647 w 54"/>
              <a:gd name="T1" fmla="*/ 0 h 39"/>
              <a:gd name="T2" fmla="*/ 2147483647 w 54"/>
              <a:gd name="T3" fmla="*/ 2147483647 h 39"/>
              <a:gd name="T4" fmla="*/ 2147483647 w 54"/>
              <a:gd name="T5" fmla="*/ 2147483647 h 39"/>
              <a:gd name="T6" fmla="*/ 2147483647 w 54"/>
              <a:gd name="T7" fmla="*/ 2147483647 h 39"/>
              <a:gd name="T8" fmla="*/ 2147483647 w 54"/>
              <a:gd name="T9" fmla="*/ 2147483647 h 39"/>
              <a:gd name="T10" fmla="*/ 2147483647 w 54"/>
              <a:gd name="T11" fmla="*/ 2147483647 h 39"/>
              <a:gd name="T12" fmla="*/ 0 w 54"/>
              <a:gd name="T13" fmla="*/ 2147483647 h 39"/>
              <a:gd name="T14" fmla="*/ 2147483647 w 54"/>
              <a:gd name="T15" fmla="*/ 2147483647 h 39"/>
              <a:gd name="T16" fmla="*/ 2147483647 w 54"/>
              <a:gd name="T17" fmla="*/ 2147483647 h 39"/>
              <a:gd name="T18" fmla="*/ 2147483647 w 54"/>
              <a:gd name="T19" fmla="*/ 2147483647 h 39"/>
              <a:gd name="T20" fmla="*/ 2147483647 w 54"/>
              <a:gd name="T21" fmla="*/ 2147483647 h 39"/>
              <a:gd name="T22" fmla="*/ 2147483647 w 54"/>
              <a:gd name="T23" fmla="*/ 2147483647 h 39"/>
              <a:gd name="T24" fmla="*/ 2147483647 w 54"/>
              <a:gd name="T25" fmla="*/ 2147483647 h 39"/>
              <a:gd name="T26" fmla="*/ 2147483647 w 54"/>
              <a:gd name="T27" fmla="*/ 2147483647 h 39"/>
              <a:gd name="T28" fmla="*/ 2147483647 w 54"/>
              <a:gd name="T29" fmla="*/ 2147483647 h 39"/>
              <a:gd name="T30" fmla="*/ 2147483647 w 54"/>
              <a:gd name="T31" fmla="*/ 2147483647 h 39"/>
              <a:gd name="T32" fmla="*/ 2147483647 w 54"/>
              <a:gd name="T33" fmla="*/ 2147483647 h 39"/>
              <a:gd name="T34" fmla="*/ 2147483647 w 54"/>
              <a:gd name="T35" fmla="*/ 2147483647 h 39"/>
              <a:gd name="T36" fmla="*/ 2147483647 w 54"/>
              <a:gd name="T37" fmla="*/ 2147483647 h 39"/>
              <a:gd name="T38" fmla="*/ 2147483647 w 54"/>
              <a:gd name="T39" fmla="*/ 2147483647 h 39"/>
              <a:gd name="T40" fmla="*/ 2147483647 w 54"/>
              <a:gd name="T41" fmla="*/ 2147483647 h 39"/>
              <a:gd name="T42" fmla="*/ 2147483647 w 54"/>
              <a:gd name="T43" fmla="*/ 2147483647 h 39"/>
              <a:gd name="T44" fmla="*/ 2147483647 w 54"/>
              <a:gd name="T45" fmla="*/ 2147483647 h 39"/>
              <a:gd name="T46" fmla="*/ 2147483647 w 54"/>
              <a:gd name="T47" fmla="*/ 2147483647 h 39"/>
              <a:gd name="T48" fmla="*/ 2147483647 w 54"/>
              <a:gd name="T49" fmla="*/ 2147483647 h 39"/>
              <a:gd name="T50" fmla="*/ 2147483647 w 54"/>
              <a:gd name="T51" fmla="*/ 2147483647 h 39"/>
              <a:gd name="T52" fmla="*/ 2147483647 w 54"/>
              <a:gd name="T53" fmla="*/ 2147483647 h 39"/>
              <a:gd name="T54" fmla="*/ 2147483647 w 54"/>
              <a:gd name="T55" fmla="*/ 2147483647 h 39"/>
              <a:gd name="T56" fmla="*/ 2147483647 w 54"/>
              <a:gd name="T57" fmla="*/ 2147483647 h 39"/>
              <a:gd name="T58" fmla="*/ 2147483647 w 54"/>
              <a:gd name="T59" fmla="*/ 2147483647 h 39"/>
              <a:gd name="T60" fmla="*/ 2147483647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7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614478" y="6306765"/>
            <a:ext cx="28575" cy="58738"/>
          </a:xfrm>
          <a:custGeom>
            <a:avLst/>
            <a:gdLst>
              <a:gd name="T0" fmla="*/ 0 w 60"/>
              <a:gd name="T1" fmla="*/ 2147483647 h 15"/>
              <a:gd name="T2" fmla="*/ 2147483647 w 60"/>
              <a:gd name="T3" fmla="*/ 2147483647 h 15"/>
              <a:gd name="T4" fmla="*/ 2147483647 w 60"/>
              <a:gd name="T5" fmla="*/ 2147483647 h 15"/>
              <a:gd name="T6" fmla="*/ 2147483647 w 60"/>
              <a:gd name="T7" fmla="*/ 2147483647 h 15"/>
              <a:gd name="T8" fmla="*/ 2147483647 w 60"/>
              <a:gd name="T9" fmla="*/ 2147483647 h 15"/>
              <a:gd name="T10" fmla="*/ 2147483647 w 60"/>
              <a:gd name="T11" fmla="*/ 2147483647 h 15"/>
              <a:gd name="T12" fmla="*/ 2147483647 w 60"/>
              <a:gd name="T13" fmla="*/ 2147483647 h 15"/>
              <a:gd name="T14" fmla="*/ 2147483647 w 60"/>
              <a:gd name="T15" fmla="*/ 2147483647 h 15"/>
              <a:gd name="T16" fmla="*/ 2147483647 w 60"/>
              <a:gd name="T17" fmla="*/ 2147483647 h 15"/>
              <a:gd name="T18" fmla="*/ 2147483647 w 60"/>
              <a:gd name="T19" fmla="*/ 2147483647 h 15"/>
              <a:gd name="T20" fmla="*/ 2147483647 w 60"/>
              <a:gd name="T21" fmla="*/ 0 h 15"/>
              <a:gd name="T22" fmla="*/ 2147483647 w 60"/>
              <a:gd name="T23" fmla="*/ 0 h 15"/>
              <a:gd name="T24" fmla="*/ 2147483647 w 60"/>
              <a:gd name="T25" fmla="*/ 0 h 15"/>
              <a:gd name="T26" fmla="*/ 2147483647 w 60"/>
              <a:gd name="T27" fmla="*/ 0 h 15"/>
              <a:gd name="T28" fmla="*/ 2147483647 w 60"/>
              <a:gd name="T29" fmla="*/ 2147483647 h 15"/>
              <a:gd name="T30" fmla="*/ 2147483647 w 60"/>
              <a:gd name="T31" fmla="*/ 2147483647 h 15"/>
              <a:gd name="T32" fmla="*/ 2147483647 w 60"/>
              <a:gd name="T33" fmla="*/ 2147483647 h 15"/>
              <a:gd name="T34" fmla="*/ 2147483647 w 60"/>
              <a:gd name="T35" fmla="*/ 2147483647 h 15"/>
              <a:gd name="T36" fmla="*/ 0 w 60"/>
              <a:gd name="T37" fmla="*/ 2147483647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8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590665" y="6294065"/>
            <a:ext cx="33338" cy="57150"/>
          </a:xfrm>
          <a:custGeom>
            <a:avLst/>
            <a:gdLst>
              <a:gd name="T0" fmla="*/ 2147483647 w 79"/>
              <a:gd name="T1" fmla="*/ 0 h 32"/>
              <a:gd name="T2" fmla="*/ 2147483647 w 79"/>
              <a:gd name="T3" fmla="*/ 2147483647 h 32"/>
              <a:gd name="T4" fmla="*/ 2147483647 w 79"/>
              <a:gd name="T5" fmla="*/ 2147483647 h 32"/>
              <a:gd name="T6" fmla="*/ 2147483647 w 79"/>
              <a:gd name="T7" fmla="*/ 2147483647 h 32"/>
              <a:gd name="T8" fmla="*/ 2147483647 w 79"/>
              <a:gd name="T9" fmla="*/ 2147483647 h 32"/>
              <a:gd name="T10" fmla="*/ 2147483647 w 79"/>
              <a:gd name="T11" fmla="*/ 2147483647 h 32"/>
              <a:gd name="T12" fmla="*/ 2147483647 w 79"/>
              <a:gd name="T13" fmla="*/ 2147483647 h 32"/>
              <a:gd name="T14" fmla="*/ 2147483647 w 79"/>
              <a:gd name="T15" fmla="*/ 2147483647 h 32"/>
              <a:gd name="T16" fmla="*/ 0 w 79"/>
              <a:gd name="T17" fmla="*/ 2147483647 h 32"/>
              <a:gd name="T18" fmla="*/ 2147483647 w 79"/>
              <a:gd name="T19" fmla="*/ 2147483647 h 32"/>
              <a:gd name="T20" fmla="*/ 2147483647 w 79"/>
              <a:gd name="T21" fmla="*/ 2147483647 h 32"/>
              <a:gd name="T22" fmla="*/ 2147483647 w 79"/>
              <a:gd name="T23" fmla="*/ 2147483647 h 32"/>
              <a:gd name="T24" fmla="*/ 2147483647 w 79"/>
              <a:gd name="T25" fmla="*/ 2147483647 h 32"/>
              <a:gd name="T26" fmla="*/ 2147483647 w 79"/>
              <a:gd name="T27" fmla="*/ 2147483647 h 32"/>
              <a:gd name="T28" fmla="*/ 2147483647 w 79"/>
              <a:gd name="T29" fmla="*/ 2147483647 h 32"/>
              <a:gd name="T30" fmla="*/ 2147483647 w 79"/>
              <a:gd name="T31" fmla="*/ 2147483647 h 32"/>
              <a:gd name="T32" fmla="*/ 2147483647 w 79"/>
              <a:gd name="T33" fmla="*/ 2147483647 h 32"/>
              <a:gd name="T34" fmla="*/ 2147483647 w 79"/>
              <a:gd name="T35" fmla="*/ 2147483647 h 32"/>
              <a:gd name="T36" fmla="*/ 2147483647 w 79"/>
              <a:gd name="T37" fmla="*/ 2147483647 h 32"/>
              <a:gd name="T38" fmla="*/ 2147483647 w 79"/>
              <a:gd name="T39" fmla="*/ 2147483647 h 32"/>
              <a:gd name="T40" fmla="*/ 2147483647 w 79"/>
              <a:gd name="T41" fmla="*/ 2147483647 h 32"/>
              <a:gd name="T42" fmla="*/ 2147483647 w 79"/>
              <a:gd name="T43" fmla="*/ 2147483647 h 32"/>
              <a:gd name="T44" fmla="*/ 2147483647 w 79"/>
              <a:gd name="T45" fmla="*/ 2147483647 h 32"/>
              <a:gd name="T46" fmla="*/ 2147483647 w 79"/>
              <a:gd name="T47" fmla="*/ 2147483647 h 32"/>
              <a:gd name="T48" fmla="*/ 2147483647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9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584315" y="6275015"/>
            <a:ext cx="30163" cy="57150"/>
          </a:xfrm>
          <a:custGeom>
            <a:avLst/>
            <a:gdLst>
              <a:gd name="T0" fmla="*/ 2147483647 w 66"/>
              <a:gd name="T1" fmla="*/ 0 h 19"/>
              <a:gd name="T2" fmla="*/ 2147483647 w 66"/>
              <a:gd name="T3" fmla="*/ 2147483647 h 19"/>
              <a:gd name="T4" fmla="*/ 2147483647 w 66"/>
              <a:gd name="T5" fmla="*/ 2147483647 h 19"/>
              <a:gd name="T6" fmla="*/ 2147483647 w 66"/>
              <a:gd name="T7" fmla="*/ 2147483647 h 19"/>
              <a:gd name="T8" fmla="*/ 2147483647 w 66"/>
              <a:gd name="T9" fmla="*/ 2147483647 h 19"/>
              <a:gd name="T10" fmla="*/ 2147483647 w 66"/>
              <a:gd name="T11" fmla="*/ 2147483647 h 19"/>
              <a:gd name="T12" fmla="*/ 2147483647 w 66"/>
              <a:gd name="T13" fmla="*/ 2147483647 h 19"/>
              <a:gd name="T14" fmla="*/ 0 w 66"/>
              <a:gd name="T15" fmla="*/ 2147483647 h 19"/>
              <a:gd name="T16" fmla="*/ 0 w 66"/>
              <a:gd name="T17" fmla="*/ 2147483647 h 19"/>
              <a:gd name="T18" fmla="*/ 2147483647 w 66"/>
              <a:gd name="T19" fmla="*/ 2147483647 h 19"/>
              <a:gd name="T20" fmla="*/ 2147483647 w 66"/>
              <a:gd name="T21" fmla="*/ 2147483647 h 19"/>
              <a:gd name="T22" fmla="*/ 2147483647 w 66"/>
              <a:gd name="T23" fmla="*/ 2147483647 h 19"/>
              <a:gd name="T24" fmla="*/ 2147483647 w 66"/>
              <a:gd name="T25" fmla="*/ 2147483647 h 19"/>
              <a:gd name="T26" fmla="*/ 2147483647 w 66"/>
              <a:gd name="T27" fmla="*/ 2147483647 h 19"/>
              <a:gd name="T28" fmla="*/ 2147483647 w 66"/>
              <a:gd name="T29" fmla="*/ 2147483647 h 19"/>
              <a:gd name="T30" fmla="*/ 2147483647 w 66"/>
              <a:gd name="T31" fmla="*/ 2147483647 h 19"/>
              <a:gd name="T32" fmla="*/ 2147483647 w 66"/>
              <a:gd name="T33" fmla="*/ 2147483647 h 19"/>
              <a:gd name="T34" fmla="*/ 2147483647 w 66"/>
              <a:gd name="T35" fmla="*/ 2147483647 h 19"/>
              <a:gd name="T36" fmla="*/ 2147483647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0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484303" y="5965453"/>
            <a:ext cx="25400" cy="60325"/>
          </a:xfrm>
          <a:custGeom>
            <a:avLst/>
            <a:gdLst>
              <a:gd name="T0" fmla="*/ 2147483647 w 53"/>
              <a:gd name="T1" fmla="*/ 0 h 80"/>
              <a:gd name="T2" fmla="*/ 2147483647 w 53"/>
              <a:gd name="T3" fmla="*/ 2147483647 h 80"/>
              <a:gd name="T4" fmla="*/ 2147483647 w 53"/>
              <a:gd name="T5" fmla="*/ 2147483647 h 80"/>
              <a:gd name="T6" fmla="*/ 2147483647 w 53"/>
              <a:gd name="T7" fmla="*/ 2147483647 h 80"/>
              <a:gd name="T8" fmla="*/ 2147483647 w 53"/>
              <a:gd name="T9" fmla="*/ 2147483647 h 80"/>
              <a:gd name="T10" fmla="*/ 0 w 53"/>
              <a:gd name="T11" fmla="*/ 2147483647 h 80"/>
              <a:gd name="T12" fmla="*/ 0 w 53"/>
              <a:gd name="T13" fmla="*/ 2147483647 h 80"/>
              <a:gd name="T14" fmla="*/ 0 w 53"/>
              <a:gd name="T15" fmla="*/ 2147483647 h 80"/>
              <a:gd name="T16" fmla="*/ 2147483647 w 53"/>
              <a:gd name="T17" fmla="*/ 2147483647 h 80"/>
              <a:gd name="T18" fmla="*/ 2147483647 w 53"/>
              <a:gd name="T19" fmla="*/ 2147483647 h 80"/>
              <a:gd name="T20" fmla="*/ 2147483647 w 53"/>
              <a:gd name="T21" fmla="*/ 2147483647 h 80"/>
              <a:gd name="T22" fmla="*/ 2147483647 w 53"/>
              <a:gd name="T23" fmla="*/ 2147483647 h 80"/>
              <a:gd name="T24" fmla="*/ 2147483647 w 53"/>
              <a:gd name="T25" fmla="*/ 2147483647 h 80"/>
              <a:gd name="T26" fmla="*/ 2147483647 w 53"/>
              <a:gd name="T27" fmla="*/ 2147483647 h 80"/>
              <a:gd name="T28" fmla="*/ 2147483647 w 53"/>
              <a:gd name="T29" fmla="*/ 2147483647 h 80"/>
              <a:gd name="T30" fmla="*/ 2147483647 w 53"/>
              <a:gd name="T31" fmla="*/ 2147483647 h 80"/>
              <a:gd name="T32" fmla="*/ 2147483647 w 53"/>
              <a:gd name="T33" fmla="*/ 2147483647 h 80"/>
              <a:gd name="T34" fmla="*/ 2147483647 w 53"/>
              <a:gd name="T35" fmla="*/ 2147483647 h 80"/>
              <a:gd name="T36" fmla="*/ 2147483647 w 53"/>
              <a:gd name="T37" fmla="*/ 2147483647 h 80"/>
              <a:gd name="T38" fmla="*/ 2147483647 w 53"/>
              <a:gd name="T39" fmla="*/ 2147483647 h 80"/>
              <a:gd name="T40" fmla="*/ 2147483647 w 53"/>
              <a:gd name="T41" fmla="*/ 2147483647 h 80"/>
              <a:gd name="T42" fmla="*/ 2147483647 w 53"/>
              <a:gd name="T43" fmla="*/ 2147483647 h 80"/>
              <a:gd name="T44" fmla="*/ 2147483647 w 53"/>
              <a:gd name="T45" fmla="*/ 2147483647 h 80"/>
              <a:gd name="T46" fmla="*/ 2147483647 w 53"/>
              <a:gd name="T47" fmla="*/ 2147483647 h 80"/>
              <a:gd name="T48" fmla="*/ 2147483647 w 53"/>
              <a:gd name="T49" fmla="*/ 2147483647 h 80"/>
              <a:gd name="T50" fmla="*/ 2147483647 w 53"/>
              <a:gd name="T51" fmla="*/ 2147483647 h 80"/>
              <a:gd name="T52" fmla="*/ 2147483647 w 53"/>
              <a:gd name="T53" fmla="*/ 2147483647 h 80"/>
              <a:gd name="T54" fmla="*/ 2147483647 w 53"/>
              <a:gd name="T55" fmla="*/ 2147483647 h 80"/>
              <a:gd name="T56" fmla="*/ 2147483647 w 53"/>
              <a:gd name="T57" fmla="*/ 2147483647 h 80"/>
              <a:gd name="T58" fmla="*/ 2147483647 w 53"/>
              <a:gd name="T59" fmla="*/ 2147483647 h 80"/>
              <a:gd name="T60" fmla="*/ 2147483647 w 53"/>
              <a:gd name="T61" fmla="*/ 2147483647 h 80"/>
              <a:gd name="T62" fmla="*/ 2147483647 w 53"/>
              <a:gd name="T63" fmla="*/ 2147483647 h 80"/>
              <a:gd name="T64" fmla="*/ 2147483647 w 53"/>
              <a:gd name="T65" fmla="*/ 2147483647 h 80"/>
              <a:gd name="T66" fmla="*/ 2147483647 w 53"/>
              <a:gd name="T67" fmla="*/ 2147483647 h 80"/>
              <a:gd name="T68" fmla="*/ 2147483647 w 53"/>
              <a:gd name="T69" fmla="*/ 2147483647 h 80"/>
              <a:gd name="T70" fmla="*/ 2147483647 w 53"/>
              <a:gd name="T71" fmla="*/ 2147483647 h 80"/>
              <a:gd name="T72" fmla="*/ 2147483647 w 53"/>
              <a:gd name="T73" fmla="*/ 2147483647 h 80"/>
              <a:gd name="T74" fmla="*/ 2147483647 w 53"/>
              <a:gd name="T75" fmla="*/ 2147483647 h 80"/>
              <a:gd name="T76" fmla="*/ 2147483647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1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514465" y="6060703"/>
            <a:ext cx="17463" cy="53975"/>
          </a:xfrm>
          <a:custGeom>
            <a:avLst/>
            <a:gdLst>
              <a:gd name="T0" fmla="*/ 0 w 41"/>
              <a:gd name="T1" fmla="*/ 2147483647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0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2147483647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2147483647 h 43"/>
              <a:gd name="T24" fmla="*/ 0 w 41"/>
              <a:gd name="T25" fmla="*/ 2147483647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2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519228" y="6082928"/>
            <a:ext cx="7937" cy="58737"/>
          </a:xfrm>
          <a:custGeom>
            <a:avLst/>
            <a:gdLst>
              <a:gd name="T0" fmla="*/ 2147483647 w 20"/>
              <a:gd name="T1" fmla="*/ 0 h 24"/>
              <a:gd name="T2" fmla="*/ 0 w 20"/>
              <a:gd name="T3" fmla="*/ 0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2147483647 h 24"/>
              <a:gd name="T18" fmla="*/ 2147483647 w 20"/>
              <a:gd name="T19" fmla="*/ 2147483647 h 24"/>
              <a:gd name="T20" fmla="*/ 214748364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3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533515" y="6144840"/>
            <a:ext cx="17463" cy="60325"/>
          </a:xfrm>
          <a:custGeom>
            <a:avLst/>
            <a:gdLst>
              <a:gd name="T0" fmla="*/ 0 w 39"/>
              <a:gd name="T1" fmla="*/ 2147483647 h 43"/>
              <a:gd name="T2" fmla="*/ 2147483647 w 39"/>
              <a:gd name="T3" fmla="*/ 2147483647 h 43"/>
              <a:gd name="T4" fmla="*/ 2147483647 w 39"/>
              <a:gd name="T5" fmla="*/ 2147483647 h 43"/>
              <a:gd name="T6" fmla="*/ 2147483647 w 39"/>
              <a:gd name="T7" fmla="*/ 2147483647 h 43"/>
              <a:gd name="T8" fmla="*/ 2147483647 w 39"/>
              <a:gd name="T9" fmla="*/ 2147483647 h 43"/>
              <a:gd name="T10" fmla="*/ 2147483647 w 39"/>
              <a:gd name="T11" fmla="*/ 2147483647 h 43"/>
              <a:gd name="T12" fmla="*/ 2147483647 w 39"/>
              <a:gd name="T13" fmla="*/ 2147483647 h 43"/>
              <a:gd name="T14" fmla="*/ 2147483647 w 39"/>
              <a:gd name="T15" fmla="*/ 2147483647 h 43"/>
              <a:gd name="T16" fmla="*/ 2147483647 w 39"/>
              <a:gd name="T17" fmla="*/ 2147483647 h 43"/>
              <a:gd name="T18" fmla="*/ 2147483647 w 39"/>
              <a:gd name="T19" fmla="*/ 2147483647 h 43"/>
              <a:gd name="T20" fmla="*/ 2147483647 w 39"/>
              <a:gd name="T21" fmla="*/ 2147483647 h 43"/>
              <a:gd name="T22" fmla="*/ 2147483647 w 39"/>
              <a:gd name="T23" fmla="*/ 2147483647 h 43"/>
              <a:gd name="T24" fmla="*/ 2147483647 w 39"/>
              <a:gd name="T25" fmla="*/ 0 h 43"/>
              <a:gd name="T26" fmla="*/ 2147483647 w 39"/>
              <a:gd name="T27" fmla="*/ 2147483647 h 43"/>
              <a:gd name="T28" fmla="*/ 2147483647 w 39"/>
              <a:gd name="T29" fmla="*/ 2147483647 h 43"/>
              <a:gd name="T30" fmla="*/ 0 w 39"/>
              <a:gd name="T31" fmla="*/ 2147483647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4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520815" y="6157540"/>
            <a:ext cx="26988" cy="58738"/>
          </a:xfrm>
          <a:custGeom>
            <a:avLst/>
            <a:gdLst>
              <a:gd name="T0" fmla="*/ 2147483647 w 55"/>
              <a:gd name="T1" fmla="*/ 2147483647 h 62"/>
              <a:gd name="T2" fmla="*/ 2147483647 w 55"/>
              <a:gd name="T3" fmla="*/ 0 h 62"/>
              <a:gd name="T4" fmla="*/ 2147483647 w 55"/>
              <a:gd name="T5" fmla="*/ 2147483647 h 62"/>
              <a:gd name="T6" fmla="*/ 2147483647 w 55"/>
              <a:gd name="T7" fmla="*/ 2147483647 h 62"/>
              <a:gd name="T8" fmla="*/ 0 w 55"/>
              <a:gd name="T9" fmla="*/ 2147483647 h 62"/>
              <a:gd name="T10" fmla="*/ 0 w 55"/>
              <a:gd name="T11" fmla="*/ 2147483647 h 62"/>
              <a:gd name="T12" fmla="*/ 2147483647 w 55"/>
              <a:gd name="T13" fmla="*/ 2147483647 h 62"/>
              <a:gd name="T14" fmla="*/ 2147483647 w 55"/>
              <a:gd name="T15" fmla="*/ 2147483647 h 62"/>
              <a:gd name="T16" fmla="*/ 2147483647 w 55"/>
              <a:gd name="T17" fmla="*/ 2147483647 h 62"/>
              <a:gd name="T18" fmla="*/ 2147483647 w 55"/>
              <a:gd name="T19" fmla="*/ 2147483647 h 62"/>
              <a:gd name="T20" fmla="*/ 2147483647 w 55"/>
              <a:gd name="T21" fmla="*/ 2147483647 h 62"/>
              <a:gd name="T22" fmla="*/ 2147483647 w 55"/>
              <a:gd name="T23" fmla="*/ 2147483647 h 62"/>
              <a:gd name="T24" fmla="*/ 2147483647 w 55"/>
              <a:gd name="T25" fmla="*/ 2147483647 h 62"/>
              <a:gd name="T26" fmla="*/ 2147483647 w 55"/>
              <a:gd name="T27" fmla="*/ 2147483647 h 62"/>
              <a:gd name="T28" fmla="*/ 2147483647 w 55"/>
              <a:gd name="T29" fmla="*/ 2147483647 h 62"/>
              <a:gd name="T30" fmla="*/ 2147483647 w 55"/>
              <a:gd name="T31" fmla="*/ 2147483647 h 62"/>
              <a:gd name="T32" fmla="*/ 2147483647 w 55"/>
              <a:gd name="T33" fmla="*/ 2147483647 h 62"/>
              <a:gd name="T34" fmla="*/ 2147483647 w 55"/>
              <a:gd name="T35" fmla="*/ 2147483647 h 62"/>
              <a:gd name="T36" fmla="*/ 2147483647 w 55"/>
              <a:gd name="T37" fmla="*/ 2147483647 h 62"/>
              <a:gd name="T38" fmla="*/ 2147483647 w 55"/>
              <a:gd name="T39" fmla="*/ 2147483647 h 62"/>
              <a:gd name="T40" fmla="*/ 2147483647 w 55"/>
              <a:gd name="T41" fmla="*/ 2147483647 h 62"/>
              <a:gd name="T42" fmla="*/ 2147483647 w 55"/>
              <a:gd name="T43" fmla="*/ 2147483647 h 62"/>
              <a:gd name="T44" fmla="*/ 2147483647 w 55"/>
              <a:gd name="T45" fmla="*/ 2147483647 h 62"/>
              <a:gd name="T46" fmla="*/ 2147483647 w 55"/>
              <a:gd name="T47" fmla="*/ 2147483647 h 62"/>
              <a:gd name="T48" fmla="*/ 2147483647 w 55"/>
              <a:gd name="T49" fmla="*/ 2147483647 h 62"/>
              <a:gd name="T50" fmla="*/ 2147483647 w 55"/>
              <a:gd name="T51" fmla="*/ 2147483647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5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550978" y="6190878"/>
            <a:ext cx="11112" cy="58737"/>
          </a:xfrm>
          <a:custGeom>
            <a:avLst/>
            <a:gdLst>
              <a:gd name="T0" fmla="*/ 2147483647 w 35"/>
              <a:gd name="T1" fmla="*/ 2147483647 h 43"/>
              <a:gd name="T2" fmla="*/ 2147483647 w 35"/>
              <a:gd name="T3" fmla="*/ 0 h 43"/>
              <a:gd name="T4" fmla="*/ 2147483647 w 35"/>
              <a:gd name="T5" fmla="*/ 2147483647 h 43"/>
              <a:gd name="T6" fmla="*/ 0 w 35"/>
              <a:gd name="T7" fmla="*/ 2147483647 h 43"/>
              <a:gd name="T8" fmla="*/ 2147483647 w 35"/>
              <a:gd name="T9" fmla="*/ 2147483647 h 43"/>
              <a:gd name="T10" fmla="*/ 2147483647 w 35"/>
              <a:gd name="T11" fmla="*/ 2147483647 h 43"/>
              <a:gd name="T12" fmla="*/ 2147483647 w 35"/>
              <a:gd name="T13" fmla="*/ 2147483647 h 43"/>
              <a:gd name="T14" fmla="*/ 2147483647 w 35"/>
              <a:gd name="T15" fmla="*/ 2147483647 h 43"/>
              <a:gd name="T16" fmla="*/ 2147483647 w 35"/>
              <a:gd name="T17" fmla="*/ 2147483647 h 43"/>
              <a:gd name="T18" fmla="*/ 2147483647 w 35"/>
              <a:gd name="T19" fmla="*/ 2147483647 h 43"/>
              <a:gd name="T20" fmla="*/ 2147483647 w 35"/>
              <a:gd name="T21" fmla="*/ 2147483647 h 43"/>
              <a:gd name="T22" fmla="*/ 2147483647 w 35"/>
              <a:gd name="T23" fmla="*/ 2147483647 h 43"/>
              <a:gd name="T24" fmla="*/ 2147483647 w 35"/>
              <a:gd name="T25" fmla="*/ 2147483647 h 43"/>
              <a:gd name="T26" fmla="*/ 2147483647 w 35"/>
              <a:gd name="T27" fmla="*/ 2147483647 h 43"/>
              <a:gd name="T28" fmla="*/ 2147483647 w 35"/>
              <a:gd name="T29" fmla="*/ 2147483647 h 43"/>
              <a:gd name="T30" fmla="*/ 2147483647 w 35"/>
              <a:gd name="T31" fmla="*/ 2147483647 h 43"/>
              <a:gd name="T32" fmla="*/ 2147483647 w 35"/>
              <a:gd name="T33" fmla="*/ 2147483647 h 43"/>
              <a:gd name="T34" fmla="*/ 2147483647 w 35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6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547803" y="6224215"/>
            <a:ext cx="20637" cy="55563"/>
          </a:xfrm>
          <a:custGeom>
            <a:avLst/>
            <a:gdLst>
              <a:gd name="T0" fmla="*/ 2147483647 w 53"/>
              <a:gd name="T1" fmla="*/ 0 h 21"/>
              <a:gd name="T2" fmla="*/ 2147483647 w 53"/>
              <a:gd name="T3" fmla="*/ 2147483647 h 21"/>
              <a:gd name="T4" fmla="*/ 2147483647 w 53"/>
              <a:gd name="T5" fmla="*/ 2147483647 h 21"/>
              <a:gd name="T6" fmla="*/ 2147483647 w 53"/>
              <a:gd name="T7" fmla="*/ 2147483647 h 21"/>
              <a:gd name="T8" fmla="*/ 2147483647 w 53"/>
              <a:gd name="T9" fmla="*/ 2147483647 h 21"/>
              <a:gd name="T10" fmla="*/ 2147483647 w 53"/>
              <a:gd name="T11" fmla="*/ 2147483647 h 21"/>
              <a:gd name="T12" fmla="*/ 2147483647 w 53"/>
              <a:gd name="T13" fmla="*/ 2147483647 h 21"/>
              <a:gd name="T14" fmla="*/ 2147483647 w 53"/>
              <a:gd name="T15" fmla="*/ 2147483647 h 21"/>
              <a:gd name="T16" fmla="*/ 0 w 53"/>
              <a:gd name="T17" fmla="*/ 2147483647 h 21"/>
              <a:gd name="T18" fmla="*/ 2147483647 w 53"/>
              <a:gd name="T19" fmla="*/ 2147483647 h 21"/>
              <a:gd name="T20" fmla="*/ 2147483647 w 53"/>
              <a:gd name="T21" fmla="*/ 2147483647 h 21"/>
              <a:gd name="T22" fmla="*/ 2147483647 w 53"/>
              <a:gd name="T23" fmla="*/ 2147483647 h 21"/>
              <a:gd name="T24" fmla="*/ 2147483647 w 53"/>
              <a:gd name="T25" fmla="*/ 2147483647 h 21"/>
              <a:gd name="T26" fmla="*/ 2147483647 w 53"/>
              <a:gd name="T27" fmla="*/ 2147483647 h 21"/>
              <a:gd name="T28" fmla="*/ 2147483647 w 53"/>
              <a:gd name="T29" fmla="*/ 2147483647 h 21"/>
              <a:gd name="T30" fmla="*/ 214748364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7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571615" y="6238503"/>
            <a:ext cx="17463" cy="57150"/>
          </a:xfrm>
          <a:custGeom>
            <a:avLst/>
            <a:gdLst>
              <a:gd name="T0" fmla="*/ 2147483647 w 43"/>
              <a:gd name="T1" fmla="*/ 0 h 38"/>
              <a:gd name="T2" fmla="*/ 2147483647 w 43"/>
              <a:gd name="T3" fmla="*/ 0 h 38"/>
              <a:gd name="T4" fmla="*/ 2147483647 w 43"/>
              <a:gd name="T5" fmla="*/ 0 h 38"/>
              <a:gd name="T6" fmla="*/ 2147483647 w 43"/>
              <a:gd name="T7" fmla="*/ 0 h 38"/>
              <a:gd name="T8" fmla="*/ 0 w 43"/>
              <a:gd name="T9" fmla="*/ 2147483647 h 38"/>
              <a:gd name="T10" fmla="*/ 0 w 43"/>
              <a:gd name="T11" fmla="*/ 2147483647 h 38"/>
              <a:gd name="T12" fmla="*/ 0 w 43"/>
              <a:gd name="T13" fmla="*/ 2147483647 h 38"/>
              <a:gd name="T14" fmla="*/ 2147483647 w 43"/>
              <a:gd name="T15" fmla="*/ 2147483647 h 38"/>
              <a:gd name="T16" fmla="*/ 2147483647 w 43"/>
              <a:gd name="T17" fmla="*/ 2147483647 h 38"/>
              <a:gd name="T18" fmla="*/ 2147483647 w 43"/>
              <a:gd name="T19" fmla="*/ 2147483647 h 38"/>
              <a:gd name="T20" fmla="*/ 2147483647 w 43"/>
              <a:gd name="T21" fmla="*/ 2147483647 h 38"/>
              <a:gd name="T22" fmla="*/ 2147483647 w 43"/>
              <a:gd name="T23" fmla="*/ 2147483647 h 38"/>
              <a:gd name="T24" fmla="*/ 2147483647 w 43"/>
              <a:gd name="T25" fmla="*/ 2147483647 h 38"/>
              <a:gd name="T26" fmla="*/ 2147483647 w 43"/>
              <a:gd name="T27" fmla="*/ 2147483647 h 38"/>
              <a:gd name="T28" fmla="*/ 2147483647 w 43"/>
              <a:gd name="T29" fmla="*/ 2147483647 h 38"/>
              <a:gd name="T30" fmla="*/ 2147483647 w 43"/>
              <a:gd name="T31" fmla="*/ 2147483647 h 38"/>
              <a:gd name="T32" fmla="*/ 2147483647 w 43"/>
              <a:gd name="T33" fmla="*/ 2147483647 h 38"/>
              <a:gd name="T34" fmla="*/ 2147483647 w 43"/>
              <a:gd name="T35" fmla="*/ 2147483647 h 38"/>
              <a:gd name="T36" fmla="*/ 2147483647 w 43"/>
              <a:gd name="T37" fmla="*/ 2147483647 h 38"/>
              <a:gd name="T38" fmla="*/ 2147483647 w 43"/>
              <a:gd name="T39" fmla="*/ 2147483647 h 38"/>
              <a:gd name="T40" fmla="*/ 2147483647 w 43"/>
              <a:gd name="T41" fmla="*/ 2147483647 h 38"/>
              <a:gd name="T42" fmla="*/ 2147483647 w 43"/>
              <a:gd name="T43" fmla="*/ 2147483647 h 38"/>
              <a:gd name="T44" fmla="*/ 2147483647 w 43"/>
              <a:gd name="T45" fmla="*/ 2147483647 h 38"/>
              <a:gd name="T46" fmla="*/ 2147483647 w 43"/>
              <a:gd name="T47" fmla="*/ 2147483647 h 38"/>
              <a:gd name="T48" fmla="*/ 2147483647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8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573203" y="6267078"/>
            <a:ext cx="6350" cy="57150"/>
          </a:xfrm>
          <a:custGeom>
            <a:avLst/>
            <a:gdLst>
              <a:gd name="T0" fmla="*/ 0 w 20"/>
              <a:gd name="T1" fmla="*/ 0 h 5"/>
              <a:gd name="T2" fmla="*/ 2147483647 w 20"/>
              <a:gd name="T3" fmla="*/ 2147483647 h 5"/>
              <a:gd name="T4" fmla="*/ 2147483647 w 20"/>
              <a:gd name="T5" fmla="*/ 2147483647 h 5"/>
              <a:gd name="T6" fmla="*/ 2147483647 w 20"/>
              <a:gd name="T7" fmla="*/ 2147483647 h 5"/>
              <a:gd name="T8" fmla="*/ 2147483647 w 20"/>
              <a:gd name="T9" fmla="*/ 2147483647 h 5"/>
              <a:gd name="T10" fmla="*/ 2147483647 w 20"/>
              <a:gd name="T11" fmla="*/ 2147483647 h 5"/>
              <a:gd name="T12" fmla="*/ 2147483647 w 20"/>
              <a:gd name="T13" fmla="*/ 2147483647 h 5"/>
              <a:gd name="T14" fmla="*/ 2147483647 w 20"/>
              <a:gd name="T15" fmla="*/ 2147483647 h 5"/>
              <a:gd name="T16" fmla="*/ 2147483647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9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647815" y="6336928"/>
            <a:ext cx="34925" cy="57150"/>
          </a:xfrm>
          <a:custGeom>
            <a:avLst/>
            <a:gdLst>
              <a:gd name="T0" fmla="*/ 2147483647 w 73"/>
              <a:gd name="T1" fmla="*/ 0 h 22"/>
              <a:gd name="T2" fmla="*/ 2147483647 w 73"/>
              <a:gd name="T3" fmla="*/ 2147483647 h 22"/>
              <a:gd name="T4" fmla="*/ 2147483647 w 73"/>
              <a:gd name="T5" fmla="*/ 2147483647 h 22"/>
              <a:gd name="T6" fmla="*/ 2147483647 w 73"/>
              <a:gd name="T7" fmla="*/ 2147483647 h 22"/>
              <a:gd name="T8" fmla="*/ 2147483647 w 73"/>
              <a:gd name="T9" fmla="*/ 2147483647 h 22"/>
              <a:gd name="T10" fmla="*/ 2147483647 w 73"/>
              <a:gd name="T11" fmla="*/ 2147483647 h 22"/>
              <a:gd name="T12" fmla="*/ 0 w 73"/>
              <a:gd name="T13" fmla="*/ 2147483647 h 22"/>
              <a:gd name="T14" fmla="*/ 2147483647 w 73"/>
              <a:gd name="T15" fmla="*/ 2147483647 h 22"/>
              <a:gd name="T16" fmla="*/ 2147483647 w 73"/>
              <a:gd name="T17" fmla="*/ 2147483647 h 22"/>
              <a:gd name="T18" fmla="*/ 2147483647 w 73"/>
              <a:gd name="T19" fmla="*/ 2147483647 h 22"/>
              <a:gd name="T20" fmla="*/ 2147483647 w 73"/>
              <a:gd name="T21" fmla="*/ 2147483647 h 22"/>
              <a:gd name="T22" fmla="*/ 2147483647 w 73"/>
              <a:gd name="T23" fmla="*/ 2147483647 h 22"/>
              <a:gd name="T24" fmla="*/ 2147483647 w 73"/>
              <a:gd name="T25" fmla="*/ 2147483647 h 22"/>
              <a:gd name="T26" fmla="*/ 2147483647 w 73"/>
              <a:gd name="T27" fmla="*/ 2147483647 h 22"/>
              <a:gd name="T28" fmla="*/ 2147483647 w 73"/>
              <a:gd name="T29" fmla="*/ 2147483647 h 22"/>
              <a:gd name="T30" fmla="*/ 2147483647 w 73"/>
              <a:gd name="T31" fmla="*/ 2147483647 h 22"/>
              <a:gd name="T32" fmla="*/ 2147483647 w 73"/>
              <a:gd name="T33" fmla="*/ 2147483647 h 22"/>
              <a:gd name="T34" fmla="*/ 2147483647 w 73"/>
              <a:gd name="T35" fmla="*/ 2147483647 h 22"/>
              <a:gd name="T36" fmla="*/ 214748364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0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685915" y="6278190"/>
            <a:ext cx="123825" cy="100013"/>
          </a:xfrm>
          <a:custGeom>
            <a:avLst/>
            <a:gdLst>
              <a:gd name="T0" fmla="*/ 2147483647 w 281"/>
              <a:gd name="T1" fmla="*/ 2147483647 h 193"/>
              <a:gd name="T2" fmla="*/ 2147483647 w 281"/>
              <a:gd name="T3" fmla="*/ 2147483647 h 193"/>
              <a:gd name="T4" fmla="*/ 2147483647 w 281"/>
              <a:gd name="T5" fmla="*/ 2147483647 h 193"/>
              <a:gd name="T6" fmla="*/ 2147483647 w 281"/>
              <a:gd name="T7" fmla="*/ 2147483647 h 193"/>
              <a:gd name="T8" fmla="*/ 2147483647 w 281"/>
              <a:gd name="T9" fmla="*/ 2147483647 h 193"/>
              <a:gd name="T10" fmla="*/ 2147483647 w 281"/>
              <a:gd name="T11" fmla="*/ 2147483647 h 193"/>
              <a:gd name="T12" fmla="*/ 2147483647 w 281"/>
              <a:gd name="T13" fmla="*/ 2147483647 h 193"/>
              <a:gd name="T14" fmla="*/ 2147483647 w 281"/>
              <a:gd name="T15" fmla="*/ 2147483647 h 193"/>
              <a:gd name="T16" fmla="*/ 2147483647 w 281"/>
              <a:gd name="T17" fmla="*/ 2147483647 h 193"/>
              <a:gd name="T18" fmla="*/ 2147483647 w 281"/>
              <a:gd name="T19" fmla="*/ 0 h 193"/>
              <a:gd name="T20" fmla="*/ 2147483647 w 281"/>
              <a:gd name="T21" fmla="*/ 2147483647 h 193"/>
              <a:gd name="T22" fmla="*/ 2147483647 w 281"/>
              <a:gd name="T23" fmla="*/ 2147483647 h 193"/>
              <a:gd name="T24" fmla="*/ 2147483647 w 281"/>
              <a:gd name="T25" fmla="*/ 2147483647 h 193"/>
              <a:gd name="T26" fmla="*/ 0 w 281"/>
              <a:gd name="T27" fmla="*/ 2147483647 h 193"/>
              <a:gd name="T28" fmla="*/ 2147483647 w 281"/>
              <a:gd name="T29" fmla="*/ 2147483647 h 193"/>
              <a:gd name="T30" fmla="*/ 2147483647 w 281"/>
              <a:gd name="T31" fmla="*/ 2147483647 h 193"/>
              <a:gd name="T32" fmla="*/ 2147483647 w 281"/>
              <a:gd name="T33" fmla="*/ 2147483647 h 193"/>
              <a:gd name="T34" fmla="*/ 2147483647 w 281"/>
              <a:gd name="T35" fmla="*/ 2147483647 h 193"/>
              <a:gd name="T36" fmla="*/ 2147483647 w 281"/>
              <a:gd name="T37" fmla="*/ 2147483647 h 193"/>
              <a:gd name="T38" fmla="*/ 2147483647 w 281"/>
              <a:gd name="T39" fmla="*/ 2147483647 h 193"/>
              <a:gd name="T40" fmla="*/ 2147483647 w 281"/>
              <a:gd name="T41" fmla="*/ 2147483647 h 193"/>
              <a:gd name="T42" fmla="*/ 2147483647 w 281"/>
              <a:gd name="T43" fmla="*/ 2147483647 h 193"/>
              <a:gd name="T44" fmla="*/ 2147483647 w 281"/>
              <a:gd name="T45" fmla="*/ 2147483647 h 193"/>
              <a:gd name="T46" fmla="*/ 2147483647 w 281"/>
              <a:gd name="T47" fmla="*/ 2147483647 h 193"/>
              <a:gd name="T48" fmla="*/ 2147483647 w 281"/>
              <a:gd name="T49" fmla="*/ 2147483647 h 193"/>
              <a:gd name="T50" fmla="*/ 2147483647 w 281"/>
              <a:gd name="T51" fmla="*/ 2147483647 h 193"/>
              <a:gd name="T52" fmla="*/ 2147483647 w 281"/>
              <a:gd name="T53" fmla="*/ 2147483647 h 193"/>
              <a:gd name="T54" fmla="*/ 2147483647 w 281"/>
              <a:gd name="T55" fmla="*/ 2147483647 h 193"/>
              <a:gd name="T56" fmla="*/ 2147483647 w 281"/>
              <a:gd name="T57" fmla="*/ 2147483647 h 193"/>
              <a:gd name="T58" fmla="*/ 2147483647 w 281"/>
              <a:gd name="T59" fmla="*/ 2147483647 h 193"/>
              <a:gd name="T60" fmla="*/ 2147483647 w 281"/>
              <a:gd name="T61" fmla="*/ 2147483647 h 193"/>
              <a:gd name="T62" fmla="*/ 2147483647 w 281"/>
              <a:gd name="T63" fmla="*/ 2147483647 h 193"/>
              <a:gd name="T64" fmla="*/ 2147483647 w 281"/>
              <a:gd name="T65" fmla="*/ 2147483647 h 193"/>
              <a:gd name="T66" fmla="*/ 2147483647 w 281"/>
              <a:gd name="T67" fmla="*/ 2147483647 h 193"/>
              <a:gd name="T68" fmla="*/ 2147483647 w 281"/>
              <a:gd name="T69" fmla="*/ 2147483647 h 193"/>
              <a:gd name="T70" fmla="*/ 2147483647 w 281"/>
              <a:gd name="T71" fmla="*/ 2147483647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1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238240" y="4044578"/>
            <a:ext cx="52388" cy="58737"/>
          </a:xfrm>
          <a:custGeom>
            <a:avLst/>
            <a:gdLst>
              <a:gd name="T0" fmla="*/ 0 w 120"/>
              <a:gd name="T1" fmla="*/ 2147483647 h 56"/>
              <a:gd name="T2" fmla="*/ 2147483647 w 120"/>
              <a:gd name="T3" fmla="*/ 2147483647 h 56"/>
              <a:gd name="T4" fmla="*/ 2147483647 w 120"/>
              <a:gd name="T5" fmla="*/ 2147483647 h 56"/>
              <a:gd name="T6" fmla="*/ 2147483647 w 120"/>
              <a:gd name="T7" fmla="*/ 2147483647 h 56"/>
              <a:gd name="T8" fmla="*/ 2147483647 w 120"/>
              <a:gd name="T9" fmla="*/ 2147483647 h 56"/>
              <a:gd name="T10" fmla="*/ 2147483647 w 120"/>
              <a:gd name="T11" fmla="*/ 2147483647 h 56"/>
              <a:gd name="T12" fmla="*/ 2147483647 w 120"/>
              <a:gd name="T13" fmla="*/ 2147483647 h 56"/>
              <a:gd name="T14" fmla="*/ 2147483647 w 120"/>
              <a:gd name="T15" fmla="*/ 2147483647 h 56"/>
              <a:gd name="T16" fmla="*/ 2147483647 w 120"/>
              <a:gd name="T17" fmla="*/ 2147483647 h 56"/>
              <a:gd name="T18" fmla="*/ 2147483647 w 120"/>
              <a:gd name="T19" fmla="*/ 2147483647 h 56"/>
              <a:gd name="T20" fmla="*/ 2147483647 w 120"/>
              <a:gd name="T21" fmla="*/ 2147483647 h 56"/>
              <a:gd name="T22" fmla="*/ 2147483647 w 120"/>
              <a:gd name="T23" fmla="*/ 2147483647 h 56"/>
              <a:gd name="T24" fmla="*/ 2147483647 w 120"/>
              <a:gd name="T25" fmla="*/ 2147483647 h 56"/>
              <a:gd name="T26" fmla="*/ 2147483647 w 120"/>
              <a:gd name="T27" fmla="*/ 2147483647 h 56"/>
              <a:gd name="T28" fmla="*/ 2147483647 w 120"/>
              <a:gd name="T29" fmla="*/ 2147483647 h 56"/>
              <a:gd name="T30" fmla="*/ 2147483647 w 120"/>
              <a:gd name="T31" fmla="*/ 2147483647 h 56"/>
              <a:gd name="T32" fmla="*/ 2147483647 w 120"/>
              <a:gd name="T33" fmla="*/ 2147483647 h 56"/>
              <a:gd name="T34" fmla="*/ 2147483647 w 120"/>
              <a:gd name="T35" fmla="*/ 2147483647 h 56"/>
              <a:gd name="T36" fmla="*/ 2147483647 w 120"/>
              <a:gd name="T37" fmla="*/ 2147483647 h 56"/>
              <a:gd name="T38" fmla="*/ 2147483647 w 120"/>
              <a:gd name="T39" fmla="*/ 2147483647 h 56"/>
              <a:gd name="T40" fmla="*/ 2147483647 w 120"/>
              <a:gd name="T41" fmla="*/ 2147483647 h 56"/>
              <a:gd name="T42" fmla="*/ 2147483647 w 120"/>
              <a:gd name="T43" fmla="*/ 0 h 56"/>
              <a:gd name="T44" fmla="*/ 2147483647 w 120"/>
              <a:gd name="T45" fmla="*/ 2147483647 h 56"/>
              <a:gd name="T46" fmla="*/ 2147483647 w 120"/>
              <a:gd name="T47" fmla="*/ 2147483647 h 56"/>
              <a:gd name="T48" fmla="*/ 2147483647 w 120"/>
              <a:gd name="T49" fmla="*/ 2147483647 h 56"/>
              <a:gd name="T50" fmla="*/ 2147483647 w 120"/>
              <a:gd name="T51" fmla="*/ 2147483647 h 56"/>
              <a:gd name="T52" fmla="*/ 2147483647 w 120"/>
              <a:gd name="T53" fmla="*/ 2147483647 h 56"/>
              <a:gd name="T54" fmla="*/ 2147483647 w 120"/>
              <a:gd name="T55" fmla="*/ 2147483647 h 56"/>
              <a:gd name="T56" fmla="*/ 2147483647 w 120"/>
              <a:gd name="T57" fmla="*/ 2147483647 h 56"/>
              <a:gd name="T58" fmla="*/ 0 w 120"/>
              <a:gd name="T59" fmla="*/ 2147483647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2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2095365" y="3906465"/>
            <a:ext cx="250825" cy="109538"/>
          </a:xfrm>
          <a:custGeom>
            <a:avLst/>
            <a:gdLst>
              <a:gd name="T0" fmla="*/ 2147483647 w 574"/>
              <a:gd name="T1" fmla="*/ 2147483647 h 204"/>
              <a:gd name="T2" fmla="*/ 2147483647 w 574"/>
              <a:gd name="T3" fmla="*/ 2147483647 h 204"/>
              <a:gd name="T4" fmla="*/ 2147483647 w 574"/>
              <a:gd name="T5" fmla="*/ 2147483647 h 204"/>
              <a:gd name="T6" fmla="*/ 2147483647 w 574"/>
              <a:gd name="T7" fmla="*/ 2147483647 h 204"/>
              <a:gd name="T8" fmla="*/ 2147483647 w 574"/>
              <a:gd name="T9" fmla="*/ 2147483647 h 204"/>
              <a:gd name="T10" fmla="*/ 2147483647 w 574"/>
              <a:gd name="T11" fmla="*/ 2147483647 h 204"/>
              <a:gd name="T12" fmla="*/ 2147483647 w 574"/>
              <a:gd name="T13" fmla="*/ 2147483647 h 204"/>
              <a:gd name="T14" fmla="*/ 0 w 574"/>
              <a:gd name="T15" fmla="*/ 2147483647 h 204"/>
              <a:gd name="T16" fmla="*/ 2147483647 w 574"/>
              <a:gd name="T17" fmla="*/ 2147483647 h 204"/>
              <a:gd name="T18" fmla="*/ 2147483647 w 574"/>
              <a:gd name="T19" fmla="*/ 2147483647 h 204"/>
              <a:gd name="T20" fmla="*/ 2147483647 w 574"/>
              <a:gd name="T21" fmla="*/ 2147483647 h 204"/>
              <a:gd name="T22" fmla="*/ 2147483647 w 574"/>
              <a:gd name="T23" fmla="*/ 2147483647 h 204"/>
              <a:gd name="T24" fmla="*/ 2147483647 w 574"/>
              <a:gd name="T25" fmla="*/ 2147483647 h 204"/>
              <a:gd name="T26" fmla="*/ 2147483647 w 574"/>
              <a:gd name="T27" fmla="*/ 2147483647 h 204"/>
              <a:gd name="T28" fmla="*/ 2147483647 w 574"/>
              <a:gd name="T29" fmla="*/ 2147483647 h 204"/>
              <a:gd name="T30" fmla="*/ 2147483647 w 574"/>
              <a:gd name="T31" fmla="*/ 2147483647 h 204"/>
              <a:gd name="T32" fmla="*/ 2147483647 w 574"/>
              <a:gd name="T33" fmla="*/ 2147483647 h 204"/>
              <a:gd name="T34" fmla="*/ 2147483647 w 574"/>
              <a:gd name="T35" fmla="*/ 2147483647 h 204"/>
              <a:gd name="T36" fmla="*/ 2147483647 w 574"/>
              <a:gd name="T37" fmla="*/ 2147483647 h 204"/>
              <a:gd name="T38" fmla="*/ 2147483647 w 574"/>
              <a:gd name="T39" fmla="*/ 2147483647 h 204"/>
              <a:gd name="T40" fmla="*/ 2147483647 w 574"/>
              <a:gd name="T41" fmla="*/ 2147483647 h 204"/>
              <a:gd name="T42" fmla="*/ 2147483647 w 574"/>
              <a:gd name="T43" fmla="*/ 2147483647 h 204"/>
              <a:gd name="T44" fmla="*/ 2147483647 w 574"/>
              <a:gd name="T45" fmla="*/ 2147483647 h 204"/>
              <a:gd name="T46" fmla="*/ 2147483647 w 574"/>
              <a:gd name="T47" fmla="*/ 2147483647 h 204"/>
              <a:gd name="T48" fmla="*/ 2147483647 w 574"/>
              <a:gd name="T49" fmla="*/ 2147483647 h 204"/>
              <a:gd name="T50" fmla="*/ 2147483647 w 574"/>
              <a:gd name="T51" fmla="*/ 2147483647 h 204"/>
              <a:gd name="T52" fmla="*/ 2147483647 w 574"/>
              <a:gd name="T53" fmla="*/ 2147483647 h 204"/>
              <a:gd name="T54" fmla="*/ 2147483647 w 574"/>
              <a:gd name="T55" fmla="*/ 2147483647 h 204"/>
              <a:gd name="T56" fmla="*/ 2147483647 w 574"/>
              <a:gd name="T57" fmla="*/ 2147483647 h 204"/>
              <a:gd name="T58" fmla="*/ 2147483647 w 574"/>
              <a:gd name="T59" fmla="*/ 2147483647 h 204"/>
              <a:gd name="T60" fmla="*/ 2147483647 w 574"/>
              <a:gd name="T61" fmla="*/ 2147483647 h 204"/>
              <a:gd name="T62" fmla="*/ 2147483647 w 574"/>
              <a:gd name="T63" fmla="*/ 2147483647 h 204"/>
              <a:gd name="T64" fmla="*/ 2147483647 w 574"/>
              <a:gd name="T65" fmla="*/ 2147483647 h 204"/>
              <a:gd name="T66" fmla="*/ 2147483647 w 574"/>
              <a:gd name="T67" fmla="*/ 2147483647 h 204"/>
              <a:gd name="T68" fmla="*/ 2147483647 w 574"/>
              <a:gd name="T69" fmla="*/ 2147483647 h 204"/>
              <a:gd name="T70" fmla="*/ 2147483647 w 574"/>
              <a:gd name="T71" fmla="*/ 2147483647 h 204"/>
              <a:gd name="T72" fmla="*/ 2147483647 w 574"/>
              <a:gd name="T73" fmla="*/ 2147483647 h 204"/>
              <a:gd name="T74" fmla="*/ 2147483647 w 574"/>
              <a:gd name="T75" fmla="*/ 2147483647 h 204"/>
              <a:gd name="T76" fmla="*/ 2147483647 w 574"/>
              <a:gd name="T77" fmla="*/ 2147483647 h 204"/>
              <a:gd name="T78" fmla="*/ 2147483647 w 574"/>
              <a:gd name="T79" fmla="*/ 2147483647 h 204"/>
              <a:gd name="T80" fmla="*/ 2147483647 w 574"/>
              <a:gd name="T81" fmla="*/ 2147483647 h 204"/>
              <a:gd name="T82" fmla="*/ 2147483647 w 574"/>
              <a:gd name="T83" fmla="*/ 2147483647 h 204"/>
              <a:gd name="T84" fmla="*/ 2147483647 w 574"/>
              <a:gd name="T85" fmla="*/ 2147483647 h 204"/>
              <a:gd name="T86" fmla="*/ 2147483647 w 574"/>
              <a:gd name="T87" fmla="*/ 2147483647 h 204"/>
              <a:gd name="T88" fmla="*/ 2147483647 w 574"/>
              <a:gd name="T89" fmla="*/ 2147483647 h 204"/>
              <a:gd name="T90" fmla="*/ 2147483647 w 574"/>
              <a:gd name="T91" fmla="*/ 2147483647 h 204"/>
              <a:gd name="T92" fmla="*/ 2147483647 w 574"/>
              <a:gd name="T93" fmla="*/ 2147483647 h 204"/>
              <a:gd name="T94" fmla="*/ 2147483647 w 574"/>
              <a:gd name="T95" fmla="*/ 2147483647 h 204"/>
              <a:gd name="T96" fmla="*/ 2147483647 w 574"/>
              <a:gd name="T97" fmla="*/ 2147483647 h 204"/>
              <a:gd name="T98" fmla="*/ 2147483647 w 574"/>
              <a:gd name="T99" fmla="*/ 2147483647 h 204"/>
              <a:gd name="T100" fmla="*/ 2147483647 w 574"/>
              <a:gd name="T101" fmla="*/ 2147483647 h 204"/>
              <a:gd name="T102" fmla="*/ 2147483647 w 574"/>
              <a:gd name="T103" fmla="*/ 2147483647 h 204"/>
              <a:gd name="T104" fmla="*/ 2147483647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3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400165" y="4009653"/>
            <a:ext cx="88900" cy="69850"/>
          </a:xfrm>
          <a:custGeom>
            <a:avLst/>
            <a:gdLst>
              <a:gd name="T0" fmla="*/ 2147483647 w 207"/>
              <a:gd name="T1" fmla="*/ 2147483647 h 129"/>
              <a:gd name="T2" fmla="*/ 2147483647 w 207"/>
              <a:gd name="T3" fmla="*/ 2147483647 h 129"/>
              <a:gd name="T4" fmla="*/ 2147483647 w 207"/>
              <a:gd name="T5" fmla="*/ 2147483647 h 129"/>
              <a:gd name="T6" fmla="*/ 2147483647 w 207"/>
              <a:gd name="T7" fmla="*/ 2147483647 h 129"/>
              <a:gd name="T8" fmla="*/ 2147483647 w 207"/>
              <a:gd name="T9" fmla="*/ 2147483647 h 129"/>
              <a:gd name="T10" fmla="*/ 2147483647 w 207"/>
              <a:gd name="T11" fmla="*/ 2147483647 h 129"/>
              <a:gd name="T12" fmla="*/ 2147483647 w 207"/>
              <a:gd name="T13" fmla="*/ 2147483647 h 129"/>
              <a:gd name="T14" fmla="*/ 2147483647 w 207"/>
              <a:gd name="T15" fmla="*/ 2147483647 h 129"/>
              <a:gd name="T16" fmla="*/ 2147483647 w 207"/>
              <a:gd name="T17" fmla="*/ 2147483647 h 129"/>
              <a:gd name="T18" fmla="*/ 2147483647 w 207"/>
              <a:gd name="T19" fmla="*/ 2147483647 h 129"/>
              <a:gd name="T20" fmla="*/ 2147483647 w 207"/>
              <a:gd name="T21" fmla="*/ 2147483647 h 129"/>
              <a:gd name="T22" fmla="*/ 2147483647 w 207"/>
              <a:gd name="T23" fmla="*/ 2147483647 h 129"/>
              <a:gd name="T24" fmla="*/ 2147483647 w 207"/>
              <a:gd name="T25" fmla="*/ 2147483647 h 129"/>
              <a:gd name="T26" fmla="*/ 2147483647 w 207"/>
              <a:gd name="T27" fmla="*/ 2147483647 h 129"/>
              <a:gd name="T28" fmla="*/ 2147483647 w 207"/>
              <a:gd name="T29" fmla="*/ 2147483647 h 129"/>
              <a:gd name="T30" fmla="*/ 2147483647 w 207"/>
              <a:gd name="T31" fmla="*/ 2147483647 h 129"/>
              <a:gd name="T32" fmla="*/ 2147483647 w 207"/>
              <a:gd name="T33" fmla="*/ 2147483647 h 129"/>
              <a:gd name="T34" fmla="*/ 2147483647 w 207"/>
              <a:gd name="T35" fmla="*/ 2147483647 h 129"/>
              <a:gd name="T36" fmla="*/ 2147483647 w 207"/>
              <a:gd name="T37" fmla="*/ 2147483647 h 129"/>
              <a:gd name="T38" fmla="*/ 2147483647 w 207"/>
              <a:gd name="T39" fmla="*/ 2147483647 h 129"/>
              <a:gd name="T40" fmla="*/ 2147483647 w 207"/>
              <a:gd name="T41" fmla="*/ 2147483647 h 129"/>
              <a:gd name="T42" fmla="*/ 2147483647 w 207"/>
              <a:gd name="T43" fmla="*/ 2147483647 h 129"/>
              <a:gd name="T44" fmla="*/ 2147483647 w 207"/>
              <a:gd name="T45" fmla="*/ 0 h 129"/>
              <a:gd name="T46" fmla="*/ 0 w 207"/>
              <a:gd name="T47" fmla="*/ 0 h 129"/>
              <a:gd name="T48" fmla="*/ 2147483647 w 207"/>
              <a:gd name="T49" fmla="*/ 2147483647 h 129"/>
              <a:gd name="T50" fmla="*/ 2147483647 w 207"/>
              <a:gd name="T51" fmla="*/ 2147483647 h 129"/>
              <a:gd name="T52" fmla="*/ 2147483647 w 207"/>
              <a:gd name="T53" fmla="*/ 2147483647 h 129"/>
              <a:gd name="T54" fmla="*/ 2147483647 w 207"/>
              <a:gd name="T55" fmla="*/ 2147483647 h 129"/>
              <a:gd name="T56" fmla="*/ 2147483647 w 207"/>
              <a:gd name="T57" fmla="*/ 2147483647 h 129"/>
              <a:gd name="T58" fmla="*/ 2147483647 w 207"/>
              <a:gd name="T59" fmla="*/ 2147483647 h 129"/>
              <a:gd name="T60" fmla="*/ 2147483647 w 207"/>
              <a:gd name="T61" fmla="*/ 2147483647 h 129"/>
              <a:gd name="T62" fmla="*/ 2147483647 w 207"/>
              <a:gd name="T63" fmla="*/ 2147483647 h 129"/>
              <a:gd name="T64" fmla="*/ 2147483647 w 207"/>
              <a:gd name="T65" fmla="*/ 2147483647 h 129"/>
              <a:gd name="T66" fmla="*/ 2147483647 w 207"/>
              <a:gd name="T67" fmla="*/ 2147483647 h 129"/>
              <a:gd name="T68" fmla="*/ 2147483647 w 207"/>
              <a:gd name="T69" fmla="*/ 2147483647 h 129"/>
              <a:gd name="T70" fmla="*/ 2147483647 w 207"/>
              <a:gd name="T71" fmla="*/ 2147483647 h 129"/>
              <a:gd name="T72" fmla="*/ 0 w 207"/>
              <a:gd name="T73" fmla="*/ 2147483647 h 129"/>
              <a:gd name="T74" fmla="*/ 2147483647 w 207"/>
              <a:gd name="T75" fmla="*/ 2147483647 h 129"/>
              <a:gd name="T76" fmla="*/ 2147483647 w 207"/>
              <a:gd name="T77" fmla="*/ 2147483647 h 129"/>
              <a:gd name="T78" fmla="*/ 2147483647 w 207"/>
              <a:gd name="T79" fmla="*/ 2147483647 h 129"/>
              <a:gd name="T80" fmla="*/ 2147483647 w 207"/>
              <a:gd name="T81" fmla="*/ 2147483647 h 129"/>
              <a:gd name="T82" fmla="*/ 2147483647 w 207"/>
              <a:gd name="T83" fmla="*/ 2147483647 h 129"/>
              <a:gd name="T84" fmla="*/ 2147483647 w 207"/>
              <a:gd name="T85" fmla="*/ 2147483647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4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968365" y="4069978"/>
            <a:ext cx="33338" cy="84137"/>
          </a:xfrm>
          <a:custGeom>
            <a:avLst/>
            <a:gdLst>
              <a:gd name="T0" fmla="*/ 2147483647 w 72"/>
              <a:gd name="T1" fmla="*/ 0 h 154"/>
              <a:gd name="T2" fmla="*/ 2147483647 w 72"/>
              <a:gd name="T3" fmla="*/ 2147483647 h 154"/>
              <a:gd name="T4" fmla="*/ 2147483647 w 72"/>
              <a:gd name="T5" fmla="*/ 2147483647 h 154"/>
              <a:gd name="T6" fmla="*/ 2147483647 w 72"/>
              <a:gd name="T7" fmla="*/ 2147483647 h 154"/>
              <a:gd name="T8" fmla="*/ 2147483647 w 72"/>
              <a:gd name="T9" fmla="*/ 2147483647 h 154"/>
              <a:gd name="T10" fmla="*/ 2147483647 w 72"/>
              <a:gd name="T11" fmla="*/ 2147483647 h 154"/>
              <a:gd name="T12" fmla="*/ 2147483647 w 72"/>
              <a:gd name="T13" fmla="*/ 2147483647 h 154"/>
              <a:gd name="T14" fmla="*/ 2147483647 w 72"/>
              <a:gd name="T15" fmla="*/ 2147483647 h 154"/>
              <a:gd name="T16" fmla="*/ 2147483647 w 72"/>
              <a:gd name="T17" fmla="*/ 2147483647 h 154"/>
              <a:gd name="T18" fmla="*/ 2147483647 w 72"/>
              <a:gd name="T19" fmla="*/ 2147483647 h 154"/>
              <a:gd name="T20" fmla="*/ 2147483647 w 72"/>
              <a:gd name="T21" fmla="*/ 2147483647 h 154"/>
              <a:gd name="T22" fmla="*/ 2147483647 w 72"/>
              <a:gd name="T23" fmla="*/ 2147483647 h 154"/>
              <a:gd name="T24" fmla="*/ 2147483647 w 72"/>
              <a:gd name="T25" fmla="*/ 2147483647 h 154"/>
              <a:gd name="T26" fmla="*/ 2147483647 w 72"/>
              <a:gd name="T27" fmla="*/ 2147483647 h 154"/>
              <a:gd name="T28" fmla="*/ 2147483647 w 72"/>
              <a:gd name="T29" fmla="*/ 2147483647 h 154"/>
              <a:gd name="T30" fmla="*/ 2147483647 w 72"/>
              <a:gd name="T31" fmla="*/ 2147483647 h 154"/>
              <a:gd name="T32" fmla="*/ 2147483647 w 72"/>
              <a:gd name="T33" fmla="*/ 2147483647 h 154"/>
              <a:gd name="T34" fmla="*/ 2147483647 w 72"/>
              <a:gd name="T35" fmla="*/ 2147483647 h 154"/>
              <a:gd name="T36" fmla="*/ 2147483647 w 72"/>
              <a:gd name="T37" fmla="*/ 2147483647 h 154"/>
              <a:gd name="T38" fmla="*/ 2147483647 w 72"/>
              <a:gd name="T39" fmla="*/ 2147483647 h 154"/>
              <a:gd name="T40" fmla="*/ 2147483647 w 72"/>
              <a:gd name="T41" fmla="*/ 2147483647 h 154"/>
              <a:gd name="T42" fmla="*/ 0 w 72"/>
              <a:gd name="T43" fmla="*/ 2147483647 h 154"/>
              <a:gd name="T44" fmla="*/ 2147483647 w 72"/>
              <a:gd name="T45" fmla="*/ 2147483647 h 154"/>
              <a:gd name="T46" fmla="*/ 2147483647 w 72"/>
              <a:gd name="T47" fmla="*/ 2147483647 h 154"/>
              <a:gd name="T48" fmla="*/ 2147483647 w 72"/>
              <a:gd name="T49" fmla="*/ 2147483647 h 154"/>
              <a:gd name="T50" fmla="*/ 2147483647 w 72"/>
              <a:gd name="T51" fmla="*/ 2147483647 h 154"/>
              <a:gd name="T52" fmla="*/ 2147483647 w 72"/>
              <a:gd name="T53" fmla="*/ 2147483647 h 154"/>
              <a:gd name="T54" fmla="*/ 2147483647 w 72"/>
              <a:gd name="T55" fmla="*/ 2147483647 h 154"/>
              <a:gd name="T56" fmla="*/ 2147483647 w 72"/>
              <a:gd name="T57" fmla="*/ 0 h 154"/>
              <a:gd name="T58" fmla="*/ 2147483647 w 72"/>
              <a:gd name="T59" fmla="*/ 0 h 154"/>
              <a:gd name="T60" fmla="*/ 2147483647 w 72"/>
              <a:gd name="T61" fmla="*/ 0 h 154"/>
              <a:gd name="T62" fmla="*/ 2147483647 w 72"/>
              <a:gd name="T63" fmla="*/ 0 h 154"/>
              <a:gd name="T64" fmla="*/ 2147483647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5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888990" y="4069978"/>
            <a:ext cx="93663" cy="146050"/>
          </a:xfrm>
          <a:custGeom>
            <a:avLst/>
            <a:gdLst>
              <a:gd name="T0" fmla="*/ 2147483647 w 214"/>
              <a:gd name="T1" fmla="*/ 2147483647 h 271"/>
              <a:gd name="T2" fmla="*/ 2147483647 w 214"/>
              <a:gd name="T3" fmla="*/ 2147483647 h 271"/>
              <a:gd name="T4" fmla="*/ 2147483647 w 214"/>
              <a:gd name="T5" fmla="*/ 2147483647 h 271"/>
              <a:gd name="T6" fmla="*/ 2147483647 w 214"/>
              <a:gd name="T7" fmla="*/ 2147483647 h 271"/>
              <a:gd name="T8" fmla="*/ 2147483647 w 214"/>
              <a:gd name="T9" fmla="*/ 2147483647 h 271"/>
              <a:gd name="T10" fmla="*/ 2147483647 w 214"/>
              <a:gd name="T11" fmla="*/ 2147483647 h 271"/>
              <a:gd name="T12" fmla="*/ 2147483647 w 214"/>
              <a:gd name="T13" fmla="*/ 2147483647 h 271"/>
              <a:gd name="T14" fmla="*/ 2147483647 w 214"/>
              <a:gd name="T15" fmla="*/ 2147483647 h 271"/>
              <a:gd name="T16" fmla="*/ 2147483647 w 214"/>
              <a:gd name="T17" fmla="*/ 2147483647 h 271"/>
              <a:gd name="T18" fmla="*/ 2147483647 w 214"/>
              <a:gd name="T19" fmla="*/ 2147483647 h 271"/>
              <a:gd name="T20" fmla="*/ 2147483647 w 214"/>
              <a:gd name="T21" fmla="*/ 2147483647 h 271"/>
              <a:gd name="T22" fmla="*/ 2147483647 w 214"/>
              <a:gd name="T23" fmla="*/ 2147483647 h 271"/>
              <a:gd name="T24" fmla="*/ 2147483647 w 214"/>
              <a:gd name="T25" fmla="*/ 2147483647 h 271"/>
              <a:gd name="T26" fmla="*/ 2147483647 w 214"/>
              <a:gd name="T27" fmla="*/ 2147483647 h 271"/>
              <a:gd name="T28" fmla="*/ 2147483647 w 214"/>
              <a:gd name="T29" fmla="*/ 2147483647 h 271"/>
              <a:gd name="T30" fmla="*/ 2147483647 w 214"/>
              <a:gd name="T31" fmla="*/ 2147483647 h 271"/>
              <a:gd name="T32" fmla="*/ 2147483647 w 214"/>
              <a:gd name="T33" fmla="*/ 2147483647 h 271"/>
              <a:gd name="T34" fmla="*/ 2147483647 w 214"/>
              <a:gd name="T35" fmla="*/ 2147483647 h 271"/>
              <a:gd name="T36" fmla="*/ 2147483647 w 214"/>
              <a:gd name="T37" fmla="*/ 0 h 271"/>
              <a:gd name="T38" fmla="*/ 2147483647 w 214"/>
              <a:gd name="T39" fmla="*/ 0 h 271"/>
              <a:gd name="T40" fmla="*/ 2147483647 w 214"/>
              <a:gd name="T41" fmla="*/ 2147483647 h 271"/>
              <a:gd name="T42" fmla="*/ 2147483647 w 214"/>
              <a:gd name="T43" fmla="*/ 2147483647 h 271"/>
              <a:gd name="T44" fmla="*/ 2147483647 w 214"/>
              <a:gd name="T45" fmla="*/ 2147483647 h 271"/>
              <a:gd name="T46" fmla="*/ 2147483647 w 214"/>
              <a:gd name="T47" fmla="*/ 2147483647 h 271"/>
              <a:gd name="T48" fmla="*/ 2147483647 w 214"/>
              <a:gd name="T49" fmla="*/ 2147483647 h 271"/>
              <a:gd name="T50" fmla="*/ 2147483647 w 214"/>
              <a:gd name="T51" fmla="*/ 2147483647 h 271"/>
              <a:gd name="T52" fmla="*/ 2147483647 w 214"/>
              <a:gd name="T53" fmla="*/ 2147483647 h 271"/>
              <a:gd name="T54" fmla="*/ 2147483647 w 214"/>
              <a:gd name="T55" fmla="*/ 2147483647 h 271"/>
              <a:gd name="T56" fmla="*/ 2147483647 w 214"/>
              <a:gd name="T57" fmla="*/ 2147483647 h 271"/>
              <a:gd name="T58" fmla="*/ 2147483647 w 214"/>
              <a:gd name="T59" fmla="*/ 2147483647 h 271"/>
              <a:gd name="T60" fmla="*/ 2147483647 w 214"/>
              <a:gd name="T61" fmla="*/ 2147483647 h 271"/>
              <a:gd name="T62" fmla="*/ 2147483647 w 214"/>
              <a:gd name="T63" fmla="*/ 2147483647 h 271"/>
              <a:gd name="T64" fmla="*/ 2147483647 w 214"/>
              <a:gd name="T65" fmla="*/ 2147483647 h 271"/>
              <a:gd name="T66" fmla="*/ 2147483647 w 214"/>
              <a:gd name="T67" fmla="*/ 2147483647 h 271"/>
              <a:gd name="T68" fmla="*/ 2147483647 w 214"/>
              <a:gd name="T69" fmla="*/ 2147483647 h 271"/>
              <a:gd name="T70" fmla="*/ 0 w 214"/>
              <a:gd name="T71" fmla="*/ 2147483647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6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936615" y="4181103"/>
            <a:ext cx="71438" cy="57150"/>
          </a:xfrm>
          <a:custGeom>
            <a:avLst/>
            <a:gdLst>
              <a:gd name="T0" fmla="*/ 2147483647 w 153"/>
              <a:gd name="T1" fmla="*/ 0 h 80"/>
              <a:gd name="T2" fmla="*/ 2147483647 w 153"/>
              <a:gd name="T3" fmla="*/ 2147483647 h 80"/>
              <a:gd name="T4" fmla="*/ 2147483647 w 153"/>
              <a:gd name="T5" fmla="*/ 2147483647 h 80"/>
              <a:gd name="T6" fmla="*/ 2147483647 w 153"/>
              <a:gd name="T7" fmla="*/ 2147483647 h 80"/>
              <a:gd name="T8" fmla="*/ 2147483647 w 153"/>
              <a:gd name="T9" fmla="*/ 2147483647 h 80"/>
              <a:gd name="T10" fmla="*/ 2147483647 w 153"/>
              <a:gd name="T11" fmla="*/ 2147483647 h 80"/>
              <a:gd name="T12" fmla="*/ 2147483647 w 153"/>
              <a:gd name="T13" fmla="*/ 2147483647 h 80"/>
              <a:gd name="T14" fmla="*/ 2147483647 w 153"/>
              <a:gd name="T15" fmla="*/ 2147483647 h 80"/>
              <a:gd name="T16" fmla="*/ 2147483647 w 153"/>
              <a:gd name="T17" fmla="*/ 2147483647 h 80"/>
              <a:gd name="T18" fmla="*/ 2147483647 w 153"/>
              <a:gd name="T19" fmla="*/ 2147483647 h 80"/>
              <a:gd name="T20" fmla="*/ 2147483647 w 153"/>
              <a:gd name="T21" fmla="*/ 2147483647 h 80"/>
              <a:gd name="T22" fmla="*/ 2147483647 w 153"/>
              <a:gd name="T23" fmla="*/ 2147483647 h 80"/>
              <a:gd name="T24" fmla="*/ 2147483647 w 153"/>
              <a:gd name="T25" fmla="*/ 2147483647 h 80"/>
              <a:gd name="T26" fmla="*/ 2147483647 w 153"/>
              <a:gd name="T27" fmla="*/ 2147483647 h 80"/>
              <a:gd name="T28" fmla="*/ 2147483647 w 153"/>
              <a:gd name="T29" fmla="*/ 2147483647 h 80"/>
              <a:gd name="T30" fmla="*/ 2147483647 w 153"/>
              <a:gd name="T31" fmla="*/ 2147483647 h 80"/>
              <a:gd name="T32" fmla="*/ 2147483647 w 153"/>
              <a:gd name="T33" fmla="*/ 2147483647 h 80"/>
              <a:gd name="T34" fmla="*/ 2147483647 w 153"/>
              <a:gd name="T35" fmla="*/ 2147483647 h 80"/>
              <a:gd name="T36" fmla="*/ 2147483647 w 153"/>
              <a:gd name="T37" fmla="*/ 2147483647 h 80"/>
              <a:gd name="T38" fmla="*/ 2147483647 w 153"/>
              <a:gd name="T39" fmla="*/ 2147483647 h 80"/>
              <a:gd name="T40" fmla="*/ 2147483647 w 153"/>
              <a:gd name="T41" fmla="*/ 2147483647 h 80"/>
              <a:gd name="T42" fmla="*/ 2147483647 w 153"/>
              <a:gd name="T43" fmla="*/ 2147483647 h 80"/>
              <a:gd name="T44" fmla="*/ 2147483647 w 153"/>
              <a:gd name="T45" fmla="*/ 2147483647 h 80"/>
              <a:gd name="T46" fmla="*/ 2147483647 w 153"/>
              <a:gd name="T47" fmla="*/ 2147483647 h 80"/>
              <a:gd name="T48" fmla="*/ 2147483647 w 153"/>
              <a:gd name="T49" fmla="*/ 2147483647 h 80"/>
              <a:gd name="T50" fmla="*/ 0 w 153"/>
              <a:gd name="T51" fmla="*/ 2147483647 h 80"/>
              <a:gd name="T52" fmla="*/ 2147483647 w 153"/>
              <a:gd name="T53" fmla="*/ 2147483647 h 80"/>
              <a:gd name="T54" fmla="*/ 2147483647 w 153"/>
              <a:gd name="T55" fmla="*/ 2147483647 h 80"/>
              <a:gd name="T56" fmla="*/ 2147483647 w 153"/>
              <a:gd name="T57" fmla="*/ 2147483647 h 80"/>
              <a:gd name="T58" fmla="*/ 2147483647 w 153"/>
              <a:gd name="T59" fmla="*/ 2147483647 h 80"/>
              <a:gd name="T60" fmla="*/ 2147483647 w 153"/>
              <a:gd name="T61" fmla="*/ 2147483647 h 80"/>
              <a:gd name="T62" fmla="*/ 2147483647 w 153"/>
              <a:gd name="T63" fmla="*/ 2147483647 h 80"/>
              <a:gd name="T64" fmla="*/ 2147483647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7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968365" y="4143003"/>
            <a:ext cx="142875" cy="87312"/>
          </a:xfrm>
          <a:custGeom>
            <a:avLst/>
            <a:gdLst>
              <a:gd name="T0" fmla="*/ 0 w 332"/>
              <a:gd name="T1" fmla="*/ 2147483647 h 169"/>
              <a:gd name="T2" fmla="*/ 2147483647 w 332"/>
              <a:gd name="T3" fmla="*/ 2147483647 h 169"/>
              <a:gd name="T4" fmla="*/ 2147483647 w 332"/>
              <a:gd name="T5" fmla="*/ 2147483647 h 169"/>
              <a:gd name="T6" fmla="*/ 2147483647 w 332"/>
              <a:gd name="T7" fmla="*/ 2147483647 h 169"/>
              <a:gd name="T8" fmla="*/ 2147483647 w 332"/>
              <a:gd name="T9" fmla="*/ 2147483647 h 169"/>
              <a:gd name="T10" fmla="*/ 2147483647 w 332"/>
              <a:gd name="T11" fmla="*/ 2147483647 h 169"/>
              <a:gd name="T12" fmla="*/ 2147483647 w 332"/>
              <a:gd name="T13" fmla="*/ 2147483647 h 169"/>
              <a:gd name="T14" fmla="*/ 2147483647 w 332"/>
              <a:gd name="T15" fmla="*/ 2147483647 h 169"/>
              <a:gd name="T16" fmla="*/ 2147483647 w 332"/>
              <a:gd name="T17" fmla="*/ 2147483647 h 169"/>
              <a:gd name="T18" fmla="*/ 2147483647 w 332"/>
              <a:gd name="T19" fmla="*/ 2147483647 h 169"/>
              <a:gd name="T20" fmla="*/ 2147483647 w 332"/>
              <a:gd name="T21" fmla="*/ 2147483647 h 169"/>
              <a:gd name="T22" fmla="*/ 2147483647 w 332"/>
              <a:gd name="T23" fmla="*/ 2147483647 h 169"/>
              <a:gd name="T24" fmla="*/ 2147483647 w 332"/>
              <a:gd name="T25" fmla="*/ 2147483647 h 169"/>
              <a:gd name="T26" fmla="*/ 2147483647 w 332"/>
              <a:gd name="T27" fmla="*/ 2147483647 h 169"/>
              <a:gd name="T28" fmla="*/ 2147483647 w 332"/>
              <a:gd name="T29" fmla="*/ 2147483647 h 169"/>
              <a:gd name="T30" fmla="*/ 2147483647 w 332"/>
              <a:gd name="T31" fmla="*/ 2147483647 h 169"/>
              <a:gd name="T32" fmla="*/ 2147483647 w 332"/>
              <a:gd name="T33" fmla="*/ 2147483647 h 169"/>
              <a:gd name="T34" fmla="*/ 2147483647 w 332"/>
              <a:gd name="T35" fmla="*/ 2147483647 h 169"/>
              <a:gd name="T36" fmla="*/ 2147483647 w 332"/>
              <a:gd name="T37" fmla="*/ 2147483647 h 169"/>
              <a:gd name="T38" fmla="*/ 2147483647 w 332"/>
              <a:gd name="T39" fmla="*/ 2147483647 h 169"/>
              <a:gd name="T40" fmla="*/ 2147483647 w 332"/>
              <a:gd name="T41" fmla="*/ 2147483647 h 169"/>
              <a:gd name="T42" fmla="*/ 2147483647 w 332"/>
              <a:gd name="T43" fmla="*/ 0 h 169"/>
              <a:gd name="T44" fmla="*/ 2147483647 w 332"/>
              <a:gd name="T45" fmla="*/ 2147483647 h 169"/>
              <a:gd name="T46" fmla="*/ 2147483647 w 332"/>
              <a:gd name="T47" fmla="*/ 2147483647 h 169"/>
              <a:gd name="T48" fmla="*/ 2147483647 w 332"/>
              <a:gd name="T49" fmla="*/ 2147483647 h 169"/>
              <a:gd name="T50" fmla="*/ 2147483647 w 332"/>
              <a:gd name="T51" fmla="*/ 2147483647 h 169"/>
              <a:gd name="T52" fmla="*/ 2147483647 w 332"/>
              <a:gd name="T53" fmla="*/ 2147483647 h 169"/>
              <a:gd name="T54" fmla="*/ 2147483647 w 332"/>
              <a:gd name="T55" fmla="*/ 2147483647 h 169"/>
              <a:gd name="T56" fmla="*/ 2147483647 w 332"/>
              <a:gd name="T57" fmla="*/ 2147483647 h 169"/>
              <a:gd name="T58" fmla="*/ 2147483647 w 332"/>
              <a:gd name="T59" fmla="*/ 2147483647 h 169"/>
              <a:gd name="T60" fmla="*/ 2147483647 w 332"/>
              <a:gd name="T61" fmla="*/ 2147483647 h 169"/>
              <a:gd name="T62" fmla="*/ 2147483647 w 332"/>
              <a:gd name="T63" fmla="*/ 2147483647 h 169"/>
              <a:gd name="T64" fmla="*/ 2147483647 w 332"/>
              <a:gd name="T65" fmla="*/ 2147483647 h 169"/>
              <a:gd name="T66" fmla="*/ 2147483647 w 332"/>
              <a:gd name="T67" fmla="*/ 2147483647 h 169"/>
              <a:gd name="T68" fmla="*/ 2147483647 w 332"/>
              <a:gd name="T69" fmla="*/ 2147483647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8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985828" y="4173165"/>
            <a:ext cx="125412" cy="122238"/>
          </a:xfrm>
          <a:custGeom>
            <a:avLst/>
            <a:gdLst>
              <a:gd name="T0" fmla="*/ 2147483647 w 286"/>
              <a:gd name="T1" fmla="*/ 2147483647 h 235"/>
              <a:gd name="T2" fmla="*/ 2147483647 w 286"/>
              <a:gd name="T3" fmla="*/ 2147483647 h 235"/>
              <a:gd name="T4" fmla="*/ 2147483647 w 286"/>
              <a:gd name="T5" fmla="*/ 2147483647 h 235"/>
              <a:gd name="T6" fmla="*/ 2147483647 w 286"/>
              <a:gd name="T7" fmla="*/ 2147483647 h 235"/>
              <a:gd name="T8" fmla="*/ 2147483647 w 286"/>
              <a:gd name="T9" fmla="*/ 2147483647 h 235"/>
              <a:gd name="T10" fmla="*/ 2147483647 w 286"/>
              <a:gd name="T11" fmla="*/ 2147483647 h 235"/>
              <a:gd name="T12" fmla="*/ 2147483647 w 286"/>
              <a:gd name="T13" fmla="*/ 2147483647 h 235"/>
              <a:gd name="T14" fmla="*/ 2147483647 w 286"/>
              <a:gd name="T15" fmla="*/ 2147483647 h 235"/>
              <a:gd name="T16" fmla="*/ 2147483647 w 286"/>
              <a:gd name="T17" fmla="*/ 2147483647 h 235"/>
              <a:gd name="T18" fmla="*/ 2147483647 w 286"/>
              <a:gd name="T19" fmla="*/ 2147483647 h 235"/>
              <a:gd name="T20" fmla="*/ 2147483647 w 286"/>
              <a:gd name="T21" fmla="*/ 2147483647 h 235"/>
              <a:gd name="T22" fmla="*/ 2147483647 w 286"/>
              <a:gd name="T23" fmla="*/ 2147483647 h 235"/>
              <a:gd name="T24" fmla="*/ 2147483647 w 286"/>
              <a:gd name="T25" fmla="*/ 2147483647 h 235"/>
              <a:gd name="T26" fmla="*/ 2147483647 w 286"/>
              <a:gd name="T27" fmla="*/ 2147483647 h 235"/>
              <a:gd name="T28" fmla="*/ 2147483647 w 286"/>
              <a:gd name="T29" fmla="*/ 2147483647 h 235"/>
              <a:gd name="T30" fmla="*/ 2147483647 w 286"/>
              <a:gd name="T31" fmla="*/ 2147483647 h 235"/>
              <a:gd name="T32" fmla="*/ 2147483647 w 286"/>
              <a:gd name="T33" fmla="*/ 2147483647 h 235"/>
              <a:gd name="T34" fmla="*/ 2147483647 w 286"/>
              <a:gd name="T35" fmla="*/ 2147483647 h 235"/>
              <a:gd name="T36" fmla="*/ 2147483647 w 286"/>
              <a:gd name="T37" fmla="*/ 2147483647 h 235"/>
              <a:gd name="T38" fmla="*/ 2147483647 w 286"/>
              <a:gd name="T39" fmla="*/ 2147483647 h 235"/>
              <a:gd name="T40" fmla="*/ 2147483647 w 286"/>
              <a:gd name="T41" fmla="*/ 2147483647 h 235"/>
              <a:gd name="T42" fmla="*/ 2147483647 w 286"/>
              <a:gd name="T43" fmla="*/ 2147483647 h 235"/>
              <a:gd name="T44" fmla="*/ 2147483647 w 286"/>
              <a:gd name="T45" fmla="*/ 2147483647 h 235"/>
              <a:gd name="T46" fmla="*/ 2147483647 w 286"/>
              <a:gd name="T47" fmla="*/ 2147483647 h 235"/>
              <a:gd name="T48" fmla="*/ 2147483647 w 286"/>
              <a:gd name="T49" fmla="*/ 2147483647 h 235"/>
              <a:gd name="T50" fmla="*/ 2147483647 w 286"/>
              <a:gd name="T51" fmla="*/ 2147483647 h 235"/>
              <a:gd name="T52" fmla="*/ 2147483647 w 286"/>
              <a:gd name="T53" fmla="*/ 2147483647 h 235"/>
              <a:gd name="T54" fmla="*/ 2147483647 w 286"/>
              <a:gd name="T55" fmla="*/ 2147483647 h 235"/>
              <a:gd name="T56" fmla="*/ 0 w 286"/>
              <a:gd name="T57" fmla="*/ 2147483647 h 235"/>
              <a:gd name="T58" fmla="*/ 2147483647 w 286"/>
              <a:gd name="T59" fmla="*/ 2147483647 h 235"/>
              <a:gd name="T60" fmla="*/ 2147483647 w 286"/>
              <a:gd name="T61" fmla="*/ 2147483647 h 235"/>
              <a:gd name="T62" fmla="*/ 2147483647 w 286"/>
              <a:gd name="T63" fmla="*/ 2147483647 h 235"/>
              <a:gd name="T64" fmla="*/ 2147483647 w 286"/>
              <a:gd name="T65" fmla="*/ 2147483647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9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036628" y="4285878"/>
            <a:ext cx="84137" cy="100012"/>
          </a:xfrm>
          <a:custGeom>
            <a:avLst/>
            <a:gdLst>
              <a:gd name="T0" fmla="*/ 2147483647 w 205"/>
              <a:gd name="T1" fmla="*/ 2147483647 h 191"/>
              <a:gd name="T2" fmla="*/ 2147483647 w 205"/>
              <a:gd name="T3" fmla="*/ 2147483647 h 191"/>
              <a:gd name="T4" fmla="*/ 2147483647 w 205"/>
              <a:gd name="T5" fmla="*/ 2147483647 h 191"/>
              <a:gd name="T6" fmla="*/ 2147483647 w 205"/>
              <a:gd name="T7" fmla="*/ 2147483647 h 191"/>
              <a:gd name="T8" fmla="*/ 2147483647 w 205"/>
              <a:gd name="T9" fmla="*/ 2147483647 h 191"/>
              <a:gd name="T10" fmla="*/ 2147483647 w 205"/>
              <a:gd name="T11" fmla="*/ 2147483647 h 191"/>
              <a:gd name="T12" fmla="*/ 2147483647 w 205"/>
              <a:gd name="T13" fmla="*/ 2147483647 h 191"/>
              <a:gd name="T14" fmla="*/ 2147483647 w 205"/>
              <a:gd name="T15" fmla="*/ 2147483647 h 191"/>
              <a:gd name="T16" fmla="*/ 2147483647 w 205"/>
              <a:gd name="T17" fmla="*/ 2147483647 h 191"/>
              <a:gd name="T18" fmla="*/ 2147483647 w 205"/>
              <a:gd name="T19" fmla="*/ 2147483647 h 191"/>
              <a:gd name="T20" fmla="*/ 2147483647 w 205"/>
              <a:gd name="T21" fmla="*/ 2147483647 h 191"/>
              <a:gd name="T22" fmla="*/ 2147483647 w 205"/>
              <a:gd name="T23" fmla="*/ 2147483647 h 191"/>
              <a:gd name="T24" fmla="*/ 2147483647 w 205"/>
              <a:gd name="T25" fmla="*/ 2147483647 h 191"/>
              <a:gd name="T26" fmla="*/ 2147483647 w 205"/>
              <a:gd name="T27" fmla="*/ 2147483647 h 191"/>
              <a:gd name="T28" fmla="*/ 2147483647 w 205"/>
              <a:gd name="T29" fmla="*/ 2147483647 h 191"/>
              <a:gd name="T30" fmla="*/ 2147483647 w 205"/>
              <a:gd name="T31" fmla="*/ 2147483647 h 191"/>
              <a:gd name="T32" fmla="*/ 2147483647 w 205"/>
              <a:gd name="T33" fmla="*/ 2147483647 h 191"/>
              <a:gd name="T34" fmla="*/ 2147483647 w 205"/>
              <a:gd name="T35" fmla="*/ 2147483647 h 191"/>
              <a:gd name="T36" fmla="*/ 2147483647 w 205"/>
              <a:gd name="T37" fmla="*/ 2147483647 h 191"/>
              <a:gd name="T38" fmla="*/ 2147483647 w 205"/>
              <a:gd name="T39" fmla="*/ 2147483647 h 191"/>
              <a:gd name="T40" fmla="*/ 2147483647 w 205"/>
              <a:gd name="T41" fmla="*/ 2147483647 h 191"/>
              <a:gd name="T42" fmla="*/ 2147483647 w 205"/>
              <a:gd name="T43" fmla="*/ 2147483647 h 191"/>
              <a:gd name="T44" fmla="*/ 2147483647 w 205"/>
              <a:gd name="T45" fmla="*/ 2147483647 h 191"/>
              <a:gd name="T46" fmla="*/ 0 w 205"/>
              <a:gd name="T47" fmla="*/ 2147483647 h 191"/>
              <a:gd name="T48" fmla="*/ 0 w 205"/>
              <a:gd name="T49" fmla="*/ 2147483647 h 191"/>
              <a:gd name="T50" fmla="*/ 2147483647 w 205"/>
              <a:gd name="T51" fmla="*/ 2147483647 h 191"/>
              <a:gd name="T52" fmla="*/ 2147483647 w 205"/>
              <a:gd name="T53" fmla="*/ 2147483647 h 191"/>
              <a:gd name="T54" fmla="*/ 2147483647 w 205"/>
              <a:gd name="T55" fmla="*/ 2147483647 h 191"/>
              <a:gd name="T56" fmla="*/ 2147483647 w 205"/>
              <a:gd name="T57" fmla="*/ 2147483647 h 191"/>
              <a:gd name="T58" fmla="*/ 2147483647 w 205"/>
              <a:gd name="T59" fmla="*/ 0 h 191"/>
              <a:gd name="T60" fmla="*/ 2147483647 w 205"/>
              <a:gd name="T61" fmla="*/ 2147483647 h 191"/>
              <a:gd name="T62" fmla="*/ 2147483647 w 205"/>
              <a:gd name="T63" fmla="*/ 2147483647 h 191"/>
              <a:gd name="T64" fmla="*/ 2147483647 w 205"/>
              <a:gd name="T65" fmla="*/ 2147483647 h 191"/>
              <a:gd name="T66" fmla="*/ 2147483647 w 205"/>
              <a:gd name="T67" fmla="*/ 2147483647 h 191"/>
              <a:gd name="T68" fmla="*/ 2147483647 w 205"/>
              <a:gd name="T69" fmla="*/ 2147483647 h 191"/>
              <a:gd name="T70" fmla="*/ 2147483647 w 205"/>
              <a:gd name="T71" fmla="*/ 2147483647 h 191"/>
              <a:gd name="T72" fmla="*/ 2147483647 w 205"/>
              <a:gd name="T73" fmla="*/ 2147483647 h 191"/>
              <a:gd name="T74" fmla="*/ 2147483647 w 205"/>
              <a:gd name="T75" fmla="*/ 2147483647 h 191"/>
              <a:gd name="T76" fmla="*/ 2147483647 w 205"/>
              <a:gd name="T77" fmla="*/ 2147483647 h 191"/>
              <a:gd name="T78" fmla="*/ 2147483647 w 205"/>
              <a:gd name="T79" fmla="*/ 2147483647 h 191"/>
              <a:gd name="T80" fmla="*/ 2147483647 w 205"/>
              <a:gd name="T81" fmla="*/ 2147483647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0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2117590" y="4339853"/>
            <a:ext cx="142875" cy="79375"/>
          </a:xfrm>
          <a:custGeom>
            <a:avLst/>
            <a:gdLst>
              <a:gd name="T0" fmla="*/ 2147483647 w 329"/>
              <a:gd name="T1" fmla="*/ 2147483647 h 154"/>
              <a:gd name="T2" fmla="*/ 0 w 329"/>
              <a:gd name="T3" fmla="*/ 2147483647 h 154"/>
              <a:gd name="T4" fmla="*/ 2147483647 w 329"/>
              <a:gd name="T5" fmla="*/ 2147483647 h 154"/>
              <a:gd name="T6" fmla="*/ 2147483647 w 329"/>
              <a:gd name="T7" fmla="*/ 2147483647 h 154"/>
              <a:gd name="T8" fmla="*/ 2147483647 w 329"/>
              <a:gd name="T9" fmla="*/ 2147483647 h 154"/>
              <a:gd name="T10" fmla="*/ 2147483647 w 329"/>
              <a:gd name="T11" fmla="*/ 2147483647 h 154"/>
              <a:gd name="T12" fmla="*/ 2147483647 w 329"/>
              <a:gd name="T13" fmla="*/ 2147483647 h 154"/>
              <a:gd name="T14" fmla="*/ 2147483647 w 329"/>
              <a:gd name="T15" fmla="*/ 2147483647 h 154"/>
              <a:gd name="T16" fmla="*/ 2147483647 w 329"/>
              <a:gd name="T17" fmla="*/ 2147483647 h 154"/>
              <a:gd name="T18" fmla="*/ 2147483647 w 329"/>
              <a:gd name="T19" fmla="*/ 2147483647 h 154"/>
              <a:gd name="T20" fmla="*/ 2147483647 w 329"/>
              <a:gd name="T21" fmla="*/ 2147483647 h 154"/>
              <a:gd name="T22" fmla="*/ 2147483647 w 329"/>
              <a:gd name="T23" fmla="*/ 0 h 154"/>
              <a:gd name="T24" fmla="*/ 2147483647 w 329"/>
              <a:gd name="T25" fmla="*/ 0 h 154"/>
              <a:gd name="T26" fmla="*/ 2147483647 w 329"/>
              <a:gd name="T27" fmla="*/ 2147483647 h 154"/>
              <a:gd name="T28" fmla="*/ 2147483647 w 329"/>
              <a:gd name="T29" fmla="*/ 2147483647 h 154"/>
              <a:gd name="T30" fmla="*/ 2147483647 w 329"/>
              <a:gd name="T31" fmla="*/ 2147483647 h 154"/>
              <a:gd name="T32" fmla="*/ 2147483647 w 329"/>
              <a:gd name="T33" fmla="*/ 2147483647 h 154"/>
              <a:gd name="T34" fmla="*/ 2147483647 w 329"/>
              <a:gd name="T35" fmla="*/ 2147483647 h 154"/>
              <a:gd name="T36" fmla="*/ 2147483647 w 329"/>
              <a:gd name="T37" fmla="*/ 2147483647 h 154"/>
              <a:gd name="T38" fmla="*/ 2147483647 w 329"/>
              <a:gd name="T39" fmla="*/ 2147483647 h 154"/>
              <a:gd name="T40" fmla="*/ 2147483647 w 329"/>
              <a:gd name="T41" fmla="*/ 2147483647 h 154"/>
              <a:gd name="T42" fmla="*/ 2147483647 w 329"/>
              <a:gd name="T43" fmla="*/ 2147483647 h 154"/>
              <a:gd name="T44" fmla="*/ 2147483647 w 329"/>
              <a:gd name="T45" fmla="*/ 2147483647 h 154"/>
              <a:gd name="T46" fmla="*/ 2147483647 w 329"/>
              <a:gd name="T47" fmla="*/ 2147483647 h 154"/>
              <a:gd name="T48" fmla="*/ 2147483647 w 329"/>
              <a:gd name="T49" fmla="*/ 2147483647 h 154"/>
              <a:gd name="T50" fmla="*/ 2147483647 w 329"/>
              <a:gd name="T51" fmla="*/ 2147483647 h 154"/>
              <a:gd name="T52" fmla="*/ 2147483647 w 329"/>
              <a:gd name="T53" fmla="*/ 2147483647 h 154"/>
              <a:gd name="T54" fmla="*/ 2147483647 w 329"/>
              <a:gd name="T55" fmla="*/ 2147483647 h 154"/>
              <a:gd name="T56" fmla="*/ 2147483647 w 329"/>
              <a:gd name="T57" fmla="*/ 2147483647 h 154"/>
              <a:gd name="T58" fmla="*/ 2147483647 w 329"/>
              <a:gd name="T59" fmla="*/ 2147483647 h 154"/>
              <a:gd name="T60" fmla="*/ 2147483647 w 329"/>
              <a:gd name="T61" fmla="*/ 2147483647 h 154"/>
              <a:gd name="T62" fmla="*/ 2147483647 w 329"/>
              <a:gd name="T63" fmla="*/ 2147483647 h 154"/>
              <a:gd name="T64" fmla="*/ 2147483647 w 329"/>
              <a:gd name="T65" fmla="*/ 2147483647 h 154"/>
              <a:gd name="T66" fmla="*/ 2147483647 w 329"/>
              <a:gd name="T67" fmla="*/ 2147483647 h 154"/>
              <a:gd name="T68" fmla="*/ 2147483647 w 329"/>
              <a:gd name="T69" fmla="*/ 2147483647 h 154"/>
              <a:gd name="T70" fmla="*/ 2147483647 w 329"/>
              <a:gd name="T71" fmla="*/ 2147483647 h 154"/>
              <a:gd name="T72" fmla="*/ 2147483647 w 329"/>
              <a:gd name="T73" fmla="*/ 2147483647 h 154"/>
              <a:gd name="T74" fmla="*/ 2147483647 w 329"/>
              <a:gd name="T75" fmla="*/ 2147483647 h 154"/>
              <a:gd name="T76" fmla="*/ 2147483647 w 329"/>
              <a:gd name="T77" fmla="*/ 2147483647 h 154"/>
              <a:gd name="T78" fmla="*/ 2147483647 w 329"/>
              <a:gd name="T79" fmla="*/ 2147483647 h 154"/>
              <a:gd name="T80" fmla="*/ 2147483647 w 329"/>
              <a:gd name="T81" fmla="*/ 2147483647 h 154"/>
              <a:gd name="T82" fmla="*/ 2147483647 w 329"/>
              <a:gd name="T83" fmla="*/ 2147483647 h 154"/>
              <a:gd name="T84" fmla="*/ 2147483647 w 329"/>
              <a:gd name="T85" fmla="*/ 2147483647 h 154"/>
              <a:gd name="T86" fmla="*/ 2147483647 w 329"/>
              <a:gd name="T87" fmla="*/ 2147483647 h 154"/>
              <a:gd name="T88" fmla="*/ 2147483647 w 329"/>
              <a:gd name="T89" fmla="*/ 2147483647 h 154"/>
              <a:gd name="T90" fmla="*/ 2147483647 w 329"/>
              <a:gd name="T91" fmla="*/ 2147483647 h 154"/>
              <a:gd name="T92" fmla="*/ 2147483647 w 329"/>
              <a:gd name="T93" fmla="*/ 2147483647 h 154"/>
              <a:gd name="T94" fmla="*/ 2147483647 w 329"/>
              <a:gd name="T95" fmla="*/ 2147483647 h 154"/>
              <a:gd name="T96" fmla="*/ 2147483647 w 329"/>
              <a:gd name="T97" fmla="*/ 2147483647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1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798628" y="5593978"/>
            <a:ext cx="133350" cy="155575"/>
          </a:xfrm>
          <a:custGeom>
            <a:avLst/>
            <a:gdLst>
              <a:gd name="T0" fmla="*/ 2147483647 w 306"/>
              <a:gd name="T1" fmla="*/ 2147483647 h 293"/>
              <a:gd name="T2" fmla="*/ 2147483647 w 306"/>
              <a:gd name="T3" fmla="*/ 2147483647 h 293"/>
              <a:gd name="T4" fmla="*/ 2147483647 w 306"/>
              <a:gd name="T5" fmla="*/ 2147483647 h 293"/>
              <a:gd name="T6" fmla="*/ 2147483647 w 306"/>
              <a:gd name="T7" fmla="*/ 2147483647 h 293"/>
              <a:gd name="T8" fmla="*/ 2147483647 w 306"/>
              <a:gd name="T9" fmla="*/ 2147483647 h 293"/>
              <a:gd name="T10" fmla="*/ 2147483647 w 306"/>
              <a:gd name="T11" fmla="*/ 2147483647 h 293"/>
              <a:gd name="T12" fmla="*/ 2147483647 w 306"/>
              <a:gd name="T13" fmla="*/ 2147483647 h 293"/>
              <a:gd name="T14" fmla="*/ 2147483647 w 306"/>
              <a:gd name="T15" fmla="*/ 2147483647 h 293"/>
              <a:gd name="T16" fmla="*/ 2147483647 w 306"/>
              <a:gd name="T17" fmla="*/ 2147483647 h 293"/>
              <a:gd name="T18" fmla="*/ 2147483647 w 306"/>
              <a:gd name="T19" fmla="*/ 2147483647 h 293"/>
              <a:gd name="T20" fmla="*/ 2147483647 w 306"/>
              <a:gd name="T21" fmla="*/ 2147483647 h 293"/>
              <a:gd name="T22" fmla="*/ 2147483647 w 306"/>
              <a:gd name="T23" fmla="*/ 2147483647 h 293"/>
              <a:gd name="T24" fmla="*/ 2147483647 w 306"/>
              <a:gd name="T25" fmla="*/ 2147483647 h 293"/>
              <a:gd name="T26" fmla="*/ 2147483647 w 306"/>
              <a:gd name="T27" fmla="*/ 2147483647 h 293"/>
              <a:gd name="T28" fmla="*/ 2147483647 w 306"/>
              <a:gd name="T29" fmla="*/ 2147483647 h 293"/>
              <a:gd name="T30" fmla="*/ 2147483647 w 306"/>
              <a:gd name="T31" fmla="*/ 2147483647 h 293"/>
              <a:gd name="T32" fmla="*/ 2147483647 w 306"/>
              <a:gd name="T33" fmla="*/ 2147483647 h 293"/>
              <a:gd name="T34" fmla="*/ 2147483647 w 306"/>
              <a:gd name="T35" fmla="*/ 2147483647 h 293"/>
              <a:gd name="T36" fmla="*/ 2147483647 w 306"/>
              <a:gd name="T37" fmla="*/ 2147483647 h 293"/>
              <a:gd name="T38" fmla="*/ 0 w 306"/>
              <a:gd name="T39" fmla="*/ 2147483647 h 293"/>
              <a:gd name="T40" fmla="*/ 2147483647 w 306"/>
              <a:gd name="T41" fmla="*/ 2147483647 h 293"/>
              <a:gd name="T42" fmla="*/ 2147483647 w 306"/>
              <a:gd name="T43" fmla="*/ 2147483647 h 293"/>
              <a:gd name="T44" fmla="*/ 2147483647 w 306"/>
              <a:gd name="T45" fmla="*/ 2147483647 h 293"/>
              <a:gd name="T46" fmla="*/ 2147483647 w 306"/>
              <a:gd name="T47" fmla="*/ 2147483647 h 293"/>
              <a:gd name="T48" fmla="*/ 2147483647 w 306"/>
              <a:gd name="T49" fmla="*/ 2147483647 h 293"/>
              <a:gd name="T50" fmla="*/ 2147483647 w 306"/>
              <a:gd name="T51" fmla="*/ 0 h 293"/>
              <a:gd name="T52" fmla="*/ 2147483647 w 306"/>
              <a:gd name="T53" fmla="*/ 2147483647 h 293"/>
              <a:gd name="T54" fmla="*/ 2147483647 w 306"/>
              <a:gd name="T55" fmla="*/ 2147483647 h 293"/>
              <a:gd name="T56" fmla="*/ 2147483647 w 306"/>
              <a:gd name="T57" fmla="*/ 2147483647 h 293"/>
              <a:gd name="T58" fmla="*/ 2147483647 w 306"/>
              <a:gd name="T59" fmla="*/ 2147483647 h 293"/>
              <a:gd name="T60" fmla="*/ 2147483647 w 306"/>
              <a:gd name="T61" fmla="*/ 2147483647 h 293"/>
              <a:gd name="T62" fmla="*/ 2147483647 w 306"/>
              <a:gd name="T63" fmla="*/ 2147483647 h 293"/>
              <a:gd name="T64" fmla="*/ 2147483647 w 306"/>
              <a:gd name="T65" fmla="*/ 2147483647 h 293"/>
              <a:gd name="T66" fmla="*/ 2147483647 w 306"/>
              <a:gd name="T67" fmla="*/ 2147483647 h 293"/>
              <a:gd name="T68" fmla="*/ 2147483647 w 306"/>
              <a:gd name="T69" fmla="*/ 2147483647 h 293"/>
              <a:gd name="T70" fmla="*/ 2147483647 w 306"/>
              <a:gd name="T71" fmla="*/ 2147483647 h 293"/>
              <a:gd name="T72" fmla="*/ 2147483647 w 306"/>
              <a:gd name="T73" fmla="*/ 2147483647 h 293"/>
              <a:gd name="T74" fmla="*/ 2147483647 w 306"/>
              <a:gd name="T75" fmla="*/ 2147483647 h 293"/>
              <a:gd name="T76" fmla="*/ 2147483647 w 306"/>
              <a:gd name="T77" fmla="*/ 2147483647 h 293"/>
              <a:gd name="T78" fmla="*/ 2147483647 w 306"/>
              <a:gd name="T79" fmla="*/ 2147483647 h 293"/>
              <a:gd name="T80" fmla="*/ 2147483647 w 306"/>
              <a:gd name="T81" fmla="*/ 2147483647 h 293"/>
              <a:gd name="T82" fmla="*/ 2147483647 w 306"/>
              <a:gd name="T83" fmla="*/ 2147483647 h 293"/>
              <a:gd name="T84" fmla="*/ 2147483647 w 306"/>
              <a:gd name="T85" fmla="*/ 2147483647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2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344853" y="2211015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3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271828" y="2441203"/>
            <a:ext cx="449262" cy="361950"/>
          </a:xfrm>
          <a:custGeom>
            <a:avLst/>
            <a:gdLst>
              <a:gd name="T0" fmla="*/ 2147483647 w 1037"/>
              <a:gd name="T1" fmla="*/ 2147483647 h 690"/>
              <a:gd name="T2" fmla="*/ 2147483647 w 1037"/>
              <a:gd name="T3" fmla="*/ 2147483647 h 690"/>
              <a:gd name="T4" fmla="*/ 2147483647 w 1037"/>
              <a:gd name="T5" fmla="*/ 2147483647 h 690"/>
              <a:gd name="T6" fmla="*/ 2147483647 w 1037"/>
              <a:gd name="T7" fmla="*/ 2147483647 h 690"/>
              <a:gd name="T8" fmla="*/ 2147483647 w 1037"/>
              <a:gd name="T9" fmla="*/ 2147483647 h 690"/>
              <a:gd name="T10" fmla="*/ 2147483647 w 1037"/>
              <a:gd name="T11" fmla="*/ 2147483647 h 690"/>
              <a:gd name="T12" fmla="*/ 2147483647 w 1037"/>
              <a:gd name="T13" fmla="*/ 2147483647 h 690"/>
              <a:gd name="T14" fmla="*/ 2147483647 w 1037"/>
              <a:gd name="T15" fmla="*/ 2147483647 h 690"/>
              <a:gd name="T16" fmla="*/ 2147483647 w 1037"/>
              <a:gd name="T17" fmla="*/ 2147483647 h 690"/>
              <a:gd name="T18" fmla="*/ 0 w 1037"/>
              <a:gd name="T19" fmla="*/ 2147483647 h 690"/>
              <a:gd name="T20" fmla="*/ 2147483647 w 1037"/>
              <a:gd name="T21" fmla="*/ 2147483647 h 690"/>
              <a:gd name="T22" fmla="*/ 2147483647 w 1037"/>
              <a:gd name="T23" fmla="*/ 2147483647 h 690"/>
              <a:gd name="T24" fmla="*/ 2147483647 w 1037"/>
              <a:gd name="T25" fmla="*/ 2147483647 h 690"/>
              <a:gd name="T26" fmla="*/ 2147483647 w 1037"/>
              <a:gd name="T27" fmla="*/ 2147483647 h 690"/>
              <a:gd name="T28" fmla="*/ 2147483647 w 1037"/>
              <a:gd name="T29" fmla="*/ 2147483647 h 690"/>
              <a:gd name="T30" fmla="*/ 2147483647 w 1037"/>
              <a:gd name="T31" fmla="*/ 2147483647 h 690"/>
              <a:gd name="T32" fmla="*/ 2147483647 w 1037"/>
              <a:gd name="T33" fmla="*/ 2147483647 h 690"/>
              <a:gd name="T34" fmla="*/ 2147483647 w 1037"/>
              <a:gd name="T35" fmla="*/ 2147483647 h 690"/>
              <a:gd name="T36" fmla="*/ 2147483647 w 1037"/>
              <a:gd name="T37" fmla="*/ 2147483647 h 690"/>
              <a:gd name="T38" fmla="*/ 2147483647 w 1037"/>
              <a:gd name="T39" fmla="*/ 2147483647 h 690"/>
              <a:gd name="T40" fmla="*/ 2147483647 w 1037"/>
              <a:gd name="T41" fmla="*/ 2147483647 h 690"/>
              <a:gd name="T42" fmla="*/ 2147483647 w 1037"/>
              <a:gd name="T43" fmla="*/ 2147483647 h 690"/>
              <a:gd name="T44" fmla="*/ 2147483647 w 1037"/>
              <a:gd name="T45" fmla="*/ 2147483647 h 690"/>
              <a:gd name="T46" fmla="*/ 2147483647 w 1037"/>
              <a:gd name="T47" fmla="*/ 2147483647 h 690"/>
              <a:gd name="T48" fmla="*/ 2147483647 w 1037"/>
              <a:gd name="T49" fmla="*/ 2147483647 h 690"/>
              <a:gd name="T50" fmla="*/ 2147483647 w 1037"/>
              <a:gd name="T51" fmla="*/ 2147483647 h 690"/>
              <a:gd name="T52" fmla="*/ 2147483647 w 1037"/>
              <a:gd name="T53" fmla="*/ 2147483647 h 690"/>
              <a:gd name="T54" fmla="*/ 2147483647 w 1037"/>
              <a:gd name="T55" fmla="*/ 2147483647 h 690"/>
              <a:gd name="T56" fmla="*/ 2147483647 w 1037"/>
              <a:gd name="T57" fmla="*/ 2147483647 h 690"/>
              <a:gd name="T58" fmla="*/ 2147483647 w 1037"/>
              <a:gd name="T59" fmla="*/ 2147483647 h 690"/>
              <a:gd name="T60" fmla="*/ 2147483647 w 1037"/>
              <a:gd name="T61" fmla="*/ 2147483647 h 690"/>
              <a:gd name="T62" fmla="*/ 2147483647 w 1037"/>
              <a:gd name="T63" fmla="*/ 2147483647 h 690"/>
              <a:gd name="T64" fmla="*/ 2147483647 w 1037"/>
              <a:gd name="T65" fmla="*/ 2147483647 h 690"/>
              <a:gd name="T66" fmla="*/ 2147483647 w 1037"/>
              <a:gd name="T67" fmla="*/ 2147483647 h 690"/>
              <a:gd name="T68" fmla="*/ 2147483647 w 1037"/>
              <a:gd name="T69" fmla="*/ 2147483647 h 690"/>
              <a:gd name="T70" fmla="*/ 2147483647 w 1037"/>
              <a:gd name="T71" fmla="*/ 2147483647 h 690"/>
              <a:gd name="T72" fmla="*/ 2147483647 w 1037"/>
              <a:gd name="T73" fmla="*/ 2147483647 h 690"/>
              <a:gd name="T74" fmla="*/ 2147483647 w 1037"/>
              <a:gd name="T75" fmla="*/ 2147483647 h 690"/>
              <a:gd name="T76" fmla="*/ 2147483647 w 1037"/>
              <a:gd name="T77" fmla="*/ 2147483647 h 690"/>
              <a:gd name="T78" fmla="*/ 2147483647 w 1037"/>
              <a:gd name="T79" fmla="*/ 2147483647 h 690"/>
              <a:gd name="T80" fmla="*/ 2147483647 w 1037"/>
              <a:gd name="T81" fmla="*/ 2147483647 h 690"/>
              <a:gd name="T82" fmla="*/ 2147483647 w 1037"/>
              <a:gd name="T83" fmla="*/ 2147483647 h 690"/>
              <a:gd name="T84" fmla="*/ 2147483647 w 1037"/>
              <a:gd name="T85" fmla="*/ 2147483647 h 690"/>
              <a:gd name="T86" fmla="*/ 2147483647 w 1037"/>
              <a:gd name="T87" fmla="*/ 2147483647 h 690"/>
              <a:gd name="T88" fmla="*/ 2147483647 w 1037"/>
              <a:gd name="T89" fmla="*/ 2147483647 h 690"/>
              <a:gd name="T90" fmla="*/ 2147483647 w 1037"/>
              <a:gd name="T91" fmla="*/ 2147483647 h 690"/>
              <a:gd name="T92" fmla="*/ 2147483647 w 1037"/>
              <a:gd name="T93" fmla="*/ 2147483647 h 690"/>
              <a:gd name="T94" fmla="*/ 2147483647 w 1037"/>
              <a:gd name="T95" fmla="*/ 2147483647 h 690"/>
              <a:gd name="T96" fmla="*/ 2147483647 w 1037"/>
              <a:gd name="T97" fmla="*/ 2147483647 h 690"/>
              <a:gd name="T98" fmla="*/ 2147483647 w 1037"/>
              <a:gd name="T99" fmla="*/ 2147483647 h 690"/>
              <a:gd name="T100" fmla="*/ 2147483647 w 1037"/>
              <a:gd name="T101" fmla="*/ 2147483647 h 690"/>
              <a:gd name="T102" fmla="*/ 2147483647 w 1037"/>
              <a:gd name="T103" fmla="*/ 2147483647 h 690"/>
              <a:gd name="T104" fmla="*/ 2147483647 w 1037"/>
              <a:gd name="T105" fmla="*/ 2147483647 h 690"/>
              <a:gd name="T106" fmla="*/ 2147483647 w 1037"/>
              <a:gd name="T107" fmla="*/ 2147483647 h 690"/>
              <a:gd name="T108" fmla="*/ 2147483647 w 1037"/>
              <a:gd name="T109" fmla="*/ 2147483647 h 690"/>
              <a:gd name="T110" fmla="*/ 2147483647 w 1037"/>
              <a:gd name="T111" fmla="*/ 2147483647 h 690"/>
              <a:gd name="T112" fmla="*/ 2147483647 w 1037"/>
              <a:gd name="T113" fmla="*/ 2147483647 h 690"/>
              <a:gd name="T114" fmla="*/ 2147483647 w 1037"/>
              <a:gd name="T115" fmla="*/ 2147483647 h 690"/>
              <a:gd name="T116" fmla="*/ 2147483647 w 1037"/>
              <a:gd name="T117" fmla="*/ 2147483647 h 690"/>
              <a:gd name="T118" fmla="*/ 2147483647 w 1037"/>
              <a:gd name="T119" fmla="*/ 2147483647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4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611553" y="3282578"/>
            <a:ext cx="49212" cy="90487"/>
          </a:xfrm>
          <a:custGeom>
            <a:avLst/>
            <a:gdLst>
              <a:gd name="T0" fmla="*/ 2147483647 w 120"/>
              <a:gd name="T1" fmla="*/ 2147483647 h 173"/>
              <a:gd name="T2" fmla="*/ 2147483647 w 120"/>
              <a:gd name="T3" fmla="*/ 2147483647 h 173"/>
              <a:gd name="T4" fmla="*/ 2147483647 w 120"/>
              <a:gd name="T5" fmla="*/ 2147483647 h 173"/>
              <a:gd name="T6" fmla="*/ 2147483647 w 120"/>
              <a:gd name="T7" fmla="*/ 2147483647 h 173"/>
              <a:gd name="T8" fmla="*/ 2147483647 w 120"/>
              <a:gd name="T9" fmla="*/ 2147483647 h 173"/>
              <a:gd name="T10" fmla="*/ 2147483647 w 120"/>
              <a:gd name="T11" fmla="*/ 2147483647 h 173"/>
              <a:gd name="T12" fmla="*/ 2147483647 w 120"/>
              <a:gd name="T13" fmla="*/ 2147483647 h 173"/>
              <a:gd name="T14" fmla="*/ 2147483647 w 120"/>
              <a:gd name="T15" fmla="*/ 2147483647 h 173"/>
              <a:gd name="T16" fmla="*/ 2147483647 w 120"/>
              <a:gd name="T17" fmla="*/ 0 h 173"/>
              <a:gd name="T18" fmla="*/ 2147483647 w 120"/>
              <a:gd name="T19" fmla="*/ 0 h 173"/>
              <a:gd name="T20" fmla="*/ 2147483647 w 120"/>
              <a:gd name="T21" fmla="*/ 2147483647 h 173"/>
              <a:gd name="T22" fmla="*/ 2147483647 w 120"/>
              <a:gd name="T23" fmla="*/ 2147483647 h 173"/>
              <a:gd name="T24" fmla="*/ 2147483647 w 120"/>
              <a:gd name="T25" fmla="*/ 2147483647 h 173"/>
              <a:gd name="T26" fmla="*/ 2147483647 w 120"/>
              <a:gd name="T27" fmla="*/ 2147483647 h 173"/>
              <a:gd name="T28" fmla="*/ 2147483647 w 120"/>
              <a:gd name="T29" fmla="*/ 2147483647 h 173"/>
              <a:gd name="T30" fmla="*/ 2147483647 w 120"/>
              <a:gd name="T31" fmla="*/ 2147483647 h 173"/>
              <a:gd name="T32" fmla="*/ 2147483647 w 120"/>
              <a:gd name="T33" fmla="*/ 2147483647 h 173"/>
              <a:gd name="T34" fmla="*/ 2147483647 w 120"/>
              <a:gd name="T35" fmla="*/ 2147483647 h 173"/>
              <a:gd name="T36" fmla="*/ 2147483647 w 120"/>
              <a:gd name="T37" fmla="*/ 2147483647 h 173"/>
              <a:gd name="T38" fmla="*/ 2147483647 w 120"/>
              <a:gd name="T39" fmla="*/ 2147483647 h 173"/>
              <a:gd name="T40" fmla="*/ 2147483647 w 120"/>
              <a:gd name="T41" fmla="*/ 2147483647 h 173"/>
              <a:gd name="T42" fmla="*/ 2147483647 w 120"/>
              <a:gd name="T43" fmla="*/ 2147483647 h 173"/>
              <a:gd name="T44" fmla="*/ 0 w 120"/>
              <a:gd name="T45" fmla="*/ 2147483647 h 173"/>
              <a:gd name="T46" fmla="*/ 2147483647 w 120"/>
              <a:gd name="T47" fmla="*/ 2147483647 h 173"/>
              <a:gd name="T48" fmla="*/ 2147483647 w 120"/>
              <a:gd name="T49" fmla="*/ 2147483647 h 173"/>
              <a:gd name="T50" fmla="*/ 2147483647 w 120"/>
              <a:gd name="T51" fmla="*/ 2147483647 h 173"/>
              <a:gd name="T52" fmla="*/ 2147483647 w 120"/>
              <a:gd name="T53" fmla="*/ 2147483647 h 173"/>
              <a:gd name="T54" fmla="*/ 2147483647 w 120"/>
              <a:gd name="T55" fmla="*/ 2147483647 h 173"/>
              <a:gd name="T56" fmla="*/ 2147483647 w 120"/>
              <a:gd name="T57" fmla="*/ 2147483647 h 173"/>
              <a:gd name="T58" fmla="*/ 2147483647 w 120"/>
              <a:gd name="T59" fmla="*/ 2147483647 h 173"/>
              <a:gd name="T60" fmla="*/ 2147483647 w 120"/>
              <a:gd name="T61" fmla="*/ 2147483647 h 173"/>
              <a:gd name="T62" fmla="*/ 2147483647 w 120"/>
              <a:gd name="T63" fmla="*/ 2147483647 h 173"/>
              <a:gd name="T64" fmla="*/ 2147483647 w 120"/>
              <a:gd name="T65" fmla="*/ 2147483647 h 173"/>
              <a:gd name="T66" fmla="*/ 2147483647 w 120"/>
              <a:gd name="T67" fmla="*/ 2147483647 h 173"/>
              <a:gd name="T68" fmla="*/ 2147483647 w 120"/>
              <a:gd name="T69" fmla="*/ 2147483647 h 173"/>
              <a:gd name="T70" fmla="*/ 2147483647 w 120"/>
              <a:gd name="T71" fmla="*/ 2147483647 h 173"/>
              <a:gd name="T72" fmla="*/ 2147483647 w 120"/>
              <a:gd name="T73" fmla="*/ 2147483647 h 173"/>
              <a:gd name="T74" fmla="*/ 2147483647 w 120"/>
              <a:gd name="T75" fmla="*/ 2147483647 h 173"/>
              <a:gd name="T76" fmla="*/ 2147483647 w 120"/>
              <a:gd name="T77" fmla="*/ 2147483647 h 173"/>
              <a:gd name="T78" fmla="*/ 2147483647 w 120"/>
              <a:gd name="T79" fmla="*/ 2147483647 h 173"/>
              <a:gd name="T80" fmla="*/ 2147483647 w 120"/>
              <a:gd name="T81" fmla="*/ 2147483647 h 173"/>
              <a:gd name="T82" fmla="*/ 2147483647 w 120"/>
              <a:gd name="T83" fmla="*/ 2147483647 h 173"/>
              <a:gd name="T84" fmla="*/ 2147483647 w 120"/>
              <a:gd name="T85" fmla="*/ 2147483647 h 173"/>
              <a:gd name="T86" fmla="*/ 2147483647 w 120"/>
              <a:gd name="T87" fmla="*/ 2147483647 h 173"/>
              <a:gd name="T88" fmla="*/ 2147483647 w 120"/>
              <a:gd name="T89" fmla="*/ 2147483647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5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319453" y="3122240"/>
            <a:ext cx="84137" cy="58738"/>
          </a:xfrm>
          <a:custGeom>
            <a:avLst/>
            <a:gdLst>
              <a:gd name="T0" fmla="*/ 2147483647 w 200"/>
              <a:gd name="T1" fmla="*/ 2147483647 h 98"/>
              <a:gd name="T2" fmla="*/ 2147483647 w 200"/>
              <a:gd name="T3" fmla="*/ 2147483647 h 98"/>
              <a:gd name="T4" fmla="*/ 2147483647 w 200"/>
              <a:gd name="T5" fmla="*/ 2147483647 h 98"/>
              <a:gd name="T6" fmla="*/ 2147483647 w 200"/>
              <a:gd name="T7" fmla="*/ 2147483647 h 98"/>
              <a:gd name="T8" fmla="*/ 2147483647 w 200"/>
              <a:gd name="T9" fmla="*/ 2147483647 h 98"/>
              <a:gd name="T10" fmla="*/ 2147483647 w 200"/>
              <a:gd name="T11" fmla="*/ 2147483647 h 98"/>
              <a:gd name="T12" fmla="*/ 2147483647 w 200"/>
              <a:gd name="T13" fmla="*/ 2147483647 h 98"/>
              <a:gd name="T14" fmla="*/ 2147483647 w 200"/>
              <a:gd name="T15" fmla="*/ 2147483647 h 98"/>
              <a:gd name="T16" fmla="*/ 2147483647 w 200"/>
              <a:gd name="T17" fmla="*/ 2147483647 h 98"/>
              <a:gd name="T18" fmla="*/ 2147483647 w 200"/>
              <a:gd name="T19" fmla="*/ 2147483647 h 98"/>
              <a:gd name="T20" fmla="*/ 2147483647 w 200"/>
              <a:gd name="T21" fmla="*/ 2147483647 h 98"/>
              <a:gd name="T22" fmla="*/ 2147483647 w 200"/>
              <a:gd name="T23" fmla="*/ 2147483647 h 98"/>
              <a:gd name="T24" fmla="*/ 2147483647 w 200"/>
              <a:gd name="T25" fmla="*/ 2147483647 h 98"/>
              <a:gd name="T26" fmla="*/ 2147483647 w 200"/>
              <a:gd name="T27" fmla="*/ 2147483647 h 98"/>
              <a:gd name="T28" fmla="*/ 2147483647 w 200"/>
              <a:gd name="T29" fmla="*/ 2147483647 h 98"/>
              <a:gd name="T30" fmla="*/ 2147483647 w 200"/>
              <a:gd name="T31" fmla="*/ 2147483647 h 98"/>
              <a:gd name="T32" fmla="*/ 2147483647 w 200"/>
              <a:gd name="T33" fmla="*/ 2147483647 h 98"/>
              <a:gd name="T34" fmla="*/ 2147483647 w 200"/>
              <a:gd name="T35" fmla="*/ 2147483647 h 98"/>
              <a:gd name="T36" fmla="*/ 2147483647 w 200"/>
              <a:gd name="T37" fmla="*/ 2147483647 h 98"/>
              <a:gd name="T38" fmla="*/ 2147483647 w 200"/>
              <a:gd name="T39" fmla="*/ 2147483647 h 98"/>
              <a:gd name="T40" fmla="*/ 2147483647 w 200"/>
              <a:gd name="T41" fmla="*/ 2147483647 h 98"/>
              <a:gd name="T42" fmla="*/ 2147483647 w 200"/>
              <a:gd name="T43" fmla="*/ 2147483647 h 98"/>
              <a:gd name="T44" fmla="*/ 2147483647 w 200"/>
              <a:gd name="T45" fmla="*/ 2147483647 h 98"/>
              <a:gd name="T46" fmla="*/ 2147483647 w 200"/>
              <a:gd name="T47" fmla="*/ 2147483647 h 98"/>
              <a:gd name="T48" fmla="*/ 2147483647 w 200"/>
              <a:gd name="T49" fmla="*/ 2147483647 h 98"/>
              <a:gd name="T50" fmla="*/ 2147483647 w 200"/>
              <a:gd name="T51" fmla="*/ 2147483647 h 98"/>
              <a:gd name="T52" fmla="*/ 2147483647 w 200"/>
              <a:gd name="T53" fmla="*/ 2147483647 h 98"/>
              <a:gd name="T54" fmla="*/ 2147483647 w 200"/>
              <a:gd name="T55" fmla="*/ 2147483647 h 98"/>
              <a:gd name="T56" fmla="*/ 2147483647 w 200"/>
              <a:gd name="T57" fmla="*/ 2147483647 h 98"/>
              <a:gd name="T58" fmla="*/ 2147483647 w 200"/>
              <a:gd name="T59" fmla="*/ 2147483647 h 98"/>
              <a:gd name="T60" fmla="*/ 2147483647 w 200"/>
              <a:gd name="T61" fmla="*/ 2147483647 h 98"/>
              <a:gd name="T62" fmla="*/ 0 w 200"/>
              <a:gd name="T63" fmla="*/ 2147483647 h 98"/>
              <a:gd name="T64" fmla="*/ 2147483647 w 200"/>
              <a:gd name="T65" fmla="*/ 2147483647 h 98"/>
              <a:gd name="T66" fmla="*/ 2147483647 w 200"/>
              <a:gd name="T67" fmla="*/ 2147483647 h 98"/>
              <a:gd name="T68" fmla="*/ 2147483647 w 200"/>
              <a:gd name="T69" fmla="*/ 2147483647 h 98"/>
              <a:gd name="T70" fmla="*/ 2147483647 w 200"/>
              <a:gd name="T71" fmla="*/ 2147483647 h 98"/>
              <a:gd name="T72" fmla="*/ 2147483647 w 200"/>
              <a:gd name="T73" fmla="*/ 2147483647 h 98"/>
              <a:gd name="T74" fmla="*/ 2147483647 w 200"/>
              <a:gd name="T75" fmla="*/ 2147483647 h 98"/>
              <a:gd name="T76" fmla="*/ 2147483647 w 200"/>
              <a:gd name="T77" fmla="*/ 2147483647 h 98"/>
              <a:gd name="T78" fmla="*/ 2147483647 w 200"/>
              <a:gd name="T79" fmla="*/ 2147483647 h 98"/>
              <a:gd name="T80" fmla="*/ 2147483647 w 200"/>
              <a:gd name="T81" fmla="*/ 2147483647 h 98"/>
              <a:gd name="T82" fmla="*/ 2147483647 w 200"/>
              <a:gd name="T83" fmla="*/ 2147483647 h 98"/>
              <a:gd name="T84" fmla="*/ 2147483647 w 200"/>
              <a:gd name="T85" fmla="*/ 2147483647 h 98"/>
              <a:gd name="T86" fmla="*/ 2147483647 w 200"/>
              <a:gd name="T87" fmla="*/ 0 h 98"/>
              <a:gd name="T88" fmla="*/ 2147483647 w 200"/>
              <a:gd name="T89" fmla="*/ 2147483647 h 98"/>
              <a:gd name="T90" fmla="*/ 2147483647 w 200"/>
              <a:gd name="T91" fmla="*/ 2147483647 h 98"/>
              <a:gd name="T92" fmla="*/ 2147483647 w 200"/>
              <a:gd name="T93" fmla="*/ 2147483647 h 98"/>
              <a:gd name="T94" fmla="*/ 2147483647 w 200"/>
              <a:gd name="T95" fmla="*/ 2147483647 h 98"/>
              <a:gd name="T96" fmla="*/ 2147483647 w 200"/>
              <a:gd name="T97" fmla="*/ 2147483647 h 98"/>
              <a:gd name="T98" fmla="*/ 2147483647 w 200"/>
              <a:gd name="T99" fmla="*/ 2147483647 h 98"/>
              <a:gd name="T100" fmla="*/ 2147483647 w 200"/>
              <a:gd name="T101" fmla="*/ 2147483647 h 98"/>
              <a:gd name="T102" fmla="*/ 2147483647 w 200"/>
              <a:gd name="T103" fmla="*/ 2147483647 h 98"/>
              <a:gd name="T104" fmla="*/ 2147483647 w 200"/>
              <a:gd name="T105" fmla="*/ 2147483647 h 98"/>
              <a:gd name="T106" fmla="*/ 2147483647 w 200"/>
              <a:gd name="T107" fmla="*/ 2147483647 h 98"/>
              <a:gd name="T108" fmla="*/ 2147483647 w 200"/>
              <a:gd name="T109" fmla="*/ 2147483647 h 98"/>
              <a:gd name="T110" fmla="*/ 2147483647 w 200"/>
              <a:gd name="T111" fmla="*/ 2147483647 h 98"/>
              <a:gd name="T112" fmla="*/ 2147483647 w 200"/>
              <a:gd name="T113" fmla="*/ 2147483647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06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257540" y="2941265"/>
            <a:ext cx="84138" cy="73025"/>
          </a:xfrm>
          <a:custGeom>
            <a:avLst/>
            <a:gdLst>
              <a:gd name="T0" fmla="*/ 0 w 186"/>
              <a:gd name="T1" fmla="*/ 2147483647 h 142"/>
              <a:gd name="T2" fmla="*/ 2147483647 w 186"/>
              <a:gd name="T3" fmla="*/ 2147483647 h 142"/>
              <a:gd name="T4" fmla="*/ 2147483647 w 186"/>
              <a:gd name="T5" fmla="*/ 2147483647 h 142"/>
              <a:gd name="T6" fmla="*/ 2147483647 w 186"/>
              <a:gd name="T7" fmla="*/ 2147483647 h 142"/>
              <a:gd name="T8" fmla="*/ 2147483647 w 186"/>
              <a:gd name="T9" fmla="*/ 2147483647 h 142"/>
              <a:gd name="T10" fmla="*/ 2147483647 w 186"/>
              <a:gd name="T11" fmla="*/ 2147483647 h 142"/>
              <a:gd name="T12" fmla="*/ 2147483647 w 186"/>
              <a:gd name="T13" fmla="*/ 2147483647 h 142"/>
              <a:gd name="T14" fmla="*/ 2147483647 w 186"/>
              <a:gd name="T15" fmla="*/ 2147483647 h 142"/>
              <a:gd name="T16" fmla="*/ 2147483647 w 186"/>
              <a:gd name="T17" fmla="*/ 2147483647 h 142"/>
              <a:gd name="T18" fmla="*/ 2147483647 w 186"/>
              <a:gd name="T19" fmla="*/ 2147483647 h 142"/>
              <a:gd name="T20" fmla="*/ 2147483647 w 186"/>
              <a:gd name="T21" fmla="*/ 2147483647 h 142"/>
              <a:gd name="T22" fmla="*/ 2147483647 w 186"/>
              <a:gd name="T23" fmla="*/ 2147483647 h 142"/>
              <a:gd name="T24" fmla="*/ 2147483647 w 186"/>
              <a:gd name="T25" fmla="*/ 2147483647 h 142"/>
              <a:gd name="T26" fmla="*/ 2147483647 w 186"/>
              <a:gd name="T27" fmla="*/ 2147483647 h 142"/>
              <a:gd name="T28" fmla="*/ 2147483647 w 186"/>
              <a:gd name="T29" fmla="*/ 2147483647 h 142"/>
              <a:gd name="T30" fmla="*/ 2147483647 w 186"/>
              <a:gd name="T31" fmla="*/ 2147483647 h 142"/>
              <a:gd name="T32" fmla="*/ 2147483647 w 186"/>
              <a:gd name="T33" fmla="*/ 2147483647 h 142"/>
              <a:gd name="T34" fmla="*/ 2147483647 w 186"/>
              <a:gd name="T35" fmla="*/ 2147483647 h 142"/>
              <a:gd name="T36" fmla="*/ 2147483647 w 186"/>
              <a:gd name="T37" fmla="*/ 2147483647 h 142"/>
              <a:gd name="T38" fmla="*/ 2147483647 w 186"/>
              <a:gd name="T39" fmla="*/ 2147483647 h 142"/>
              <a:gd name="T40" fmla="*/ 2147483647 w 186"/>
              <a:gd name="T41" fmla="*/ 2147483647 h 142"/>
              <a:gd name="T42" fmla="*/ 2147483647 w 186"/>
              <a:gd name="T43" fmla="*/ 2147483647 h 142"/>
              <a:gd name="T44" fmla="*/ 2147483647 w 186"/>
              <a:gd name="T45" fmla="*/ 2147483647 h 142"/>
              <a:gd name="T46" fmla="*/ 2147483647 w 186"/>
              <a:gd name="T47" fmla="*/ 2147483647 h 142"/>
              <a:gd name="T48" fmla="*/ 2147483647 w 186"/>
              <a:gd name="T49" fmla="*/ 2147483647 h 142"/>
              <a:gd name="T50" fmla="*/ 2147483647 w 186"/>
              <a:gd name="T51" fmla="*/ 2147483647 h 142"/>
              <a:gd name="T52" fmla="*/ 2147483647 w 186"/>
              <a:gd name="T53" fmla="*/ 2147483647 h 142"/>
              <a:gd name="T54" fmla="*/ 2147483647 w 186"/>
              <a:gd name="T55" fmla="*/ 2147483647 h 142"/>
              <a:gd name="T56" fmla="*/ 2147483647 w 186"/>
              <a:gd name="T57" fmla="*/ 2147483647 h 142"/>
              <a:gd name="T58" fmla="*/ 2147483647 w 186"/>
              <a:gd name="T59" fmla="*/ 2147483647 h 142"/>
              <a:gd name="T60" fmla="*/ 2147483647 w 186"/>
              <a:gd name="T61" fmla="*/ 2147483647 h 142"/>
              <a:gd name="T62" fmla="*/ 2147483647 w 186"/>
              <a:gd name="T63" fmla="*/ 2147483647 h 142"/>
              <a:gd name="T64" fmla="*/ 2147483647 w 186"/>
              <a:gd name="T65" fmla="*/ 2147483647 h 142"/>
              <a:gd name="T66" fmla="*/ 2147483647 w 186"/>
              <a:gd name="T67" fmla="*/ 2147483647 h 142"/>
              <a:gd name="T68" fmla="*/ 2147483647 w 186"/>
              <a:gd name="T69" fmla="*/ 2147483647 h 142"/>
              <a:gd name="T70" fmla="*/ 2147483647 w 186"/>
              <a:gd name="T71" fmla="*/ 2147483647 h 142"/>
              <a:gd name="T72" fmla="*/ 2147483647 w 186"/>
              <a:gd name="T73" fmla="*/ 2147483647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07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238490" y="3004765"/>
            <a:ext cx="84138" cy="57150"/>
          </a:xfrm>
          <a:custGeom>
            <a:avLst/>
            <a:gdLst>
              <a:gd name="T0" fmla="*/ 2147483647 w 192"/>
              <a:gd name="T1" fmla="*/ 2147483647 h 105"/>
              <a:gd name="T2" fmla="*/ 2147483647 w 192"/>
              <a:gd name="T3" fmla="*/ 2147483647 h 105"/>
              <a:gd name="T4" fmla="*/ 2147483647 w 192"/>
              <a:gd name="T5" fmla="*/ 2147483647 h 105"/>
              <a:gd name="T6" fmla="*/ 2147483647 w 192"/>
              <a:gd name="T7" fmla="*/ 2147483647 h 105"/>
              <a:gd name="T8" fmla="*/ 2147483647 w 192"/>
              <a:gd name="T9" fmla="*/ 2147483647 h 105"/>
              <a:gd name="T10" fmla="*/ 2147483647 w 192"/>
              <a:gd name="T11" fmla="*/ 2147483647 h 105"/>
              <a:gd name="T12" fmla="*/ 2147483647 w 192"/>
              <a:gd name="T13" fmla="*/ 2147483647 h 105"/>
              <a:gd name="T14" fmla="*/ 2147483647 w 192"/>
              <a:gd name="T15" fmla="*/ 2147483647 h 105"/>
              <a:gd name="T16" fmla="*/ 2147483647 w 192"/>
              <a:gd name="T17" fmla="*/ 2147483647 h 105"/>
              <a:gd name="T18" fmla="*/ 2147483647 w 192"/>
              <a:gd name="T19" fmla="*/ 2147483647 h 105"/>
              <a:gd name="T20" fmla="*/ 2147483647 w 192"/>
              <a:gd name="T21" fmla="*/ 2147483647 h 105"/>
              <a:gd name="T22" fmla="*/ 2147483647 w 192"/>
              <a:gd name="T23" fmla="*/ 2147483647 h 105"/>
              <a:gd name="T24" fmla="*/ 2147483647 w 192"/>
              <a:gd name="T25" fmla="*/ 2147483647 h 105"/>
              <a:gd name="T26" fmla="*/ 2147483647 w 192"/>
              <a:gd name="T27" fmla="*/ 2147483647 h 105"/>
              <a:gd name="T28" fmla="*/ 2147483647 w 192"/>
              <a:gd name="T29" fmla="*/ 2147483647 h 105"/>
              <a:gd name="T30" fmla="*/ 2147483647 w 192"/>
              <a:gd name="T31" fmla="*/ 2147483647 h 105"/>
              <a:gd name="T32" fmla="*/ 2147483647 w 192"/>
              <a:gd name="T33" fmla="*/ 2147483647 h 105"/>
              <a:gd name="T34" fmla="*/ 2147483647 w 192"/>
              <a:gd name="T35" fmla="*/ 2147483647 h 105"/>
              <a:gd name="T36" fmla="*/ 0 w 192"/>
              <a:gd name="T37" fmla="*/ 2147483647 h 105"/>
              <a:gd name="T38" fmla="*/ 0 w 192"/>
              <a:gd name="T39" fmla="*/ 2147483647 h 105"/>
              <a:gd name="T40" fmla="*/ 2147483647 w 192"/>
              <a:gd name="T41" fmla="*/ 2147483647 h 105"/>
              <a:gd name="T42" fmla="*/ 2147483647 w 192"/>
              <a:gd name="T43" fmla="*/ 2147483647 h 105"/>
              <a:gd name="T44" fmla="*/ 2147483647 w 192"/>
              <a:gd name="T45" fmla="*/ 2147483647 h 105"/>
              <a:gd name="T46" fmla="*/ 2147483647 w 192"/>
              <a:gd name="T47" fmla="*/ 0 h 105"/>
              <a:gd name="T48" fmla="*/ 2147483647 w 192"/>
              <a:gd name="T49" fmla="*/ 2147483647 h 105"/>
              <a:gd name="T50" fmla="*/ 2147483647 w 192"/>
              <a:gd name="T51" fmla="*/ 2147483647 h 105"/>
              <a:gd name="T52" fmla="*/ 2147483647 w 192"/>
              <a:gd name="T53" fmla="*/ 2147483647 h 105"/>
              <a:gd name="T54" fmla="*/ 2147483647 w 192"/>
              <a:gd name="T55" fmla="*/ 2147483647 h 105"/>
              <a:gd name="T56" fmla="*/ 2147483647 w 192"/>
              <a:gd name="T57" fmla="*/ 2147483647 h 105"/>
              <a:gd name="T58" fmla="*/ 2147483647 w 192"/>
              <a:gd name="T59" fmla="*/ 2147483647 h 105"/>
              <a:gd name="T60" fmla="*/ 2147483647 w 192"/>
              <a:gd name="T61" fmla="*/ 2147483647 h 105"/>
              <a:gd name="T62" fmla="*/ 2147483647 w 192"/>
              <a:gd name="T63" fmla="*/ 2147483647 h 105"/>
              <a:gd name="T64" fmla="*/ 2147483647 w 192"/>
              <a:gd name="T65" fmla="*/ 2147483647 h 105"/>
              <a:gd name="T66" fmla="*/ 2147483647 w 192"/>
              <a:gd name="T67" fmla="*/ 2147483647 h 105"/>
              <a:gd name="T68" fmla="*/ 2147483647 w 192"/>
              <a:gd name="T69" fmla="*/ 2147483647 h 105"/>
              <a:gd name="T70" fmla="*/ 2147483647 w 192"/>
              <a:gd name="T71" fmla="*/ 2147483647 h 105"/>
              <a:gd name="T72" fmla="*/ 2147483647 w 192"/>
              <a:gd name="T73" fmla="*/ 2147483647 h 105"/>
              <a:gd name="T74" fmla="*/ 2147483647 w 192"/>
              <a:gd name="T75" fmla="*/ 2147483647 h 105"/>
              <a:gd name="T76" fmla="*/ 2147483647 w 192"/>
              <a:gd name="T77" fmla="*/ 2147483647 h 105"/>
              <a:gd name="T78" fmla="*/ 2147483647 w 192"/>
              <a:gd name="T79" fmla="*/ 2147483647 h 105"/>
              <a:gd name="T80" fmla="*/ 2147483647 w 192"/>
              <a:gd name="T81" fmla="*/ 2147483647 h 105"/>
              <a:gd name="T82" fmla="*/ 2147483647 w 192"/>
              <a:gd name="T83" fmla="*/ 2147483647 h 105"/>
              <a:gd name="T84" fmla="*/ 2147483647 w 192"/>
              <a:gd name="T85" fmla="*/ 2147483647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08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998903" y="3558803"/>
            <a:ext cx="33337" cy="131762"/>
          </a:xfrm>
          <a:custGeom>
            <a:avLst/>
            <a:gdLst>
              <a:gd name="T0" fmla="*/ 2147483647 w 80"/>
              <a:gd name="T1" fmla="*/ 0 h 254"/>
              <a:gd name="T2" fmla="*/ 2147483647 w 80"/>
              <a:gd name="T3" fmla="*/ 2147483647 h 254"/>
              <a:gd name="T4" fmla="*/ 2147483647 w 80"/>
              <a:gd name="T5" fmla="*/ 2147483647 h 254"/>
              <a:gd name="T6" fmla="*/ 2147483647 w 80"/>
              <a:gd name="T7" fmla="*/ 2147483647 h 254"/>
              <a:gd name="T8" fmla="*/ 2147483647 w 80"/>
              <a:gd name="T9" fmla="*/ 2147483647 h 254"/>
              <a:gd name="T10" fmla="*/ 2147483647 w 80"/>
              <a:gd name="T11" fmla="*/ 2147483647 h 254"/>
              <a:gd name="T12" fmla="*/ 2147483647 w 80"/>
              <a:gd name="T13" fmla="*/ 2147483647 h 254"/>
              <a:gd name="T14" fmla="*/ 2147483647 w 80"/>
              <a:gd name="T15" fmla="*/ 2147483647 h 254"/>
              <a:gd name="T16" fmla="*/ 2147483647 w 80"/>
              <a:gd name="T17" fmla="*/ 2147483647 h 254"/>
              <a:gd name="T18" fmla="*/ 2147483647 w 80"/>
              <a:gd name="T19" fmla="*/ 2147483647 h 254"/>
              <a:gd name="T20" fmla="*/ 2147483647 w 80"/>
              <a:gd name="T21" fmla="*/ 2147483647 h 254"/>
              <a:gd name="T22" fmla="*/ 2147483647 w 80"/>
              <a:gd name="T23" fmla="*/ 2147483647 h 254"/>
              <a:gd name="T24" fmla="*/ 2147483647 w 80"/>
              <a:gd name="T25" fmla="*/ 2147483647 h 254"/>
              <a:gd name="T26" fmla="*/ 2147483647 w 80"/>
              <a:gd name="T27" fmla="*/ 2147483647 h 254"/>
              <a:gd name="T28" fmla="*/ 2147483647 w 80"/>
              <a:gd name="T29" fmla="*/ 2147483647 h 254"/>
              <a:gd name="T30" fmla="*/ 2147483647 w 80"/>
              <a:gd name="T31" fmla="*/ 2147483647 h 254"/>
              <a:gd name="T32" fmla="*/ 0 w 80"/>
              <a:gd name="T33" fmla="*/ 2147483647 h 254"/>
              <a:gd name="T34" fmla="*/ 2147483647 w 80"/>
              <a:gd name="T35" fmla="*/ 2147483647 h 254"/>
              <a:gd name="T36" fmla="*/ 2147483647 w 80"/>
              <a:gd name="T37" fmla="*/ 2147483647 h 254"/>
              <a:gd name="T38" fmla="*/ 2147483647 w 80"/>
              <a:gd name="T39" fmla="*/ 2147483647 h 254"/>
              <a:gd name="T40" fmla="*/ 2147483647 w 80"/>
              <a:gd name="T41" fmla="*/ 2147483647 h 254"/>
              <a:gd name="T42" fmla="*/ 2147483647 w 80"/>
              <a:gd name="T43" fmla="*/ 2147483647 h 254"/>
              <a:gd name="T44" fmla="*/ 2147483647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9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948103" y="3611190"/>
            <a:ext cx="69850" cy="130175"/>
          </a:xfrm>
          <a:custGeom>
            <a:avLst/>
            <a:gdLst>
              <a:gd name="T0" fmla="*/ 2147483647 w 167"/>
              <a:gd name="T1" fmla="*/ 0 h 259"/>
              <a:gd name="T2" fmla="*/ 2147483647 w 167"/>
              <a:gd name="T3" fmla="*/ 2147483647 h 259"/>
              <a:gd name="T4" fmla="*/ 2147483647 w 167"/>
              <a:gd name="T5" fmla="*/ 2147483647 h 259"/>
              <a:gd name="T6" fmla="*/ 2147483647 w 167"/>
              <a:gd name="T7" fmla="*/ 2147483647 h 259"/>
              <a:gd name="T8" fmla="*/ 2147483647 w 167"/>
              <a:gd name="T9" fmla="*/ 2147483647 h 259"/>
              <a:gd name="T10" fmla="*/ 2147483647 w 167"/>
              <a:gd name="T11" fmla="*/ 2147483647 h 259"/>
              <a:gd name="T12" fmla="*/ 2147483647 w 167"/>
              <a:gd name="T13" fmla="*/ 2147483647 h 259"/>
              <a:gd name="T14" fmla="*/ 2147483647 w 167"/>
              <a:gd name="T15" fmla="*/ 2147483647 h 259"/>
              <a:gd name="T16" fmla="*/ 2147483647 w 167"/>
              <a:gd name="T17" fmla="*/ 2147483647 h 259"/>
              <a:gd name="T18" fmla="*/ 2147483647 w 167"/>
              <a:gd name="T19" fmla="*/ 2147483647 h 259"/>
              <a:gd name="T20" fmla="*/ 2147483647 w 167"/>
              <a:gd name="T21" fmla="*/ 2147483647 h 259"/>
              <a:gd name="T22" fmla="*/ 2147483647 w 167"/>
              <a:gd name="T23" fmla="*/ 2147483647 h 259"/>
              <a:gd name="T24" fmla="*/ 2147483647 w 167"/>
              <a:gd name="T25" fmla="*/ 2147483647 h 259"/>
              <a:gd name="T26" fmla="*/ 2147483647 w 167"/>
              <a:gd name="T27" fmla="*/ 2147483647 h 259"/>
              <a:gd name="T28" fmla="*/ 2147483647 w 167"/>
              <a:gd name="T29" fmla="*/ 2147483647 h 259"/>
              <a:gd name="T30" fmla="*/ 2147483647 w 167"/>
              <a:gd name="T31" fmla="*/ 2147483647 h 259"/>
              <a:gd name="T32" fmla="*/ 2147483647 w 167"/>
              <a:gd name="T33" fmla="*/ 2147483647 h 259"/>
              <a:gd name="T34" fmla="*/ 2147483647 w 167"/>
              <a:gd name="T35" fmla="*/ 2147483647 h 259"/>
              <a:gd name="T36" fmla="*/ 2147483647 w 167"/>
              <a:gd name="T37" fmla="*/ 2147483647 h 259"/>
              <a:gd name="T38" fmla="*/ 2147483647 w 167"/>
              <a:gd name="T39" fmla="*/ 2147483647 h 259"/>
              <a:gd name="T40" fmla="*/ 2147483647 w 167"/>
              <a:gd name="T41" fmla="*/ 2147483647 h 259"/>
              <a:gd name="T42" fmla="*/ 2147483647 w 167"/>
              <a:gd name="T43" fmla="*/ 2147483647 h 259"/>
              <a:gd name="T44" fmla="*/ 2147483647 w 167"/>
              <a:gd name="T45" fmla="*/ 2147483647 h 259"/>
              <a:gd name="T46" fmla="*/ 2147483647 w 167"/>
              <a:gd name="T47" fmla="*/ 2147483647 h 259"/>
              <a:gd name="T48" fmla="*/ 2147483647 w 167"/>
              <a:gd name="T49" fmla="*/ 2147483647 h 259"/>
              <a:gd name="T50" fmla="*/ 2147483647 w 167"/>
              <a:gd name="T51" fmla="*/ 2147483647 h 259"/>
              <a:gd name="T52" fmla="*/ 2147483647 w 167"/>
              <a:gd name="T53" fmla="*/ 2147483647 h 259"/>
              <a:gd name="T54" fmla="*/ 2147483647 w 167"/>
              <a:gd name="T55" fmla="*/ 2147483647 h 259"/>
              <a:gd name="T56" fmla="*/ 2147483647 w 167"/>
              <a:gd name="T57" fmla="*/ 2147483647 h 259"/>
              <a:gd name="T58" fmla="*/ 2147483647 w 167"/>
              <a:gd name="T59" fmla="*/ 2147483647 h 259"/>
              <a:gd name="T60" fmla="*/ 2147483647 w 167"/>
              <a:gd name="T61" fmla="*/ 2147483647 h 259"/>
              <a:gd name="T62" fmla="*/ 2147483647 w 167"/>
              <a:gd name="T63" fmla="*/ 2147483647 h 259"/>
              <a:gd name="T64" fmla="*/ 2147483647 w 167"/>
              <a:gd name="T65" fmla="*/ 2147483647 h 259"/>
              <a:gd name="T66" fmla="*/ 0 w 167"/>
              <a:gd name="T67" fmla="*/ 2147483647 h 259"/>
              <a:gd name="T68" fmla="*/ 0 w 167"/>
              <a:gd name="T69" fmla="*/ 2147483647 h 259"/>
              <a:gd name="T70" fmla="*/ 0 w 167"/>
              <a:gd name="T71" fmla="*/ 2147483647 h 259"/>
              <a:gd name="T72" fmla="*/ 2147483647 w 167"/>
              <a:gd name="T73" fmla="*/ 2147483647 h 259"/>
              <a:gd name="T74" fmla="*/ 2147483647 w 167"/>
              <a:gd name="T75" fmla="*/ 2147483647 h 259"/>
              <a:gd name="T76" fmla="*/ 2147483647 w 167"/>
              <a:gd name="T77" fmla="*/ 2147483647 h 259"/>
              <a:gd name="T78" fmla="*/ 2147483647 w 167"/>
              <a:gd name="T79" fmla="*/ 2147483647 h 259"/>
              <a:gd name="T80" fmla="*/ 2147483647 w 167"/>
              <a:gd name="T81" fmla="*/ 2147483647 h 259"/>
              <a:gd name="T82" fmla="*/ 2147483647 w 167"/>
              <a:gd name="T83" fmla="*/ 2147483647 h 259"/>
              <a:gd name="T84" fmla="*/ 2147483647 w 167"/>
              <a:gd name="T85" fmla="*/ 2147483647 h 259"/>
              <a:gd name="T86" fmla="*/ 2147483647 w 167"/>
              <a:gd name="T87" fmla="*/ 2147483647 h 259"/>
              <a:gd name="T88" fmla="*/ 2147483647 w 167"/>
              <a:gd name="T89" fmla="*/ 2147483647 h 259"/>
              <a:gd name="T90" fmla="*/ 2147483647 w 167"/>
              <a:gd name="T91" fmla="*/ 2147483647 h 259"/>
              <a:gd name="T92" fmla="*/ 2147483647 w 167"/>
              <a:gd name="T93" fmla="*/ 2147483647 h 259"/>
              <a:gd name="T94" fmla="*/ 2147483647 w 167"/>
              <a:gd name="T95" fmla="*/ 2147483647 h 259"/>
              <a:gd name="T96" fmla="*/ 2147483647 w 167"/>
              <a:gd name="T97" fmla="*/ 2147483647 h 259"/>
              <a:gd name="T98" fmla="*/ 2147483647 w 167"/>
              <a:gd name="T99" fmla="*/ 2147483647 h 259"/>
              <a:gd name="T100" fmla="*/ 2147483647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0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949565" y="2865065"/>
            <a:ext cx="96838" cy="144463"/>
          </a:xfrm>
          <a:custGeom>
            <a:avLst/>
            <a:gdLst>
              <a:gd name="T0" fmla="*/ 2147483647 w 225"/>
              <a:gd name="T1" fmla="*/ 2147483647 h 273"/>
              <a:gd name="T2" fmla="*/ 2147483647 w 225"/>
              <a:gd name="T3" fmla="*/ 2147483647 h 273"/>
              <a:gd name="T4" fmla="*/ 2147483647 w 225"/>
              <a:gd name="T5" fmla="*/ 2147483647 h 273"/>
              <a:gd name="T6" fmla="*/ 2147483647 w 225"/>
              <a:gd name="T7" fmla="*/ 2147483647 h 273"/>
              <a:gd name="T8" fmla="*/ 2147483647 w 225"/>
              <a:gd name="T9" fmla="*/ 2147483647 h 273"/>
              <a:gd name="T10" fmla="*/ 2147483647 w 225"/>
              <a:gd name="T11" fmla="*/ 2147483647 h 273"/>
              <a:gd name="T12" fmla="*/ 2147483647 w 225"/>
              <a:gd name="T13" fmla="*/ 2147483647 h 273"/>
              <a:gd name="T14" fmla="*/ 2147483647 w 225"/>
              <a:gd name="T15" fmla="*/ 2147483647 h 273"/>
              <a:gd name="T16" fmla="*/ 2147483647 w 225"/>
              <a:gd name="T17" fmla="*/ 2147483647 h 273"/>
              <a:gd name="T18" fmla="*/ 2147483647 w 225"/>
              <a:gd name="T19" fmla="*/ 2147483647 h 273"/>
              <a:gd name="T20" fmla="*/ 2147483647 w 225"/>
              <a:gd name="T21" fmla="*/ 2147483647 h 273"/>
              <a:gd name="T22" fmla="*/ 2147483647 w 225"/>
              <a:gd name="T23" fmla="*/ 2147483647 h 273"/>
              <a:gd name="T24" fmla="*/ 2147483647 w 225"/>
              <a:gd name="T25" fmla="*/ 2147483647 h 273"/>
              <a:gd name="T26" fmla="*/ 2147483647 w 225"/>
              <a:gd name="T27" fmla="*/ 2147483647 h 273"/>
              <a:gd name="T28" fmla="*/ 2147483647 w 225"/>
              <a:gd name="T29" fmla="*/ 2147483647 h 273"/>
              <a:gd name="T30" fmla="*/ 2147483647 w 225"/>
              <a:gd name="T31" fmla="*/ 2147483647 h 273"/>
              <a:gd name="T32" fmla="*/ 2147483647 w 225"/>
              <a:gd name="T33" fmla="*/ 2147483647 h 273"/>
              <a:gd name="T34" fmla="*/ 2147483647 w 225"/>
              <a:gd name="T35" fmla="*/ 2147483647 h 273"/>
              <a:gd name="T36" fmla="*/ 2147483647 w 225"/>
              <a:gd name="T37" fmla="*/ 2147483647 h 273"/>
              <a:gd name="T38" fmla="*/ 2147483647 w 225"/>
              <a:gd name="T39" fmla="*/ 2147483647 h 273"/>
              <a:gd name="T40" fmla="*/ 0 w 225"/>
              <a:gd name="T41" fmla="*/ 2147483647 h 273"/>
              <a:gd name="T42" fmla="*/ 2147483647 w 225"/>
              <a:gd name="T43" fmla="*/ 2147483647 h 273"/>
              <a:gd name="T44" fmla="*/ 2147483647 w 225"/>
              <a:gd name="T45" fmla="*/ 2147483647 h 273"/>
              <a:gd name="T46" fmla="*/ 2147483647 w 225"/>
              <a:gd name="T47" fmla="*/ 2147483647 h 273"/>
              <a:gd name="T48" fmla="*/ 2147483647 w 225"/>
              <a:gd name="T49" fmla="*/ 2147483647 h 273"/>
              <a:gd name="T50" fmla="*/ 2147483647 w 225"/>
              <a:gd name="T51" fmla="*/ 2147483647 h 273"/>
              <a:gd name="T52" fmla="*/ 2147483647 w 225"/>
              <a:gd name="T53" fmla="*/ 2147483647 h 273"/>
              <a:gd name="T54" fmla="*/ 2147483647 w 225"/>
              <a:gd name="T55" fmla="*/ 2147483647 h 273"/>
              <a:gd name="T56" fmla="*/ 2147483647 w 225"/>
              <a:gd name="T57" fmla="*/ 2147483647 h 273"/>
              <a:gd name="T58" fmla="*/ 2147483647 w 225"/>
              <a:gd name="T59" fmla="*/ 2147483647 h 273"/>
              <a:gd name="T60" fmla="*/ 2147483647 w 225"/>
              <a:gd name="T61" fmla="*/ 2147483647 h 273"/>
              <a:gd name="T62" fmla="*/ 2147483647 w 225"/>
              <a:gd name="T63" fmla="*/ 2147483647 h 273"/>
              <a:gd name="T64" fmla="*/ 2147483647 w 225"/>
              <a:gd name="T65" fmla="*/ 2147483647 h 273"/>
              <a:gd name="T66" fmla="*/ 2147483647 w 225"/>
              <a:gd name="T67" fmla="*/ 2147483647 h 273"/>
              <a:gd name="T68" fmla="*/ 2147483647 w 225"/>
              <a:gd name="T69" fmla="*/ 2147483647 h 273"/>
              <a:gd name="T70" fmla="*/ 2147483647 w 225"/>
              <a:gd name="T71" fmla="*/ 2147483647 h 273"/>
              <a:gd name="T72" fmla="*/ 2147483647 w 225"/>
              <a:gd name="T73" fmla="*/ 2147483647 h 273"/>
              <a:gd name="T74" fmla="*/ 2147483647 w 225"/>
              <a:gd name="T75" fmla="*/ 2147483647 h 273"/>
              <a:gd name="T76" fmla="*/ 2147483647 w 225"/>
              <a:gd name="T77" fmla="*/ 2147483647 h 273"/>
              <a:gd name="T78" fmla="*/ 2147483647 w 225"/>
              <a:gd name="T79" fmla="*/ 2147483647 h 273"/>
              <a:gd name="T80" fmla="*/ 2147483647 w 225"/>
              <a:gd name="T81" fmla="*/ 2147483647 h 273"/>
              <a:gd name="T82" fmla="*/ 2147483647 w 225"/>
              <a:gd name="T83" fmla="*/ 2147483647 h 273"/>
              <a:gd name="T84" fmla="*/ 2147483647 w 225"/>
              <a:gd name="T85" fmla="*/ 2147483647 h 273"/>
              <a:gd name="T86" fmla="*/ 2147483647 w 225"/>
              <a:gd name="T87" fmla="*/ 2147483647 h 273"/>
              <a:gd name="T88" fmla="*/ 2147483647 w 225"/>
              <a:gd name="T89" fmla="*/ 2147483647 h 273"/>
              <a:gd name="T90" fmla="*/ 2147483647 w 225"/>
              <a:gd name="T91" fmla="*/ 2147483647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11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762240" y="3776290"/>
            <a:ext cx="306388" cy="390525"/>
          </a:xfrm>
          <a:custGeom>
            <a:avLst/>
            <a:gdLst>
              <a:gd name="T0" fmla="*/ 2147483647 w 232"/>
              <a:gd name="T1" fmla="*/ 2147483647 h 248"/>
              <a:gd name="T2" fmla="*/ 2147483647 w 232"/>
              <a:gd name="T3" fmla="*/ 2147483647 h 248"/>
              <a:gd name="T4" fmla="*/ 2147483647 w 232"/>
              <a:gd name="T5" fmla="*/ 2147483647 h 248"/>
              <a:gd name="T6" fmla="*/ 2147483647 w 232"/>
              <a:gd name="T7" fmla="*/ 2147483647 h 248"/>
              <a:gd name="T8" fmla="*/ 2147483647 w 232"/>
              <a:gd name="T9" fmla="*/ 2147483647 h 248"/>
              <a:gd name="T10" fmla="*/ 2147483647 w 232"/>
              <a:gd name="T11" fmla="*/ 2147483647 h 248"/>
              <a:gd name="T12" fmla="*/ 2147483647 w 232"/>
              <a:gd name="T13" fmla="*/ 2147483647 h 248"/>
              <a:gd name="T14" fmla="*/ 2147483647 w 232"/>
              <a:gd name="T15" fmla="*/ 2147483647 h 248"/>
              <a:gd name="T16" fmla="*/ 2147483647 w 232"/>
              <a:gd name="T17" fmla="*/ 2147483647 h 248"/>
              <a:gd name="T18" fmla="*/ 2147483647 w 232"/>
              <a:gd name="T19" fmla="*/ 2147483647 h 248"/>
              <a:gd name="T20" fmla="*/ 2147483647 w 232"/>
              <a:gd name="T21" fmla="*/ 2147483647 h 248"/>
              <a:gd name="T22" fmla="*/ 2147483647 w 232"/>
              <a:gd name="T23" fmla="*/ 2147483647 h 248"/>
              <a:gd name="T24" fmla="*/ 2147483647 w 232"/>
              <a:gd name="T25" fmla="*/ 2147483647 h 248"/>
              <a:gd name="T26" fmla="*/ 2147483647 w 232"/>
              <a:gd name="T27" fmla="*/ 2147483647 h 248"/>
              <a:gd name="T28" fmla="*/ 2147483647 w 232"/>
              <a:gd name="T29" fmla="*/ 2147483647 h 248"/>
              <a:gd name="T30" fmla="*/ 2147483647 w 232"/>
              <a:gd name="T31" fmla="*/ 2147483647 h 248"/>
              <a:gd name="T32" fmla="*/ 2147483647 w 232"/>
              <a:gd name="T33" fmla="*/ 2147483647 h 248"/>
              <a:gd name="T34" fmla="*/ 2147483647 w 232"/>
              <a:gd name="T35" fmla="*/ 2147483647 h 248"/>
              <a:gd name="T36" fmla="*/ 2147483647 w 232"/>
              <a:gd name="T37" fmla="*/ 2147483647 h 248"/>
              <a:gd name="T38" fmla="*/ 2147483647 w 232"/>
              <a:gd name="T39" fmla="*/ 2147483647 h 248"/>
              <a:gd name="T40" fmla="*/ 2147483647 w 232"/>
              <a:gd name="T41" fmla="*/ 2147483647 h 248"/>
              <a:gd name="T42" fmla="*/ 2147483647 w 232"/>
              <a:gd name="T43" fmla="*/ 2147483647 h 248"/>
              <a:gd name="T44" fmla="*/ 2147483647 w 232"/>
              <a:gd name="T45" fmla="*/ 2147483647 h 248"/>
              <a:gd name="T46" fmla="*/ 2147483647 w 232"/>
              <a:gd name="T47" fmla="*/ 2147483647 h 248"/>
              <a:gd name="T48" fmla="*/ 2147483647 w 232"/>
              <a:gd name="T49" fmla="*/ 2147483647 h 248"/>
              <a:gd name="T50" fmla="*/ 2147483647 w 232"/>
              <a:gd name="T51" fmla="*/ 2147483647 h 248"/>
              <a:gd name="T52" fmla="*/ 2147483647 w 232"/>
              <a:gd name="T53" fmla="*/ 2147483647 h 248"/>
              <a:gd name="T54" fmla="*/ 2147483647 w 232"/>
              <a:gd name="T55" fmla="*/ 2147483647 h 248"/>
              <a:gd name="T56" fmla="*/ 2147483647 w 232"/>
              <a:gd name="T57" fmla="*/ 2147483647 h 248"/>
              <a:gd name="T58" fmla="*/ 2147483647 w 232"/>
              <a:gd name="T59" fmla="*/ 2147483647 h 248"/>
              <a:gd name="T60" fmla="*/ 2147483647 w 232"/>
              <a:gd name="T61" fmla="*/ 2147483647 h 248"/>
              <a:gd name="T62" fmla="*/ 2147483647 w 232"/>
              <a:gd name="T63" fmla="*/ 2147483647 h 248"/>
              <a:gd name="T64" fmla="*/ 2147483647 w 232"/>
              <a:gd name="T65" fmla="*/ 2147483647 h 248"/>
              <a:gd name="T66" fmla="*/ 2147483647 w 232"/>
              <a:gd name="T67" fmla="*/ 2147483647 h 248"/>
              <a:gd name="T68" fmla="*/ 2147483647 w 232"/>
              <a:gd name="T69" fmla="*/ 2147483647 h 248"/>
              <a:gd name="T70" fmla="*/ 2147483647 w 232"/>
              <a:gd name="T71" fmla="*/ 2147483647 h 248"/>
              <a:gd name="T72" fmla="*/ 2147483647 w 232"/>
              <a:gd name="T73" fmla="*/ 2147483647 h 248"/>
              <a:gd name="T74" fmla="*/ 2147483647 w 232"/>
              <a:gd name="T75" fmla="*/ 2147483647 h 248"/>
              <a:gd name="T76" fmla="*/ 2147483647 w 232"/>
              <a:gd name="T77" fmla="*/ 2147483647 h 248"/>
              <a:gd name="T78" fmla="*/ 2147483647 w 232"/>
              <a:gd name="T79" fmla="*/ 2147483647 h 248"/>
              <a:gd name="T80" fmla="*/ 2147483647 w 232"/>
              <a:gd name="T81" fmla="*/ 2147483647 h 248"/>
              <a:gd name="T82" fmla="*/ 2147483647 w 232"/>
              <a:gd name="T83" fmla="*/ 2147483647 h 248"/>
              <a:gd name="T84" fmla="*/ 2147483647 w 232"/>
              <a:gd name="T85" fmla="*/ 2147483647 h 248"/>
              <a:gd name="T86" fmla="*/ 2147483647 w 232"/>
              <a:gd name="T87" fmla="*/ 2147483647 h 248"/>
              <a:gd name="T88" fmla="*/ 2147483647 w 232"/>
              <a:gd name="T89" fmla="*/ 2147483647 h 248"/>
              <a:gd name="T90" fmla="*/ 2147483647 w 232"/>
              <a:gd name="T91" fmla="*/ 2147483647 h 248"/>
              <a:gd name="T92" fmla="*/ 2147483647 w 232"/>
              <a:gd name="T93" fmla="*/ 2147483647 h 248"/>
              <a:gd name="T94" fmla="*/ 2147483647 w 232"/>
              <a:gd name="T95" fmla="*/ 2147483647 h 248"/>
              <a:gd name="T96" fmla="*/ 2147483647 w 232"/>
              <a:gd name="T97" fmla="*/ 2147483647 h 248"/>
              <a:gd name="T98" fmla="*/ 2147483647 w 232"/>
              <a:gd name="T99" fmla="*/ 2147483647 h 248"/>
              <a:gd name="T100" fmla="*/ 2147483647 w 232"/>
              <a:gd name="T101" fmla="*/ 2147483647 h 248"/>
              <a:gd name="T102" fmla="*/ 2147483647 w 232"/>
              <a:gd name="T103" fmla="*/ 2147483647 h 248"/>
              <a:gd name="T104" fmla="*/ 2147483647 w 232"/>
              <a:gd name="T105" fmla="*/ 2147483647 h 248"/>
              <a:gd name="T106" fmla="*/ 2147483647 w 232"/>
              <a:gd name="T107" fmla="*/ 2147483647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2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878128" y="3836615"/>
            <a:ext cx="414337" cy="468313"/>
          </a:xfrm>
          <a:custGeom>
            <a:avLst/>
            <a:gdLst>
              <a:gd name="T0" fmla="*/ 2147483647 w 948"/>
              <a:gd name="T1" fmla="*/ 2147483647 h 893"/>
              <a:gd name="T2" fmla="*/ 2147483647 w 948"/>
              <a:gd name="T3" fmla="*/ 2147483647 h 893"/>
              <a:gd name="T4" fmla="*/ 2147483647 w 948"/>
              <a:gd name="T5" fmla="*/ 2147483647 h 893"/>
              <a:gd name="T6" fmla="*/ 2147483647 w 948"/>
              <a:gd name="T7" fmla="*/ 2147483647 h 893"/>
              <a:gd name="T8" fmla="*/ 2147483647 w 948"/>
              <a:gd name="T9" fmla="*/ 2147483647 h 893"/>
              <a:gd name="T10" fmla="*/ 2147483647 w 948"/>
              <a:gd name="T11" fmla="*/ 2147483647 h 893"/>
              <a:gd name="T12" fmla="*/ 2147483647 w 948"/>
              <a:gd name="T13" fmla="*/ 2147483647 h 893"/>
              <a:gd name="T14" fmla="*/ 2147483647 w 948"/>
              <a:gd name="T15" fmla="*/ 2147483647 h 893"/>
              <a:gd name="T16" fmla="*/ 2147483647 w 948"/>
              <a:gd name="T17" fmla="*/ 2147483647 h 893"/>
              <a:gd name="T18" fmla="*/ 2147483647 w 948"/>
              <a:gd name="T19" fmla="*/ 2147483647 h 893"/>
              <a:gd name="T20" fmla="*/ 2147483647 w 948"/>
              <a:gd name="T21" fmla="*/ 2147483647 h 893"/>
              <a:gd name="T22" fmla="*/ 2147483647 w 948"/>
              <a:gd name="T23" fmla="*/ 2147483647 h 893"/>
              <a:gd name="T24" fmla="*/ 2147483647 w 948"/>
              <a:gd name="T25" fmla="*/ 2147483647 h 893"/>
              <a:gd name="T26" fmla="*/ 2147483647 w 948"/>
              <a:gd name="T27" fmla="*/ 2147483647 h 893"/>
              <a:gd name="T28" fmla="*/ 2147483647 w 948"/>
              <a:gd name="T29" fmla="*/ 2147483647 h 893"/>
              <a:gd name="T30" fmla="*/ 2147483647 w 948"/>
              <a:gd name="T31" fmla="*/ 2147483647 h 893"/>
              <a:gd name="T32" fmla="*/ 2147483647 w 948"/>
              <a:gd name="T33" fmla="*/ 2147483647 h 893"/>
              <a:gd name="T34" fmla="*/ 2147483647 w 948"/>
              <a:gd name="T35" fmla="*/ 2147483647 h 893"/>
              <a:gd name="T36" fmla="*/ 2147483647 w 948"/>
              <a:gd name="T37" fmla="*/ 2147483647 h 893"/>
              <a:gd name="T38" fmla="*/ 2147483647 w 948"/>
              <a:gd name="T39" fmla="*/ 2147483647 h 893"/>
              <a:gd name="T40" fmla="*/ 2147483647 w 948"/>
              <a:gd name="T41" fmla="*/ 2147483647 h 893"/>
              <a:gd name="T42" fmla="*/ 2147483647 w 948"/>
              <a:gd name="T43" fmla="*/ 2147483647 h 893"/>
              <a:gd name="T44" fmla="*/ 2147483647 w 948"/>
              <a:gd name="T45" fmla="*/ 2147483647 h 893"/>
              <a:gd name="T46" fmla="*/ 2147483647 w 948"/>
              <a:gd name="T47" fmla="*/ 2147483647 h 893"/>
              <a:gd name="T48" fmla="*/ 2147483647 w 948"/>
              <a:gd name="T49" fmla="*/ 2147483647 h 893"/>
              <a:gd name="T50" fmla="*/ 2147483647 w 948"/>
              <a:gd name="T51" fmla="*/ 2147483647 h 893"/>
              <a:gd name="T52" fmla="*/ 2147483647 w 948"/>
              <a:gd name="T53" fmla="*/ 2147483647 h 893"/>
              <a:gd name="T54" fmla="*/ 2147483647 w 948"/>
              <a:gd name="T55" fmla="*/ 2147483647 h 893"/>
              <a:gd name="T56" fmla="*/ 2147483647 w 948"/>
              <a:gd name="T57" fmla="*/ 2147483647 h 893"/>
              <a:gd name="T58" fmla="*/ 2147483647 w 948"/>
              <a:gd name="T59" fmla="*/ 2147483647 h 893"/>
              <a:gd name="T60" fmla="*/ 2147483647 w 948"/>
              <a:gd name="T61" fmla="*/ 2147483647 h 893"/>
              <a:gd name="T62" fmla="*/ 2147483647 w 948"/>
              <a:gd name="T63" fmla="*/ 2147483647 h 893"/>
              <a:gd name="T64" fmla="*/ 2147483647 w 948"/>
              <a:gd name="T65" fmla="*/ 2147483647 h 893"/>
              <a:gd name="T66" fmla="*/ 2147483647 w 948"/>
              <a:gd name="T67" fmla="*/ 2147483647 h 893"/>
              <a:gd name="T68" fmla="*/ 2147483647 w 948"/>
              <a:gd name="T69" fmla="*/ 2147483647 h 893"/>
              <a:gd name="T70" fmla="*/ 2147483647 w 948"/>
              <a:gd name="T71" fmla="*/ 2147483647 h 893"/>
              <a:gd name="T72" fmla="*/ 2147483647 w 948"/>
              <a:gd name="T73" fmla="*/ 2147483647 h 893"/>
              <a:gd name="T74" fmla="*/ 2147483647 w 948"/>
              <a:gd name="T75" fmla="*/ 2147483647 h 893"/>
              <a:gd name="T76" fmla="*/ 2147483647 w 948"/>
              <a:gd name="T77" fmla="*/ 2147483647 h 893"/>
              <a:gd name="T78" fmla="*/ 2147483647 w 948"/>
              <a:gd name="T79" fmla="*/ 2147483647 h 893"/>
              <a:gd name="T80" fmla="*/ 2147483647 w 948"/>
              <a:gd name="T81" fmla="*/ 2147483647 h 893"/>
              <a:gd name="T82" fmla="*/ 2147483647 w 948"/>
              <a:gd name="T83" fmla="*/ 2147483647 h 893"/>
              <a:gd name="T84" fmla="*/ 2147483647 w 948"/>
              <a:gd name="T85" fmla="*/ 2147483647 h 893"/>
              <a:gd name="T86" fmla="*/ 2147483647 w 948"/>
              <a:gd name="T87" fmla="*/ 2147483647 h 893"/>
              <a:gd name="T88" fmla="*/ 2147483647 w 948"/>
              <a:gd name="T89" fmla="*/ 2147483647 h 893"/>
              <a:gd name="T90" fmla="*/ 2147483647 w 948"/>
              <a:gd name="T91" fmla="*/ 2147483647 h 893"/>
              <a:gd name="T92" fmla="*/ 2147483647 w 948"/>
              <a:gd name="T93" fmla="*/ 2147483647 h 893"/>
              <a:gd name="T94" fmla="*/ 2147483647 w 948"/>
              <a:gd name="T95" fmla="*/ 2147483647 h 893"/>
              <a:gd name="T96" fmla="*/ 2147483647 w 948"/>
              <a:gd name="T97" fmla="*/ 2147483647 h 893"/>
              <a:gd name="T98" fmla="*/ 2147483647 w 948"/>
              <a:gd name="T99" fmla="*/ 2147483647 h 893"/>
              <a:gd name="T100" fmla="*/ 2147483647 w 948"/>
              <a:gd name="T101" fmla="*/ 2147483647 h 893"/>
              <a:gd name="T102" fmla="*/ 2147483647 w 948"/>
              <a:gd name="T103" fmla="*/ 2147483647 h 893"/>
              <a:gd name="T104" fmla="*/ 2147483647 w 948"/>
              <a:gd name="T105" fmla="*/ 2147483647 h 893"/>
              <a:gd name="T106" fmla="*/ 2147483647 w 948"/>
              <a:gd name="T107" fmla="*/ 2147483647 h 893"/>
              <a:gd name="T108" fmla="*/ 2147483647 w 948"/>
              <a:gd name="T109" fmla="*/ 2147483647 h 893"/>
              <a:gd name="T110" fmla="*/ 2147483647 w 948"/>
              <a:gd name="T111" fmla="*/ 2147483647 h 893"/>
              <a:gd name="T112" fmla="*/ 2147483647 w 948"/>
              <a:gd name="T113" fmla="*/ 2147483647 h 893"/>
              <a:gd name="T114" fmla="*/ 2147483647 w 948"/>
              <a:gd name="T115" fmla="*/ 2147483647 h 893"/>
              <a:gd name="T116" fmla="*/ 2147483647 w 948"/>
              <a:gd name="T117" fmla="*/ 2147483647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3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976553" y="3442915"/>
            <a:ext cx="493712" cy="579438"/>
          </a:xfrm>
          <a:custGeom>
            <a:avLst/>
            <a:gdLst>
              <a:gd name="T0" fmla="*/ 2147483647 w 373"/>
              <a:gd name="T1" fmla="*/ 2147483647 h 370"/>
              <a:gd name="T2" fmla="*/ 2147483647 w 373"/>
              <a:gd name="T3" fmla="*/ 2147483647 h 370"/>
              <a:gd name="T4" fmla="*/ 2147483647 w 373"/>
              <a:gd name="T5" fmla="*/ 2147483647 h 370"/>
              <a:gd name="T6" fmla="*/ 2147483647 w 373"/>
              <a:gd name="T7" fmla="*/ 2147483647 h 370"/>
              <a:gd name="T8" fmla="*/ 2147483647 w 373"/>
              <a:gd name="T9" fmla="*/ 2147483647 h 370"/>
              <a:gd name="T10" fmla="*/ 2147483647 w 373"/>
              <a:gd name="T11" fmla="*/ 2147483647 h 370"/>
              <a:gd name="T12" fmla="*/ 2147483647 w 373"/>
              <a:gd name="T13" fmla="*/ 2147483647 h 370"/>
              <a:gd name="T14" fmla="*/ 2147483647 w 373"/>
              <a:gd name="T15" fmla="*/ 2147483647 h 370"/>
              <a:gd name="T16" fmla="*/ 2147483647 w 373"/>
              <a:gd name="T17" fmla="*/ 2147483647 h 370"/>
              <a:gd name="T18" fmla="*/ 2147483647 w 373"/>
              <a:gd name="T19" fmla="*/ 2147483647 h 370"/>
              <a:gd name="T20" fmla="*/ 2147483647 w 373"/>
              <a:gd name="T21" fmla="*/ 2147483647 h 370"/>
              <a:gd name="T22" fmla="*/ 2147483647 w 373"/>
              <a:gd name="T23" fmla="*/ 2147483647 h 370"/>
              <a:gd name="T24" fmla="*/ 2147483647 w 373"/>
              <a:gd name="T25" fmla="*/ 2147483647 h 370"/>
              <a:gd name="T26" fmla="*/ 2147483647 w 373"/>
              <a:gd name="T27" fmla="*/ 2147483647 h 370"/>
              <a:gd name="T28" fmla="*/ 2147483647 w 373"/>
              <a:gd name="T29" fmla="*/ 2147483647 h 370"/>
              <a:gd name="T30" fmla="*/ 2147483647 w 373"/>
              <a:gd name="T31" fmla="*/ 2147483647 h 370"/>
              <a:gd name="T32" fmla="*/ 2147483647 w 373"/>
              <a:gd name="T33" fmla="*/ 2147483647 h 370"/>
              <a:gd name="T34" fmla="*/ 2147483647 w 373"/>
              <a:gd name="T35" fmla="*/ 2147483647 h 370"/>
              <a:gd name="T36" fmla="*/ 2147483647 w 373"/>
              <a:gd name="T37" fmla="*/ 2147483647 h 370"/>
              <a:gd name="T38" fmla="*/ 2147483647 w 373"/>
              <a:gd name="T39" fmla="*/ 2147483647 h 370"/>
              <a:gd name="T40" fmla="*/ 2147483647 w 373"/>
              <a:gd name="T41" fmla="*/ 2147483647 h 370"/>
              <a:gd name="T42" fmla="*/ 2147483647 w 373"/>
              <a:gd name="T43" fmla="*/ 2147483647 h 370"/>
              <a:gd name="T44" fmla="*/ 2147483647 w 373"/>
              <a:gd name="T45" fmla="*/ 2147483647 h 370"/>
              <a:gd name="T46" fmla="*/ 2147483647 w 373"/>
              <a:gd name="T47" fmla="*/ 2147483647 h 370"/>
              <a:gd name="T48" fmla="*/ 2147483647 w 373"/>
              <a:gd name="T49" fmla="*/ 2147483647 h 370"/>
              <a:gd name="T50" fmla="*/ 2147483647 w 373"/>
              <a:gd name="T51" fmla="*/ 2147483647 h 370"/>
              <a:gd name="T52" fmla="*/ 2147483647 w 373"/>
              <a:gd name="T53" fmla="*/ 2147483647 h 370"/>
              <a:gd name="T54" fmla="*/ 2147483647 w 373"/>
              <a:gd name="T55" fmla="*/ 2147483647 h 370"/>
              <a:gd name="T56" fmla="*/ 2147483647 w 373"/>
              <a:gd name="T57" fmla="*/ 2147483647 h 370"/>
              <a:gd name="T58" fmla="*/ 2147483647 w 373"/>
              <a:gd name="T59" fmla="*/ 2147483647 h 370"/>
              <a:gd name="T60" fmla="*/ 2147483647 w 373"/>
              <a:gd name="T61" fmla="*/ 2147483647 h 370"/>
              <a:gd name="T62" fmla="*/ 2147483647 w 373"/>
              <a:gd name="T63" fmla="*/ 2147483647 h 370"/>
              <a:gd name="T64" fmla="*/ 2147483647 w 373"/>
              <a:gd name="T65" fmla="*/ 2147483647 h 370"/>
              <a:gd name="T66" fmla="*/ 2147483647 w 373"/>
              <a:gd name="T67" fmla="*/ 2147483647 h 370"/>
              <a:gd name="T68" fmla="*/ 2147483647 w 373"/>
              <a:gd name="T69" fmla="*/ 2147483647 h 370"/>
              <a:gd name="T70" fmla="*/ 2147483647 w 373"/>
              <a:gd name="T71" fmla="*/ 2147483647 h 370"/>
              <a:gd name="T72" fmla="*/ 2147483647 w 373"/>
              <a:gd name="T73" fmla="*/ 2147483647 h 370"/>
              <a:gd name="T74" fmla="*/ 2147483647 w 373"/>
              <a:gd name="T75" fmla="*/ 2147483647 h 370"/>
              <a:gd name="T76" fmla="*/ 2147483647 w 373"/>
              <a:gd name="T77" fmla="*/ 2147483647 h 370"/>
              <a:gd name="T78" fmla="*/ 2147483647 w 373"/>
              <a:gd name="T79" fmla="*/ 2147483647 h 370"/>
              <a:gd name="T80" fmla="*/ 2147483647 w 373"/>
              <a:gd name="T81" fmla="*/ 2147483647 h 370"/>
              <a:gd name="T82" fmla="*/ 2147483647 w 373"/>
              <a:gd name="T83" fmla="*/ 2147483647 h 370"/>
              <a:gd name="T84" fmla="*/ 2147483647 w 373"/>
              <a:gd name="T85" fmla="*/ 2147483647 h 370"/>
              <a:gd name="T86" fmla="*/ 2147483647 w 373"/>
              <a:gd name="T87" fmla="*/ 2147483647 h 370"/>
              <a:gd name="T88" fmla="*/ 0 w 373"/>
              <a:gd name="T89" fmla="*/ 2147483647 h 370"/>
              <a:gd name="T90" fmla="*/ 2147483647 w 373"/>
              <a:gd name="T91" fmla="*/ 2147483647 h 370"/>
              <a:gd name="T92" fmla="*/ 2147483647 w 373"/>
              <a:gd name="T93" fmla="*/ 2147483647 h 370"/>
              <a:gd name="T94" fmla="*/ 2147483647 w 373"/>
              <a:gd name="T95" fmla="*/ 2147483647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4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413115" y="3577853"/>
            <a:ext cx="384175" cy="436562"/>
          </a:xfrm>
          <a:custGeom>
            <a:avLst/>
            <a:gdLst>
              <a:gd name="T0" fmla="*/ 2147483647 w 877"/>
              <a:gd name="T1" fmla="*/ 2147483647 h 826"/>
              <a:gd name="T2" fmla="*/ 2147483647 w 877"/>
              <a:gd name="T3" fmla="*/ 2147483647 h 826"/>
              <a:gd name="T4" fmla="*/ 2147483647 w 877"/>
              <a:gd name="T5" fmla="*/ 2147483647 h 826"/>
              <a:gd name="T6" fmla="*/ 2147483647 w 877"/>
              <a:gd name="T7" fmla="*/ 2147483647 h 826"/>
              <a:gd name="T8" fmla="*/ 2147483647 w 877"/>
              <a:gd name="T9" fmla="*/ 2147483647 h 826"/>
              <a:gd name="T10" fmla="*/ 2147483647 w 877"/>
              <a:gd name="T11" fmla="*/ 2147483647 h 826"/>
              <a:gd name="T12" fmla="*/ 2147483647 w 877"/>
              <a:gd name="T13" fmla="*/ 2147483647 h 826"/>
              <a:gd name="T14" fmla="*/ 2147483647 w 877"/>
              <a:gd name="T15" fmla="*/ 2147483647 h 826"/>
              <a:gd name="T16" fmla="*/ 2147483647 w 877"/>
              <a:gd name="T17" fmla="*/ 2147483647 h 826"/>
              <a:gd name="T18" fmla="*/ 2147483647 w 877"/>
              <a:gd name="T19" fmla="*/ 2147483647 h 826"/>
              <a:gd name="T20" fmla="*/ 2147483647 w 877"/>
              <a:gd name="T21" fmla="*/ 2147483647 h 826"/>
              <a:gd name="T22" fmla="*/ 2147483647 w 877"/>
              <a:gd name="T23" fmla="*/ 2147483647 h 826"/>
              <a:gd name="T24" fmla="*/ 2147483647 w 877"/>
              <a:gd name="T25" fmla="*/ 2147483647 h 826"/>
              <a:gd name="T26" fmla="*/ 2147483647 w 877"/>
              <a:gd name="T27" fmla="*/ 2147483647 h 826"/>
              <a:gd name="T28" fmla="*/ 2147483647 w 877"/>
              <a:gd name="T29" fmla="*/ 2147483647 h 826"/>
              <a:gd name="T30" fmla="*/ 2147483647 w 877"/>
              <a:gd name="T31" fmla="*/ 2147483647 h 826"/>
              <a:gd name="T32" fmla="*/ 2147483647 w 877"/>
              <a:gd name="T33" fmla="*/ 2147483647 h 826"/>
              <a:gd name="T34" fmla="*/ 2147483647 w 877"/>
              <a:gd name="T35" fmla="*/ 2147483647 h 826"/>
              <a:gd name="T36" fmla="*/ 2147483647 w 877"/>
              <a:gd name="T37" fmla="*/ 2147483647 h 826"/>
              <a:gd name="T38" fmla="*/ 2147483647 w 877"/>
              <a:gd name="T39" fmla="*/ 2147483647 h 826"/>
              <a:gd name="T40" fmla="*/ 2147483647 w 877"/>
              <a:gd name="T41" fmla="*/ 2147483647 h 826"/>
              <a:gd name="T42" fmla="*/ 2147483647 w 877"/>
              <a:gd name="T43" fmla="*/ 2147483647 h 826"/>
              <a:gd name="T44" fmla="*/ 2147483647 w 877"/>
              <a:gd name="T45" fmla="*/ 2147483647 h 826"/>
              <a:gd name="T46" fmla="*/ 2147483647 w 877"/>
              <a:gd name="T47" fmla="*/ 0 h 826"/>
              <a:gd name="T48" fmla="*/ 2147483647 w 877"/>
              <a:gd name="T49" fmla="*/ 2147483647 h 826"/>
              <a:gd name="T50" fmla="*/ 2147483647 w 877"/>
              <a:gd name="T51" fmla="*/ 2147483647 h 826"/>
              <a:gd name="T52" fmla="*/ 2147483647 w 877"/>
              <a:gd name="T53" fmla="*/ 2147483647 h 826"/>
              <a:gd name="T54" fmla="*/ 2147483647 w 877"/>
              <a:gd name="T55" fmla="*/ 2147483647 h 826"/>
              <a:gd name="T56" fmla="*/ 2147483647 w 877"/>
              <a:gd name="T57" fmla="*/ 2147483647 h 826"/>
              <a:gd name="T58" fmla="*/ 2147483647 w 877"/>
              <a:gd name="T59" fmla="*/ 2147483647 h 826"/>
              <a:gd name="T60" fmla="*/ 2147483647 w 877"/>
              <a:gd name="T61" fmla="*/ 2147483647 h 826"/>
              <a:gd name="T62" fmla="*/ 2147483647 w 877"/>
              <a:gd name="T63" fmla="*/ 2147483647 h 826"/>
              <a:gd name="T64" fmla="*/ 2147483647 w 877"/>
              <a:gd name="T65" fmla="*/ 2147483647 h 826"/>
              <a:gd name="T66" fmla="*/ 2147483647 w 877"/>
              <a:gd name="T67" fmla="*/ 2147483647 h 826"/>
              <a:gd name="T68" fmla="*/ 2147483647 w 877"/>
              <a:gd name="T69" fmla="*/ 2147483647 h 826"/>
              <a:gd name="T70" fmla="*/ 2147483647 w 877"/>
              <a:gd name="T71" fmla="*/ 2147483647 h 826"/>
              <a:gd name="T72" fmla="*/ 2147483647 w 877"/>
              <a:gd name="T73" fmla="*/ 2147483647 h 826"/>
              <a:gd name="T74" fmla="*/ 2147483647 w 877"/>
              <a:gd name="T75" fmla="*/ 2147483647 h 826"/>
              <a:gd name="T76" fmla="*/ 2147483647 w 877"/>
              <a:gd name="T77" fmla="*/ 2147483647 h 826"/>
              <a:gd name="T78" fmla="*/ 2147483647 w 877"/>
              <a:gd name="T79" fmla="*/ 2147483647 h 826"/>
              <a:gd name="T80" fmla="*/ 2147483647 w 877"/>
              <a:gd name="T81" fmla="*/ 2147483647 h 826"/>
              <a:gd name="T82" fmla="*/ 2147483647 w 877"/>
              <a:gd name="T83" fmla="*/ 2147483647 h 826"/>
              <a:gd name="T84" fmla="*/ 2147483647 w 877"/>
              <a:gd name="T85" fmla="*/ 2147483647 h 826"/>
              <a:gd name="T86" fmla="*/ 2147483647 w 877"/>
              <a:gd name="T87" fmla="*/ 2147483647 h 826"/>
              <a:gd name="T88" fmla="*/ 2147483647 w 877"/>
              <a:gd name="T89" fmla="*/ 2147483647 h 826"/>
              <a:gd name="T90" fmla="*/ 2147483647 w 877"/>
              <a:gd name="T91" fmla="*/ 2147483647 h 826"/>
              <a:gd name="T92" fmla="*/ 2147483647 w 877"/>
              <a:gd name="T93" fmla="*/ 2147483647 h 826"/>
              <a:gd name="T94" fmla="*/ 2147483647 w 877"/>
              <a:gd name="T95" fmla="*/ 2147483647 h 826"/>
              <a:gd name="T96" fmla="*/ 2147483647 w 877"/>
              <a:gd name="T97" fmla="*/ 2147483647 h 826"/>
              <a:gd name="T98" fmla="*/ 2147483647 w 877"/>
              <a:gd name="T99" fmla="*/ 2147483647 h 826"/>
              <a:gd name="T100" fmla="*/ 2147483647 w 877"/>
              <a:gd name="T101" fmla="*/ 2147483647 h 826"/>
              <a:gd name="T102" fmla="*/ 2147483647 w 877"/>
              <a:gd name="T103" fmla="*/ 2147483647 h 826"/>
              <a:gd name="T104" fmla="*/ 2147483647 w 877"/>
              <a:gd name="T105" fmla="*/ 2147483647 h 826"/>
              <a:gd name="T106" fmla="*/ 2147483647 w 877"/>
              <a:gd name="T107" fmla="*/ 2147483647 h 826"/>
              <a:gd name="T108" fmla="*/ 2147483647 w 877"/>
              <a:gd name="T109" fmla="*/ 2147483647 h 826"/>
              <a:gd name="T110" fmla="*/ 2147483647 w 877"/>
              <a:gd name="T111" fmla="*/ 2147483647 h 826"/>
              <a:gd name="T112" fmla="*/ 2147483647 w 877"/>
              <a:gd name="T113" fmla="*/ 2147483647 h 826"/>
              <a:gd name="T114" fmla="*/ 2147483647 w 877"/>
              <a:gd name="T115" fmla="*/ 2147483647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5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365490" y="3442915"/>
            <a:ext cx="93663" cy="236538"/>
          </a:xfrm>
          <a:custGeom>
            <a:avLst/>
            <a:gdLst>
              <a:gd name="T0" fmla="*/ 2147483647 w 206"/>
              <a:gd name="T1" fmla="*/ 2147483647 h 455"/>
              <a:gd name="T2" fmla="*/ 2147483647 w 206"/>
              <a:gd name="T3" fmla="*/ 2147483647 h 455"/>
              <a:gd name="T4" fmla="*/ 2147483647 w 206"/>
              <a:gd name="T5" fmla="*/ 2147483647 h 455"/>
              <a:gd name="T6" fmla="*/ 2147483647 w 206"/>
              <a:gd name="T7" fmla="*/ 2147483647 h 455"/>
              <a:gd name="T8" fmla="*/ 2147483647 w 206"/>
              <a:gd name="T9" fmla="*/ 2147483647 h 455"/>
              <a:gd name="T10" fmla="*/ 2147483647 w 206"/>
              <a:gd name="T11" fmla="*/ 2147483647 h 455"/>
              <a:gd name="T12" fmla="*/ 2147483647 w 206"/>
              <a:gd name="T13" fmla="*/ 2147483647 h 455"/>
              <a:gd name="T14" fmla="*/ 2147483647 w 206"/>
              <a:gd name="T15" fmla="*/ 2147483647 h 455"/>
              <a:gd name="T16" fmla="*/ 2147483647 w 206"/>
              <a:gd name="T17" fmla="*/ 2147483647 h 455"/>
              <a:gd name="T18" fmla="*/ 2147483647 w 206"/>
              <a:gd name="T19" fmla="*/ 2147483647 h 455"/>
              <a:gd name="T20" fmla="*/ 2147483647 w 206"/>
              <a:gd name="T21" fmla="*/ 2147483647 h 455"/>
              <a:gd name="T22" fmla="*/ 2147483647 w 206"/>
              <a:gd name="T23" fmla="*/ 2147483647 h 455"/>
              <a:gd name="T24" fmla="*/ 2147483647 w 206"/>
              <a:gd name="T25" fmla="*/ 2147483647 h 455"/>
              <a:gd name="T26" fmla="*/ 2147483647 w 206"/>
              <a:gd name="T27" fmla="*/ 2147483647 h 455"/>
              <a:gd name="T28" fmla="*/ 2147483647 w 206"/>
              <a:gd name="T29" fmla="*/ 2147483647 h 455"/>
              <a:gd name="T30" fmla="*/ 2147483647 w 206"/>
              <a:gd name="T31" fmla="*/ 2147483647 h 455"/>
              <a:gd name="T32" fmla="*/ 2147483647 w 206"/>
              <a:gd name="T33" fmla="*/ 2147483647 h 455"/>
              <a:gd name="T34" fmla="*/ 2147483647 w 206"/>
              <a:gd name="T35" fmla="*/ 2147483647 h 455"/>
              <a:gd name="T36" fmla="*/ 2147483647 w 206"/>
              <a:gd name="T37" fmla="*/ 2147483647 h 455"/>
              <a:gd name="T38" fmla="*/ 2147483647 w 206"/>
              <a:gd name="T39" fmla="*/ 2147483647 h 455"/>
              <a:gd name="T40" fmla="*/ 2147483647 w 206"/>
              <a:gd name="T41" fmla="*/ 2147483647 h 455"/>
              <a:gd name="T42" fmla="*/ 2147483647 w 206"/>
              <a:gd name="T43" fmla="*/ 2147483647 h 455"/>
              <a:gd name="T44" fmla="*/ 2147483647 w 206"/>
              <a:gd name="T45" fmla="*/ 2147483647 h 455"/>
              <a:gd name="T46" fmla="*/ 2147483647 w 206"/>
              <a:gd name="T47" fmla="*/ 2147483647 h 455"/>
              <a:gd name="T48" fmla="*/ 2147483647 w 206"/>
              <a:gd name="T49" fmla="*/ 2147483647 h 455"/>
              <a:gd name="T50" fmla="*/ 2147483647 w 206"/>
              <a:gd name="T51" fmla="*/ 2147483647 h 455"/>
              <a:gd name="T52" fmla="*/ 2147483647 w 206"/>
              <a:gd name="T53" fmla="*/ 2147483647 h 455"/>
              <a:gd name="T54" fmla="*/ 2147483647 w 206"/>
              <a:gd name="T55" fmla="*/ 2147483647 h 455"/>
              <a:gd name="T56" fmla="*/ 2147483647 w 206"/>
              <a:gd name="T57" fmla="*/ 2147483647 h 455"/>
              <a:gd name="T58" fmla="*/ 2147483647 w 206"/>
              <a:gd name="T59" fmla="*/ 2147483647 h 455"/>
              <a:gd name="T60" fmla="*/ 2147483647 w 206"/>
              <a:gd name="T61" fmla="*/ 2147483647 h 455"/>
              <a:gd name="T62" fmla="*/ 2147483647 w 206"/>
              <a:gd name="T63" fmla="*/ 2147483647 h 455"/>
              <a:gd name="T64" fmla="*/ 2147483647 w 206"/>
              <a:gd name="T65" fmla="*/ 2147483647 h 455"/>
              <a:gd name="T66" fmla="*/ 2147483647 w 206"/>
              <a:gd name="T67" fmla="*/ 2147483647 h 455"/>
              <a:gd name="T68" fmla="*/ 2147483647 w 206"/>
              <a:gd name="T69" fmla="*/ 2147483647 h 455"/>
              <a:gd name="T70" fmla="*/ 2147483647 w 206"/>
              <a:gd name="T71" fmla="*/ 2147483647 h 455"/>
              <a:gd name="T72" fmla="*/ 2147483647 w 206"/>
              <a:gd name="T73" fmla="*/ 2147483647 h 455"/>
              <a:gd name="T74" fmla="*/ 2147483647 w 206"/>
              <a:gd name="T75" fmla="*/ 0 h 455"/>
              <a:gd name="T76" fmla="*/ 2147483647 w 206"/>
              <a:gd name="T77" fmla="*/ 2147483647 h 455"/>
              <a:gd name="T78" fmla="*/ 2147483647 w 206"/>
              <a:gd name="T79" fmla="*/ 2147483647 h 455"/>
              <a:gd name="T80" fmla="*/ 2147483647 w 206"/>
              <a:gd name="T81" fmla="*/ 2147483647 h 455"/>
              <a:gd name="T82" fmla="*/ 2147483647 w 206"/>
              <a:gd name="T83" fmla="*/ 2147483647 h 455"/>
              <a:gd name="T84" fmla="*/ 2147483647 w 206"/>
              <a:gd name="T85" fmla="*/ 2147483647 h 455"/>
              <a:gd name="T86" fmla="*/ 2147483647 w 206"/>
              <a:gd name="T87" fmla="*/ 2147483647 h 455"/>
              <a:gd name="T88" fmla="*/ 2147483647 w 206"/>
              <a:gd name="T89" fmla="*/ 2147483647 h 455"/>
              <a:gd name="T90" fmla="*/ 2147483647 w 206"/>
              <a:gd name="T91" fmla="*/ 2147483647 h 455"/>
              <a:gd name="T92" fmla="*/ 0 w 206"/>
              <a:gd name="T93" fmla="*/ 2147483647 h 455"/>
              <a:gd name="T94" fmla="*/ 2147483647 w 206"/>
              <a:gd name="T95" fmla="*/ 2147483647 h 455"/>
              <a:gd name="T96" fmla="*/ 2147483647 w 206"/>
              <a:gd name="T97" fmla="*/ 2147483647 h 455"/>
              <a:gd name="T98" fmla="*/ 2147483647 w 206"/>
              <a:gd name="T99" fmla="*/ 2147483647 h 455"/>
              <a:gd name="T100" fmla="*/ 2147483647 w 206"/>
              <a:gd name="T101" fmla="*/ 2147483647 h 455"/>
              <a:gd name="T102" fmla="*/ 2147483647 w 206"/>
              <a:gd name="T103" fmla="*/ 2147483647 h 455"/>
              <a:gd name="T104" fmla="*/ 2147483647 w 206"/>
              <a:gd name="T105" fmla="*/ 2147483647 h 455"/>
              <a:gd name="T106" fmla="*/ 2147483647 w 206"/>
              <a:gd name="T107" fmla="*/ 2147483647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6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747953" y="3754065"/>
            <a:ext cx="231775" cy="215900"/>
          </a:xfrm>
          <a:custGeom>
            <a:avLst/>
            <a:gdLst>
              <a:gd name="T0" fmla="*/ 2147483647 w 518"/>
              <a:gd name="T1" fmla="*/ 2147483647 h 406"/>
              <a:gd name="T2" fmla="*/ 2147483647 w 518"/>
              <a:gd name="T3" fmla="*/ 2147483647 h 406"/>
              <a:gd name="T4" fmla="*/ 2147483647 w 518"/>
              <a:gd name="T5" fmla="*/ 2147483647 h 406"/>
              <a:gd name="T6" fmla="*/ 2147483647 w 518"/>
              <a:gd name="T7" fmla="*/ 2147483647 h 406"/>
              <a:gd name="T8" fmla="*/ 2147483647 w 518"/>
              <a:gd name="T9" fmla="*/ 2147483647 h 406"/>
              <a:gd name="T10" fmla="*/ 2147483647 w 518"/>
              <a:gd name="T11" fmla="*/ 2147483647 h 406"/>
              <a:gd name="T12" fmla="*/ 2147483647 w 518"/>
              <a:gd name="T13" fmla="*/ 2147483647 h 406"/>
              <a:gd name="T14" fmla="*/ 2147483647 w 518"/>
              <a:gd name="T15" fmla="*/ 2147483647 h 406"/>
              <a:gd name="T16" fmla="*/ 2147483647 w 518"/>
              <a:gd name="T17" fmla="*/ 2147483647 h 406"/>
              <a:gd name="T18" fmla="*/ 2147483647 w 518"/>
              <a:gd name="T19" fmla="*/ 2147483647 h 406"/>
              <a:gd name="T20" fmla="*/ 2147483647 w 518"/>
              <a:gd name="T21" fmla="*/ 2147483647 h 406"/>
              <a:gd name="T22" fmla="*/ 2147483647 w 518"/>
              <a:gd name="T23" fmla="*/ 2147483647 h 406"/>
              <a:gd name="T24" fmla="*/ 2147483647 w 518"/>
              <a:gd name="T25" fmla="*/ 2147483647 h 406"/>
              <a:gd name="T26" fmla="*/ 2147483647 w 518"/>
              <a:gd name="T27" fmla="*/ 2147483647 h 406"/>
              <a:gd name="T28" fmla="*/ 2147483647 w 518"/>
              <a:gd name="T29" fmla="*/ 2147483647 h 406"/>
              <a:gd name="T30" fmla="*/ 2147483647 w 518"/>
              <a:gd name="T31" fmla="*/ 2147483647 h 406"/>
              <a:gd name="T32" fmla="*/ 2147483647 w 518"/>
              <a:gd name="T33" fmla="*/ 2147483647 h 406"/>
              <a:gd name="T34" fmla="*/ 2147483647 w 518"/>
              <a:gd name="T35" fmla="*/ 2147483647 h 406"/>
              <a:gd name="T36" fmla="*/ 2147483647 w 518"/>
              <a:gd name="T37" fmla="*/ 2147483647 h 406"/>
              <a:gd name="T38" fmla="*/ 2147483647 w 518"/>
              <a:gd name="T39" fmla="*/ 2147483647 h 406"/>
              <a:gd name="T40" fmla="*/ 2147483647 w 518"/>
              <a:gd name="T41" fmla="*/ 2147483647 h 406"/>
              <a:gd name="T42" fmla="*/ 2147483647 w 518"/>
              <a:gd name="T43" fmla="*/ 2147483647 h 406"/>
              <a:gd name="T44" fmla="*/ 2147483647 w 518"/>
              <a:gd name="T45" fmla="*/ 2147483647 h 406"/>
              <a:gd name="T46" fmla="*/ 2147483647 w 518"/>
              <a:gd name="T47" fmla="*/ 2147483647 h 406"/>
              <a:gd name="T48" fmla="*/ 2147483647 w 518"/>
              <a:gd name="T49" fmla="*/ 2147483647 h 406"/>
              <a:gd name="T50" fmla="*/ 2147483647 w 518"/>
              <a:gd name="T51" fmla="*/ 2147483647 h 406"/>
              <a:gd name="T52" fmla="*/ 2147483647 w 518"/>
              <a:gd name="T53" fmla="*/ 2147483647 h 406"/>
              <a:gd name="T54" fmla="*/ 2147483647 w 518"/>
              <a:gd name="T55" fmla="*/ 2147483647 h 406"/>
              <a:gd name="T56" fmla="*/ 2147483647 w 518"/>
              <a:gd name="T57" fmla="*/ 2147483647 h 406"/>
              <a:gd name="T58" fmla="*/ 2147483647 w 518"/>
              <a:gd name="T59" fmla="*/ 2147483647 h 406"/>
              <a:gd name="T60" fmla="*/ 2147483647 w 518"/>
              <a:gd name="T61" fmla="*/ 2147483647 h 406"/>
              <a:gd name="T62" fmla="*/ 2147483647 w 518"/>
              <a:gd name="T63" fmla="*/ 2147483647 h 406"/>
              <a:gd name="T64" fmla="*/ 2147483647 w 518"/>
              <a:gd name="T65" fmla="*/ 2147483647 h 406"/>
              <a:gd name="T66" fmla="*/ 2147483647 w 518"/>
              <a:gd name="T67" fmla="*/ 2147483647 h 406"/>
              <a:gd name="T68" fmla="*/ 2147483647 w 518"/>
              <a:gd name="T69" fmla="*/ 2147483647 h 406"/>
              <a:gd name="T70" fmla="*/ 2147483647 w 518"/>
              <a:gd name="T71" fmla="*/ 2147483647 h 406"/>
              <a:gd name="T72" fmla="*/ 2147483647 w 518"/>
              <a:gd name="T73" fmla="*/ 2147483647 h 406"/>
              <a:gd name="T74" fmla="*/ 2147483647 w 518"/>
              <a:gd name="T75" fmla="*/ 2147483647 h 406"/>
              <a:gd name="T76" fmla="*/ 2147483647 w 518"/>
              <a:gd name="T77" fmla="*/ 0 h 406"/>
              <a:gd name="T78" fmla="*/ 2147483647 w 518"/>
              <a:gd name="T79" fmla="*/ 2147483647 h 406"/>
              <a:gd name="T80" fmla="*/ 2147483647 w 518"/>
              <a:gd name="T81" fmla="*/ 2147483647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7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716203" y="2561853"/>
            <a:ext cx="190500" cy="93662"/>
          </a:xfrm>
          <a:custGeom>
            <a:avLst/>
            <a:gdLst>
              <a:gd name="T0" fmla="*/ 2147483647 w 446"/>
              <a:gd name="T1" fmla="*/ 2147483647 h 178"/>
              <a:gd name="T2" fmla="*/ 2147483647 w 446"/>
              <a:gd name="T3" fmla="*/ 2147483647 h 178"/>
              <a:gd name="T4" fmla="*/ 2147483647 w 446"/>
              <a:gd name="T5" fmla="*/ 2147483647 h 178"/>
              <a:gd name="T6" fmla="*/ 2147483647 w 446"/>
              <a:gd name="T7" fmla="*/ 2147483647 h 178"/>
              <a:gd name="T8" fmla="*/ 2147483647 w 446"/>
              <a:gd name="T9" fmla="*/ 2147483647 h 178"/>
              <a:gd name="T10" fmla="*/ 2147483647 w 446"/>
              <a:gd name="T11" fmla="*/ 0 h 178"/>
              <a:gd name="T12" fmla="*/ 2147483647 w 446"/>
              <a:gd name="T13" fmla="*/ 2147483647 h 178"/>
              <a:gd name="T14" fmla="*/ 2147483647 w 446"/>
              <a:gd name="T15" fmla="*/ 2147483647 h 178"/>
              <a:gd name="T16" fmla="*/ 2147483647 w 446"/>
              <a:gd name="T17" fmla="*/ 2147483647 h 178"/>
              <a:gd name="T18" fmla="*/ 2147483647 w 446"/>
              <a:gd name="T19" fmla="*/ 2147483647 h 178"/>
              <a:gd name="T20" fmla="*/ 2147483647 w 446"/>
              <a:gd name="T21" fmla="*/ 2147483647 h 178"/>
              <a:gd name="T22" fmla="*/ 2147483647 w 446"/>
              <a:gd name="T23" fmla="*/ 2147483647 h 178"/>
              <a:gd name="T24" fmla="*/ 2147483647 w 446"/>
              <a:gd name="T25" fmla="*/ 2147483647 h 178"/>
              <a:gd name="T26" fmla="*/ 2147483647 w 446"/>
              <a:gd name="T27" fmla="*/ 2147483647 h 178"/>
              <a:gd name="T28" fmla="*/ 2147483647 w 446"/>
              <a:gd name="T29" fmla="*/ 2147483647 h 178"/>
              <a:gd name="T30" fmla="*/ 2147483647 w 446"/>
              <a:gd name="T31" fmla="*/ 2147483647 h 178"/>
              <a:gd name="T32" fmla="*/ 2147483647 w 446"/>
              <a:gd name="T33" fmla="*/ 2147483647 h 178"/>
              <a:gd name="T34" fmla="*/ 2147483647 w 446"/>
              <a:gd name="T35" fmla="*/ 2147483647 h 178"/>
              <a:gd name="T36" fmla="*/ 2147483647 w 446"/>
              <a:gd name="T37" fmla="*/ 2147483647 h 178"/>
              <a:gd name="T38" fmla="*/ 2147483647 w 446"/>
              <a:gd name="T39" fmla="*/ 2147483647 h 178"/>
              <a:gd name="T40" fmla="*/ 2147483647 w 446"/>
              <a:gd name="T41" fmla="*/ 2147483647 h 178"/>
              <a:gd name="T42" fmla="*/ 2147483647 w 446"/>
              <a:gd name="T43" fmla="*/ 2147483647 h 178"/>
              <a:gd name="T44" fmla="*/ 2147483647 w 446"/>
              <a:gd name="T45" fmla="*/ 2147483647 h 178"/>
              <a:gd name="T46" fmla="*/ 2147483647 w 446"/>
              <a:gd name="T47" fmla="*/ 2147483647 h 178"/>
              <a:gd name="T48" fmla="*/ 2147483647 w 446"/>
              <a:gd name="T49" fmla="*/ 2147483647 h 178"/>
              <a:gd name="T50" fmla="*/ 2147483647 w 446"/>
              <a:gd name="T51" fmla="*/ 2147483647 h 178"/>
              <a:gd name="T52" fmla="*/ 2147483647 w 446"/>
              <a:gd name="T53" fmla="*/ 2147483647 h 178"/>
              <a:gd name="T54" fmla="*/ 2147483647 w 446"/>
              <a:gd name="T55" fmla="*/ 2147483647 h 178"/>
              <a:gd name="T56" fmla="*/ 2147483647 w 446"/>
              <a:gd name="T57" fmla="*/ 2147483647 h 178"/>
              <a:gd name="T58" fmla="*/ 2147483647 w 446"/>
              <a:gd name="T59" fmla="*/ 2147483647 h 178"/>
              <a:gd name="T60" fmla="*/ 2147483647 w 446"/>
              <a:gd name="T61" fmla="*/ 2147483647 h 178"/>
              <a:gd name="T62" fmla="*/ 2147483647 w 446"/>
              <a:gd name="T63" fmla="*/ 2147483647 h 178"/>
              <a:gd name="T64" fmla="*/ 2147483647 w 446"/>
              <a:gd name="T65" fmla="*/ 2147483647 h 178"/>
              <a:gd name="T66" fmla="*/ 2147483647 w 446"/>
              <a:gd name="T67" fmla="*/ 2147483647 h 178"/>
              <a:gd name="T68" fmla="*/ 2147483647 w 446"/>
              <a:gd name="T69" fmla="*/ 2147483647 h 178"/>
              <a:gd name="T70" fmla="*/ 2147483647 w 446"/>
              <a:gd name="T71" fmla="*/ 2147483647 h 178"/>
              <a:gd name="T72" fmla="*/ 2147483647 w 446"/>
              <a:gd name="T73" fmla="*/ 2147483647 h 178"/>
              <a:gd name="T74" fmla="*/ 2147483647 w 446"/>
              <a:gd name="T75" fmla="*/ 2147483647 h 178"/>
              <a:gd name="T76" fmla="*/ 2147483647 w 446"/>
              <a:gd name="T77" fmla="*/ 2147483647 h 178"/>
              <a:gd name="T78" fmla="*/ 2147483647 w 446"/>
              <a:gd name="T79" fmla="*/ 2147483647 h 178"/>
              <a:gd name="T80" fmla="*/ 0 w 446"/>
              <a:gd name="T81" fmla="*/ 2147483647 h 178"/>
              <a:gd name="T82" fmla="*/ 2147483647 w 446"/>
              <a:gd name="T83" fmla="*/ 2147483647 h 178"/>
              <a:gd name="T84" fmla="*/ 2147483647 w 446"/>
              <a:gd name="T85" fmla="*/ 2147483647 h 178"/>
              <a:gd name="T86" fmla="*/ 2147483647 w 446"/>
              <a:gd name="T87" fmla="*/ 2147483647 h 178"/>
              <a:gd name="T88" fmla="*/ 2147483647 w 446"/>
              <a:gd name="T89" fmla="*/ 2147483647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8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508365" y="2825378"/>
            <a:ext cx="14288" cy="57150"/>
          </a:xfrm>
          <a:custGeom>
            <a:avLst/>
            <a:gdLst>
              <a:gd name="T0" fmla="*/ 0 w 28"/>
              <a:gd name="T1" fmla="*/ 2147483647 h 73"/>
              <a:gd name="T2" fmla="*/ 2147483647 w 28"/>
              <a:gd name="T3" fmla="*/ 2147483647 h 73"/>
              <a:gd name="T4" fmla="*/ 2147483647 w 28"/>
              <a:gd name="T5" fmla="*/ 2147483647 h 73"/>
              <a:gd name="T6" fmla="*/ 2147483647 w 28"/>
              <a:gd name="T7" fmla="*/ 2147483647 h 73"/>
              <a:gd name="T8" fmla="*/ 2147483647 w 28"/>
              <a:gd name="T9" fmla="*/ 2147483647 h 73"/>
              <a:gd name="T10" fmla="*/ 2147483647 w 28"/>
              <a:gd name="T11" fmla="*/ 2147483647 h 73"/>
              <a:gd name="T12" fmla="*/ 0 w 28"/>
              <a:gd name="T13" fmla="*/ 0 h 73"/>
              <a:gd name="T14" fmla="*/ 2147483647 w 28"/>
              <a:gd name="T15" fmla="*/ 0 h 73"/>
              <a:gd name="T16" fmla="*/ 2147483647 w 28"/>
              <a:gd name="T17" fmla="*/ 2147483647 h 73"/>
              <a:gd name="T18" fmla="*/ 2147483647 w 28"/>
              <a:gd name="T19" fmla="*/ 2147483647 h 73"/>
              <a:gd name="T20" fmla="*/ 2147483647 w 28"/>
              <a:gd name="T21" fmla="*/ 2147483647 h 73"/>
              <a:gd name="T22" fmla="*/ 2147483647 w 28"/>
              <a:gd name="T23" fmla="*/ 2147483647 h 73"/>
              <a:gd name="T24" fmla="*/ 0 w 28"/>
              <a:gd name="T25" fmla="*/ 2147483647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19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395653" y="2488828"/>
            <a:ext cx="234950" cy="395287"/>
          </a:xfrm>
          <a:custGeom>
            <a:avLst/>
            <a:gdLst>
              <a:gd name="T0" fmla="*/ 2147483647 w 531"/>
              <a:gd name="T1" fmla="*/ 2147483647 h 757"/>
              <a:gd name="T2" fmla="*/ 2147483647 w 531"/>
              <a:gd name="T3" fmla="*/ 2147483647 h 757"/>
              <a:gd name="T4" fmla="*/ 2147483647 w 531"/>
              <a:gd name="T5" fmla="*/ 2147483647 h 757"/>
              <a:gd name="T6" fmla="*/ 2147483647 w 531"/>
              <a:gd name="T7" fmla="*/ 2147483647 h 757"/>
              <a:gd name="T8" fmla="*/ 2147483647 w 531"/>
              <a:gd name="T9" fmla="*/ 2147483647 h 757"/>
              <a:gd name="T10" fmla="*/ 2147483647 w 531"/>
              <a:gd name="T11" fmla="*/ 2147483647 h 757"/>
              <a:gd name="T12" fmla="*/ 2147483647 w 531"/>
              <a:gd name="T13" fmla="*/ 2147483647 h 757"/>
              <a:gd name="T14" fmla="*/ 2147483647 w 531"/>
              <a:gd name="T15" fmla="*/ 2147483647 h 757"/>
              <a:gd name="T16" fmla="*/ 2147483647 w 531"/>
              <a:gd name="T17" fmla="*/ 2147483647 h 757"/>
              <a:gd name="T18" fmla="*/ 2147483647 w 531"/>
              <a:gd name="T19" fmla="*/ 2147483647 h 757"/>
              <a:gd name="T20" fmla="*/ 2147483647 w 531"/>
              <a:gd name="T21" fmla="*/ 2147483647 h 757"/>
              <a:gd name="T22" fmla="*/ 2147483647 w 531"/>
              <a:gd name="T23" fmla="*/ 2147483647 h 757"/>
              <a:gd name="T24" fmla="*/ 2147483647 w 531"/>
              <a:gd name="T25" fmla="*/ 2147483647 h 757"/>
              <a:gd name="T26" fmla="*/ 2147483647 w 531"/>
              <a:gd name="T27" fmla="*/ 2147483647 h 757"/>
              <a:gd name="T28" fmla="*/ 2147483647 w 531"/>
              <a:gd name="T29" fmla="*/ 2147483647 h 757"/>
              <a:gd name="T30" fmla="*/ 2147483647 w 531"/>
              <a:gd name="T31" fmla="*/ 2147483647 h 757"/>
              <a:gd name="T32" fmla="*/ 2147483647 w 531"/>
              <a:gd name="T33" fmla="*/ 2147483647 h 757"/>
              <a:gd name="T34" fmla="*/ 2147483647 w 531"/>
              <a:gd name="T35" fmla="*/ 2147483647 h 757"/>
              <a:gd name="T36" fmla="*/ 2147483647 w 531"/>
              <a:gd name="T37" fmla="*/ 2147483647 h 757"/>
              <a:gd name="T38" fmla="*/ 2147483647 w 531"/>
              <a:gd name="T39" fmla="*/ 2147483647 h 757"/>
              <a:gd name="T40" fmla="*/ 2147483647 w 531"/>
              <a:gd name="T41" fmla="*/ 2147483647 h 757"/>
              <a:gd name="T42" fmla="*/ 2147483647 w 531"/>
              <a:gd name="T43" fmla="*/ 2147483647 h 757"/>
              <a:gd name="T44" fmla="*/ 2147483647 w 531"/>
              <a:gd name="T45" fmla="*/ 2147483647 h 757"/>
              <a:gd name="T46" fmla="*/ 2147483647 w 531"/>
              <a:gd name="T47" fmla="*/ 2147483647 h 757"/>
              <a:gd name="T48" fmla="*/ 2147483647 w 531"/>
              <a:gd name="T49" fmla="*/ 2147483647 h 757"/>
              <a:gd name="T50" fmla="*/ 2147483647 w 531"/>
              <a:gd name="T51" fmla="*/ 2147483647 h 757"/>
              <a:gd name="T52" fmla="*/ 2147483647 w 531"/>
              <a:gd name="T53" fmla="*/ 2147483647 h 757"/>
              <a:gd name="T54" fmla="*/ 2147483647 w 531"/>
              <a:gd name="T55" fmla="*/ 2147483647 h 757"/>
              <a:gd name="T56" fmla="*/ 2147483647 w 531"/>
              <a:gd name="T57" fmla="*/ 2147483647 h 757"/>
              <a:gd name="T58" fmla="*/ 2147483647 w 531"/>
              <a:gd name="T59" fmla="*/ 2147483647 h 757"/>
              <a:gd name="T60" fmla="*/ 2147483647 w 531"/>
              <a:gd name="T61" fmla="*/ 2147483647 h 757"/>
              <a:gd name="T62" fmla="*/ 2147483647 w 531"/>
              <a:gd name="T63" fmla="*/ 2147483647 h 757"/>
              <a:gd name="T64" fmla="*/ 2147483647 w 531"/>
              <a:gd name="T65" fmla="*/ 2147483647 h 757"/>
              <a:gd name="T66" fmla="*/ 2147483647 w 531"/>
              <a:gd name="T67" fmla="*/ 2147483647 h 757"/>
              <a:gd name="T68" fmla="*/ 2147483647 w 531"/>
              <a:gd name="T69" fmla="*/ 2147483647 h 757"/>
              <a:gd name="T70" fmla="*/ 2147483647 w 531"/>
              <a:gd name="T71" fmla="*/ 2147483647 h 757"/>
              <a:gd name="T72" fmla="*/ 2147483647 w 531"/>
              <a:gd name="T73" fmla="*/ 2147483647 h 757"/>
              <a:gd name="T74" fmla="*/ 2147483647 w 531"/>
              <a:gd name="T75" fmla="*/ 2147483647 h 757"/>
              <a:gd name="T76" fmla="*/ 2147483647 w 531"/>
              <a:gd name="T77" fmla="*/ 2147483647 h 757"/>
              <a:gd name="T78" fmla="*/ 2147483647 w 531"/>
              <a:gd name="T79" fmla="*/ 2147483647 h 757"/>
              <a:gd name="T80" fmla="*/ 2147483647 w 531"/>
              <a:gd name="T81" fmla="*/ 2147483647 h 757"/>
              <a:gd name="T82" fmla="*/ 2147483647 w 531"/>
              <a:gd name="T83" fmla="*/ 2147483647 h 757"/>
              <a:gd name="T84" fmla="*/ 2147483647 w 531"/>
              <a:gd name="T85" fmla="*/ 2147483647 h 757"/>
              <a:gd name="T86" fmla="*/ 2147483647 w 531"/>
              <a:gd name="T87" fmla="*/ 2147483647 h 757"/>
              <a:gd name="T88" fmla="*/ 2147483647 w 531"/>
              <a:gd name="T89" fmla="*/ 2147483647 h 757"/>
              <a:gd name="T90" fmla="*/ 2147483647 w 531"/>
              <a:gd name="T91" fmla="*/ 2147483647 h 757"/>
              <a:gd name="T92" fmla="*/ 2147483647 w 531"/>
              <a:gd name="T93" fmla="*/ 2147483647 h 757"/>
              <a:gd name="T94" fmla="*/ 2147483647 w 531"/>
              <a:gd name="T95" fmla="*/ 2147483647 h 757"/>
              <a:gd name="T96" fmla="*/ 2147483647 w 531"/>
              <a:gd name="T97" fmla="*/ 2147483647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20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533765" y="2803153"/>
            <a:ext cx="26988" cy="57150"/>
          </a:xfrm>
          <a:custGeom>
            <a:avLst/>
            <a:gdLst>
              <a:gd name="T0" fmla="*/ 0 w 60"/>
              <a:gd name="T1" fmla="*/ 2147483647 h 51"/>
              <a:gd name="T2" fmla="*/ 2147483647 w 60"/>
              <a:gd name="T3" fmla="*/ 2147483647 h 51"/>
              <a:gd name="T4" fmla="*/ 2147483647 w 60"/>
              <a:gd name="T5" fmla="*/ 2147483647 h 51"/>
              <a:gd name="T6" fmla="*/ 2147483647 w 60"/>
              <a:gd name="T7" fmla="*/ 2147483647 h 51"/>
              <a:gd name="T8" fmla="*/ 2147483647 w 60"/>
              <a:gd name="T9" fmla="*/ 2147483647 h 51"/>
              <a:gd name="T10" fmla="*/ 2147483647 w 60"/>
              <a:gd name="T11" fmla="*/ 2147483647 h 51"/>
              <a:gd name="T12" fmla="*/ 2147483647 w 60"/>
              <a:gd name="T13" fmla="*/ 0 h 51"/>
              <a:gd name="T14" fmla="*/ 2147483647 w 60"/>
              <a:gd name="T15" fmla="*/ 2147483647 h 51"/>
              <a:gd name="T16" fmla="*/ 2147483647 w 60"/>
              <a:gd name="T17" fmla="*/ 2147483647 h 51"/>
              <a:gd name="T18" fmla="*/ 2147483647 w 60"/>
              <a:gd name="T19" fmla="*/ 2147483647 h 51"/>
              <a:gd name="T20" fmla="*/ 2147483647 w 60"/>
              <a:gd name="T21" fmla="*/ 2147483647 h 51"/>
              <a:gd name="T22" fmla="*/ 2147483647 w 60"/>
              <a:gd name="T23" fmla="*/ 2147483647 h 51"/>
              <a:gd name="T24" fmla="*/ 2147483647 w 60"/>
              <a:gd name="T25" fmla="*/ 2147483647 h 51"/>
              <a:gd name="T26" fmla="*/ 2147483647 w 60"/>
              <a:gd name="T27" fmla="*/ 2147483647 h 51"/>
              <a:gd name="T28" fmla="*/ 2147483647 w 60"/>
              <a:gd name="T29" fmla="*/ 2147483647 h 51"/>
              <a:gd name="T30" fmla="*/ 2147483647 w 60"/>
              <a:gd name="T31" fmla="*/ 2147483647 h 51"/>
              <a:gd name="T32" fmla="*/ 2147483647 w 60"/>
              <a:gd name="T33" fmla="*/ 2147483647 h 51"/>
              <a:gd name="T34" fmla="*/ 2147483647 w 60"/>
              <a:gd name="T35" fmla="*/ 2147483647 h 51"/>
              <a:gd name="T36" fmla="*/ 2147483647 w 60"/>
              <a:gd name="T37" fmla="*/ 2147483647 h 51"/>
              <a:gd name="T38" fmla="*/ 2147483647 w 60"/>
              <a:gd name="T39" fmla="*/ 2147483647 h 51"/>
              <a:gd name="T40" fmla="*/ 2147483647 w 60"/>
              <a:gd name="T41" fmla="*/ 2147483647 h 51"/>
              <a:gd name="T42" fmla="*/ 2147483647 w 60"/>
              <a:gd name="T43" fmla="*/ 2147483647 h 51"/>
              <a:gd name="T44" fmla="*/ 0 w 60"/>
              <a:gd name="T45" fmla="*/ 2147483647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21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978140" y="2965078"/>
            <a:ext cx="28575" cy="57150"/>
          </a:xfrm>
          <a:custGeom>
            <a:avLst/>
            <a:gdLst>
              <a:gd name="T0" fmla="*/ 2147483647 w 66"/>
              <a:gd name="T1" fmla="*/ 2147483647 h 51"/>
              <a:gd name="T2" fmla="*/ 2147483647 w 66"/>
              <a:gd name="T3" fmla="*/ 2147483647 h 51"/>
              <a:gd name="T4" fmla="*/ 2147483647 w 66"/>
              <a:gd name="T5" fmla="*/ 2147483647 h 51"/>
              <a:gd name="T6" fmla="*/ 2147483647 w 66"/>
              <a:gd name="T7" fmla="*/ 2147483647 h 51"/>
              <a:gd name="T8" fmla="*/ 2147483647 w 66"/>
              <a:gd name="T9" fmla="*/ 2147483647 h 51"/>
              <a:gd name="T10" fmla="*/ 2147483647 w 66"/>
              <a:gd name="T11" fmla="*/ 2147483647 h 51"/>
              <a:gd name="T12" fmla="*/ 2147483647 w 66"/>
              <a:gd name="T13" fmla="*/ 2147483647 h 51"/>
              <a:gd name="T14" fmla="*/ 2147483647 w 66"/>
              <a:gd name="T15" fmla="*/ 2147483647 h 51"/>
              <a:gd name="T16" fmla="*/ 2147483647 w 66"/>
              <a:gd name="T17" fmla="*/ 2147483647 h 51"/>
              <a:gd name="T18" fmla="*/ 0 w 66"/>
              <a:gd name="T19" fmla="*/ 2147483647 h 51"/>
              <a:gd name="T20" fmla="*/ 0 w 66"/>
              <a:gd name="T21" fmla="*/ 2147483647 h 51"/>
              <a:gd name="T22" fmla="*/ 2147483647 w 66"/>
              <a:gd name="T23" fmla="*/ 2147483647 h 51"/>
              <a:gd name="T24" fmla="*/ 2147483647 w 66"/>
              <a:gd name="T25" fmla="*/ 2147483647 h 51"/>
              <a:gd name="T26" fmla="*/ 2147483647 w 66"/>
              <a:gd name="T27" fmla="*/ 2147483647 h 51"/>
              <a:gd name="T28" fmla="*/ 2147483647 w 66"/>
              <a:gd name="T29" fmla="*/ 2147483647 h 51"/>
              <a:gd name="T30" fmla="*/ 2147483647 w 66"/>
              <a:gd name="T31" fmla="*/ 2147483647 h 51"/>
              <a:gd name="T32" fmla="*/ 2147483647 w 66"/>
              <a:gd name="T33" fmla="*/ 0 h 51"/>
              <a:gd name="T34" fmla="*/ 2147483647 w 66"/>
              <a:gd name="T35" fmla="*/ 2147483647 h 51"/>
              <a:gd name="T36" fmla="*/ 2147483647 w 66"/>
              <a:gd name="T37" fmla="*/ 2147483647 h 51"/>
              <a:gd name="T38" fmla="*/ 2147483647 w 66"/>
              <a:gd name="T39" fmla="*/ 2147483647 h 51"/>
              <a:gd name="T40" fmla="*/ 2147483647 w 66"/>
              <a:gd name="T41" fmla="*/ 0 h 51"/>
              <a:gd name="T42" fmla="*/ 2147483647 w 66"/>
              <a:gd name="T43" fmla="*/ 2147483647 h 51"/>
              <a:gd name="T44" fmla="*/ 2147483647 w 66"/>
              <a:gd name="T45" fmla="*/ 2147483647 h 51"/>
              <a:gd name="T46" fmla="*/ 2147483647 w 66"/>
              <a:gd name="T47" fmla="*/ 2147483647 h 51"/>
              <a:gd name="T48" fmla="*/ 2147483647 w 66"/>
              <a:gd name="T49" fmla="*/ 2147483647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22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930640" y="3493715"/>
            <a:ext cx="50800" cy="57150"/>
          </a:xfrm>
          <a:custGeom>
            <a:avLst/>
            <a:gdLst>
              <a:gd name="T0" fmla="*/ 0 w 113"/>
              <a:gd name="T1" fmla="*/ 2147483647 h 74"/>
              <a:gd name="T2" fmla="*/ 2147483647 w 113"/>
              <a:gd name="T3" fmla="*/ 2147483647 h 74"/>
              <a:gd name="T4" fmla="*/ 2147483647 w 113"/>
              <a:gd name="T5" fmla="*/ 2147483647 h 74"/>
              <a:gd name="T6" fmla="*/ 2147483647 w 113"/>
              <a:gd name="T7" fmla="*/ 2147483647 h 74"/>
              <a:gd name="T8" fmla="*/ 2147483647 w 113"/>
              <a:gd name="T9" fmla="*/ 2147483647 h 74"/>
              <a:gd name="T10" fmla="*/ 2147483647 w 113"/>
              <a:gd name="T11" fmla="*/ 2147483647 h 74"/>
              <a:gd name="T12" fmla="*/ 2147483647 w 113"/>
              <a:gd name="T13" fmla="*/ 2147483647 h 74"/>
              <a:gd name="T14" fmla="*/ 2147483647 w 113"/>
              <a:gd name="T15" fmla="*/ 2147483647 h 74"/>
              <a:gd name="T16" fmla="*/ 2147483647 w 113"/>
              <a:gd name="T17" fmla="*/ 2147483647 h 74"/>
              <a:gd name="T18" fmla="*/ 2147483647 w 113"/>
              <a:gd name="T19" fmla="*/ 2147483647 h 74"/>
              <a:gd name="T20" fmla="*/ 2147483647 w 113"/>
              <a:gd name="T21" fmla="*/ 2147483647 h 74"/>
              <a:gd name="T22" fmla="*/ 2147483647 w 113"/>
              <a:gd name="T23" fmla="*/ 2147483647 h 74"/>
              <a:gd name="T24" fmla="*/ 2147483647 w 113"/>
              <a:gd name="T25" fmla="*/ 2147483647 h 74"/>
              <a:gd name="T26" fmla="*/ 2147483647 w 113"/>
              <a:gd name="T27" fmla="*/ 2147483647 h 74"/>
              <a:gd name="T28" fmla="*/ 2147483647 w 113"/>
              <a:gd name="T29" fmla="*/ 2147483647 h 74"/>
              <a:gd name="T30" fmla="*/ 2147483647 w 113"/>
              <a:gd name="T31" fmla="*/ 2147483647 h 74"/>
              <a:gd name="T32" fmla="*/ 2147483647 w 113"/>
              <a:gd name="T33" fmla="*/ 2147483647 h 74"/>
              <a:gd name="T34" fmla="*/ 2147483647 w 113"/>
              <a:gd name="T35" fmla="*/ 2147483647 h 74"/>
              <a:gd name="T36" fmla="*/ 2147483647 w 113"/>
              <a:gd name="T37" fmla="*/ 2147483647 h 74"/>
              <a:gd name="T38" fmla="*/ 2147483647 w 113"/>
              <a:gd name="T39" fmla="*/ 0 h 74"/>
              <a:gd name="T40" fmla="*/ 2147483647 w 113"/>
              <a:gd name="T41" fmla="*/ 2147483647 h 74"/>
              <a:gd name="T42" fmla="*/ 2147483647 w 113"/>
              <a:gd name="T43" fmla="*/ 2147483647 h 74"/>
              <a:gd name="T44" fmla="*/ 2147483647 w 113"/>
              <a:gd name="T45" fmla="*/ 2147483647 h 74"/>
              <a:gd name="T46" fmla="*/ 2147483647 w 113"/>
              <a:gd name="T47" fmla="*/ 2147483647 h 74"/>
              <a:gd name="T48" fmla="*/ 2147483647 w 113"/>
              <a:gd name="T49" fmla="*/ 2147483647 h 74"/>
              <a:gd name="T50" fmla="*/ 0 w 113"/>
              <a:gd name="T51" fmla="*/ 2147483647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3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538528" y="4285878"/>
            <a:ext cx="325437" cy="244475"/>
          </a:xfrm>
          <a:custGeom>
            <a:avLst/>
            <a:gdLst>
              <a:gd name="T0" fmla="*/ 2147483647 w 746"/>
              <a:gd name="T1" fmla="*/ 2147483647 h 469"/>
              <a:gd name="T2" fmla="*/ 2147483647 w 746"/>
              <a:gd name="T3" fmla="*/ 2147483647 h 469"/>
              <a:gd name="T4" fmla="*/ 2147483647 w 746"/>
              <a:gd name="T5" fmla="*/ 2147483647 h 469"/>
              <a:gd name="T6" fmla="*/ 2147483647 w 746"/>
              <a:gd name="T7" fmla="*/ 2147483647 h 469"/>
              <a:gd name="T8" fmla="*/ 0 w 746"/>
              <a:gd name="T9" fmla="*/ 2147483647 h 469"/>
              <a:gd name="T10" fmla="*/ 2147483647 w 746"/>
              <a:gd name="T11" fmla="*/ 2147483647 h 469"/>
              <a:gd name="T12" fmla="*/ 2147483647 w 746"/>
              <a:gd name="T13" fmla="*/ 2147483647 h 469"/>
              <a:gd name="T14" fmla="*/ 2147483647 w 746"/>
              <a:gd name="T15" fmla="*/ 2147483647 h 469"/>
              <a:gd name="T16" fmla="*/ 2147483647 w 746"/>
              <a:gd name="T17" fmla="*/ 2147483647 h 469"/>
              <a:gd name="T18" fmla="*/ 2147483647 w 746"/>
              <a:gd name="T19" fmla="*/ 2147483647 h 469"/>
              <a:gd name="T20" fmla="*/ 2147483647 w 746"/>
              <a:gd name="T21" fmla="*/ 2147483647 h 469"/>
              <a:gd name="T22" fmla="*/ 2147483647 w 746"/>
              <a:gd name="T23" fmla="*/ 2147483647 h 469"/>
              <a:gd name="T24" fmla="*/ 2147483647 w 746"/>
              <a:gd name="T25" fmla="*/ 2147483647 h 469"/>
              <a:gd name="T26" fmla="*/ 2147483647 w 746"/>
              <a:gd name="T27" fmla="*/ 2147483647 h 469"/>
              <a:gd name="T28" fmla="*/ 2147483647 w 746"/>
              <a:gd name="T29" fmla="*/ 2147483647 h 469"/>
              <a:gd name="T30" fmla="*/ 2147483647 w 746"/>
              <a:gd name="T31" fmla="*/ 2147483647 h 469"/>
              <a:gd name="T32" fmla="*/ 2147483647 w 746"/>
              <a:gd name="T33" fmla="*/ 2147483647 h 469"/>
              <a:gd name="T34" fmla="*/ 2147483647 w 746"/>
              <a:gd name="T35" fmla="*/ 2147483647 h 469"/>
              <a:gd name="T36" fmla="*/ 2147483647 w 746"/>
              <a:gd name="T37" fmla="*/ 2147483647 h 469"/>
              <a:gd name="T38" fmla="*/ 2147483647 w 746"/>
              <a:gd name="T39" fmla="*/ 0 h 469"/>
              <a:gd name="T40" fmla="*/ 2147483647 w 746"/>
              <a:gd name="T41" fmla="*/ 2147483647 h 469"/>
              <a:gd name="T42" fmla="*/ 2147483647 w 746"/>
              <a:gd name="T43" fmla="*/ 2147483647 h 469"/>
              <a:gd name="T44" fmla="*/ 2147483647 w 746"/>
              <a:gd name="T45" fmla="*/ 2147483647 h 469"/>
              <a:gd name="T46" fmla="*/ 2147483647 w 746"/>
              <a:gd name="T47" fmla="*/ 2147483647 h 469"/>
              <a:gd name="T48" fmla="*/ 2147483647 w 746"/>
              <a:gd name="T49" fmla="*/ 2147483647 h 469"/>
              <a:gd name="T50" fmla="*/ 2147483647 w 746"/>
              <a:gd name="T51" fmla="*/ 2147483647 h 469"/>
              <a:gd name="T52" fmla="*/ 2147483647 w 746"/>
              <a:gd name="T53" fmla="*/ 2147483647 h 469"/>
              <a:gd name="T54" fmla="*/ 2147483647 w 746"/>
              <a:gd name="T55" fmla="*/ 2147483647 h 469"/>
              <a:gd name="T56" fmla="*/ 2147483647 w 746"/>
              <a:gd name="T57" fmla="*/ 2147483647 h 469"/>
              <a:gd name="T58" fmla="*/ 2147483647 w 746"/>
              <a:gd name="T59" fmla="*/ 2147483647 h 469"/>
              <a:gd name="T60" fmla="*/ 2147483647 w 746"/>
              <a:gd name="T61" fmla="*/ 2147483647 h 469"/>
              <a:gd name="T62" fmla="*/ 2147483647 w 746"/>
              <a:gd name="T63" fmla="*/ 2147483647 h 469"/>
              <a:gd name="T64" fmla="*/ 2147483647 w 746"/>
              <a:gd name="T65" fmla="*/ 2147483647 h 469"/>
              <a:gd name="T66" fmla="*/ 2147483647 w 746"/>
              <a:gd name="T67" fmla="*/ 2147483647 h 469"/>
              <a:gd name="T68" fmla="*/ 2147483647 w 746"/>
              <a:gd name="T69" fmla="*/ 2147483647 h 469"/>
              <a:gd name="T70" fmla="*/ 2147483647 w 746"/>
              <a:gd name="T71" fmla="*/ 2147483647 h 469"/>
              <a:gd name="T72" fmla="*/ 2147483647 w 746"/>
              <a:gd name="T73" fmla="*/ 2147483647 h 469"/>
              <a:gd name="T74" fmla="*/ 2147483647 w 746"/>
              <a:gd name="T75" fmla="*/ 2147483647 h 469"/>
              <a:gd name="T76" fmla="*/ 2147483647 w 746"/>
              <a:gd name="T77" fmla="*/ 2147483647 h 469"/>
              <a:gd name="T78" fmla="*/ 2147483647 w 746"/>
              <a:gd name="T79" fmla="*/ 2147483647 h 469"/>
              <a:gd name="T80" fmla="*/ 2147483647 w 746"/>
              <a:gd name="T81" fmla="*/ 2147483647 h 469"/>
              <a:gd name="T82" fmla="*/ 2147483647 w 746"/>
              <a:gd name="T83" fmla="*/ 2147483647 h 469"/>
              <a:gd name="T84" fmla="*/ 2147483647 w 746"/>
              <a:gd name="T85" fmla="*/ 2147483647 h 469"/>
              <a:gd name="T86" fmla="*/ 2147483647 w 746"/>
              <a:gd name="T87" fmla="*/ 2147483647 h 469"/>
              <a:gd name="T88" fmla="*/ 2147483647 w 746"/>
              <a:gd name="T89" fmla="*/ 2147483647 h 469"/>
              <a:gd name="T90" fmla="*/ 2147483647 w 746"/>
              <a:gd name="T91" fmla="*/ 2147483647 h 469"/>
              <a:gd name="T92" fmla="*/ 2147483647 w 746"/>
              <a:gd name="T93" fmla="*/ 2147483647 h 469"/>
              <a:gd name="T94" fmla="*/ 2147483647 w 746"/>
              <a:gd name="T95" fmla="*/ 2147483647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4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475028" y="4454153"/>
            <a:ext cx="500062" cy="552450"/>
          </a:xfrm>
          <a:custGeom>
            <a:avLst/>
            <a:gdLst>
              <a:gd name="T0" fmla="*/ 2147483647 w 1145"/>
              <a:gd name="T1" fmla="*/ 2147483647 h 1053"/>
              <a:gd name="T2" fmla="*/ 2147483647 w 1145"/>
              <a:gd name="T3" fmla="*/ 2147483647 h 1053"/>
              <a:gd name="T4" fmla="*/ 2147483647 w 1145"/>
              <a:gd name="T5" fmla="*/ 2147483647 h 1053"/>
              <a:gd name="T6" fmla="*/ 2147483647 w 1145"/>
              <a:gd name="T7" fmla="*/ 2147483647 h 1053"/>
              <a:gd name="T8" fmla="*/ 2147483647 w 1145"/>
              <a:gd name="T9" fmla="*/ 2147483647 h 1053"/>
              <a:gd name="T10" fmla="*/ 2147483647 w 1145"/>
              <a:gd name="T11" fmla="*/ 2147483647 h 1053"/>
              <a:gd name="T12" fmla="*/ 2147483647 w 1145"/>
              <a:gd name="T13" fmla="*/ 2147483647 h 1053"/>
              <a:gd name="T14" fmla="*/ 2147483647 w 1145"/>
              <a:gd name="T15" fmla="*/ 2147483647 h 1053"/>
              <a:gd name="T16" fmla="*/ 2147483647 w 1145"/>
              <a:gd name="T17" fmla="*/ 2147483647 h 1053"/>
              <a:gd name="T18" fmla="*/ 2147483647 w 1145"/>
              <a:gd name="T19" fmla="*/ 2147483647 h 1053"/>
              <a:gd name="T20" fmla="*/ 2147483647 w 1145"/>
              <a:gd name="T21" fmla="*/ 2147483647 h 1053"/>
              <a:gd name="T22" fmla="*/ 2147483647 w 1145"/>
              <a:gd name="T23" fmla="*/ 2147483647 h 1053"/>
              <a:gd name="T24" fmla="*/ 2147483647 w 1145"/>
              <a:gd name="T25" fmla="*/ 2147483647 h 1053"/>
              <a:gd name="T26" fmla="*/ 2147483647 w 1145"/>
              <a:gd name="T27" fmla="*/ 2147483647 h 1053"/>
              <a:gd name="T28" fmla="*/ 2147483647 w 1145"/>
              <a:gd name="T29" fmla="*/ 2147483647 h 1053"/>
              <a:gd name="T30" fmla="*/ 2147483647 w 1145"/>
              <a:gd name="T31" fmla="*/ 2147483647 h 1053"/>
              <a:gd name="T32" fmla="*/ 2147483647 w 1145"/>
              <a:gd name="T33" fmla="*/ 2147483647 h 1053"/>
              <a:gd name="T34" fmla="*/ 2147483647 w 1145"/>
              <a:gd name="T35" fmla="*/ 2147483647 h 1053"/>
              <a:gd name="T36" fmla="*/ 2147483647 w 1145"/>
              <a:gd name="T37" fmla="*/ 2147483647 h 1053"/>
              <a:gd name="T38" fmla="*/ 2147483647 w 1145"/>
              <a:gd name="T39" fmla="*/ 2147483647 h 1053"/>
              <a:gd name="T40" fmla="*/ 2147483647 w 1145"/>
              <a:gd name="T41" fmla="*/ 2147483647 h 1053"/>
              <a:gd name="T42" fmla="*/ 2147483647 w 1145"/>
              <a:gd name="T43" fmla="*/ 2147483647 h 1053"/>
              <a:gd name="T44" fmla="*/ 2147483647 w 1145"/>
              <a:gd name="T45" fmla="*/ 2147483647 h 1053"/>
              <a:gd name="T46" fmla="*/ 2147483647 w 1145"/>
              <a:gd name="T47" fmla="*/ 2147483647 h 1053"/>
              <a:gd name="T48" fmla="*/ 2147483647 w 1145"/>
              <a:gd name="T49" fmla="*/ 2147483647 h 1053"/>
              <a:gd name="T50" fmla="*/ 2147483647 w 1145"/>
              <a:gd name="T51" fmla="*/ 2147483647 h 1053"/>
              <a:gd name="T52" fmla="*/ 2147483647 w 1145"/>
              <a:gd name="T53" fmla="*/ 2147483647 h 1053"/>
              <a:gd name="T54" fmla="*/ 2147483647 w 1145"/>
              <a:gd name="T55" fmla="*/ 2147483647 h 1053"/>
              <a:gd name="T56" fmla="*/ 2147483647 w 1145"/>
              <a:gd name="T57" fmla="*/ 2147483647 h 1053"/>
              <a:gd name="T58" fmla="*/ 2147483647 w 1145"/>
              <a:gd name="T59" fmla="*/ 2147483647 h 1053"/>
              <a:gd name="T60" fmla="*/ 2147483647 w 1145"/>
              <a:gd name="T61" fmla="*/ 2147483647 h 1053"/>
              <a:gd name="T62" fmla="*/ 2147483647 w 1145"/>
              <a:gd name="T63" fmla="*/ 2147483647 h 1053"/>
              <a:gd name="T64" fmla="*/ 2147483647 w 1145"/>
              <a:gd name="T65" fmla="*/ 2147483647 h 1053"/>
              <a:gd name="T66" fmla="*/ 2147483647 w 1145"/>
              <a:gd name="T67" fmla="*/ 2147483647 h 1053"/>
              <a:gd name="T68" fmla="*/ 2147483647 w 1145"/>
              <a:gd name="T69" fmla="*/ 2147483647 h 1053"/>
              <a:gd name="T70" fmla="*/ 2147483647 w 1145"/>
              <a:gd name="T71" fmla="*/ 2147483647 h 1053"/>
              <a:gd name="T72" fmla="*/ 2147483647 w 1145"/>
              <a:gd name="T73" fmla="*/ 2147483647 h 1053"/>
              <a:gd name="T74" fmla="*/ 2147483647 w 1145"/>
              <a:gd name="T75" fmla="*/ 2147483647 h 1053"/>
              <a:gd name="T76" fmla="*/ 2147483647 w 1145"/>
              <a:gd name="T77" fmla="*/ 2147483647 h 1053"/>
              <a:gd name="T78" fmla="*/ 2147483647 w 1145"/>
              <a:gd name="T79" fmla="*/ 2147483647 h 1053"/>
              <a:gd name="T80" fmla="*/ 2147483647 w 1145"/>
              <a:gd name="T81" fmla="*/ 2147483647 h 1053"/>
              <a:gd name="T82" fmla="*/ 2147483647 w 1145"/>
              <a:gd name="T83" fmla="*/ 2147483647 h 1053"/>
              <a:gd name="T84" fmla="*/ 2147483647 w 1145"/>
              <a:gd name="T85" fmla="*/ 2147483647 h 1053"/>
              <a:gd name="T86" fmla="*/ 2147483647 w 1145"/>
              <a:gd name="T87" fmla="*/ 2147483647 h 1053"/>
              <a:gd name="T88" fmla="*/ 2147483647 w 1145"/>
              <a:gd name="T89" fmla="*/ 2147483647 h 1053"/>
              <a:gd name="T90" fmla="*/ 2147483647 w 1145"/>
              <a:gd name="T91" fmla="*/ 2147483647 h 1053"/>
              <a:gd name="T92" fmla="*/ 2147483647 w 1145"/>
              <a:gd name="T93" fmla="*/ 2147483647 h 1053"/>
              <a:gd name="T94" fmla="*/ 2147483647 w 1145"/>
              <a:gd name="T95" fmla="*/ 2147483647 h 1053"/>
              <a:gd name="T96" fmla="*/ 2147483647 w 1145"/>
              <a:gd name="T97" fmla="*/ 2147483647 h 1053"/>
              <a:gd name="T98" fmla="*/ 2147483647 w 1145"/>
              <a:gd name="T99" fmla="*/ 2147483647 h 1053"/>
              <a:gd name="T100" fmla="*/ 2147483647 w 1145"/>
              <a:gd name="T101" fmla="*/ 2147483647 h 1053"/>
              <a:gd name="T102" fmla="*/ 2147483647 w 1145"/>
              <a:gd name="T103" fmla="*/ 2147483647 h 1053"/>
              <a:gd name="T104" fmla="*/ 2147483647 w 1145"/>
              <a:gd name="T105" fmla="*/ 2147483647 h 1053"/>
              <a:gd name="T106" fmla="*/ 2147483647 w 1145"/>
              <a:gd name="T107" fmla="*/ 2147483647 h 1053"/>
              <a:gd name="T108" fmla="*/ 2147483647 w 1145"/>
              <a:gd name="T109" fmla="*/ 2147483647 h 1053"/>
              <a:gd name="T110" fmla="*/ 2147483647 w 1145"/>
              <a:gd name="T111" fmla="*/ 2147483647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5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411528" y="4554165"/>
            <a:ext cx="55562" cy="55563"/>
          </a:xfrm>
          <a:custGeom>
            <a:avLst/>
            <a:gdLst>
              <a:gd name="T0" fmla="*/ 2147483647 w 125"/>
              <a:gd name="T1" fmla="*/ 0 h 81"/>
              <a:gd name="T2" fmla="*/ 2147483647 w 125"/>
              <a:gd name="T3" fmla="*/ 2147483647 h 81"/>
              <a:gd name="T4" fmla="*/ 2147483647 w 125"/>
              <a:gd name="T5" fmla="*/ 2147483647 h 81"/>
              <a:gd name="T6" fmla="*/ 2147483647 w 125"/>
              <a:gd name="T7" fmla="*/ 2147483647 h 81"/>
              <a:gd name="T8" fmla="*/ 2147483647 w 125"/>
              <a:gd name="T9" fmla="*/ 2147483647 h 81"/>
              <a:gd name="T10" fmla="*/ 2147483647 w 125"/>
              <a:gd name="T11" fmla="*/ 2147483647 h 81"/>
              <a:gd name="T12" fmla="*/ 2147483647 w 125"/>
              <a:gd name="T13" fmla="*/ 2147483647 h 81"/>
              <a:gd name="T14" fmla="*/ 2147483647 w 125"/>
              <a:gd name="T15" fmla="*/ 2147483647 h 81"/>
              <a:gd name="T16" fmla="*/ 2147483647 w 125"/>
              <a:gd name="T17" fmla="*/ 2147483647 h 81"/>
              <a:gd name="T18" fmla="*/ 2147483647 w 125"/>
              <a:gd name="T19" fmla="*/ 2147483647 h 81"/>
              <a:gd name="T20" fmla="*/ 2147483647 w 125"/>
              <a:gd name="T21" fmla="*/ 2147483647 h 81"/>
              <a:gd name="T22" fmla="*/ 2147483647 w 125"/>
              <a:gd name="T23" fmla="*/ 2147483647 h 81"/>
              <a:gd name="T24" fmla="*/ 2147483647 w 125"/>
              <a:gd name="T25" fmla="*/ 2147483647 h 81"/>
              <a:gd name="T26" fmla="*/ 2147483647 w 125"/>
              <a:gd name="T27" fmla="*/ 2147483647 h 81"/>
              <a:gd name="T28" fmla="*/ 2147483647 w 125"/>
              <a:gd name="T29" fmla="*/ 2147483647 h 81"/>
              <a:gd name="T30" fmla="*/ 2147483647 w 125"/>
              <a:gd name="T31" fmla="*/ 2147483647 h 81"/>
              <a:gd name="T32" fmla="*/ 0 w 125"/>
              <a:gd name="T33" fmla="*/ 2147483647 h 81"/>
              <a:gd name="T34" fmla="*/ 0 w 125"/>
              <a:gd name="T35" fmla="*/ 2147483647 h 81"/>
              <a:gd name="T36" fmla="*/ 2147483647 w 125"/>
              <a:gd name="T37" fmla="*/ 2147483647 h 81"/>
              <a:gd name="T38" fmla="*/ 2147483647 w 125"/>
              <a:gd name="T39" fmla="*/ 2147483647 h 81"/>
              <a:gd name="T40" fmla="*/ 2147483647 w 125"/>
              <a:gd name="T41" fmla="*/ 2147483647 h 81"/>
              <a:gd name="T42" fmla="*/ 2147483647 w 125"/>
              <a:gd name="T43" fmla="*/ 2147483647 h 81"/>
              <a:gd name="T44" fmla="*/ 2147483647 w 125"/>
              <a:gd name="T45" fmla="*/ 2147483647 h 81"/>
              <a:gd name="T46" fmla="*/ 2147483647 w 125"/>
              <a:gd name="T47" fmla="*/ 2147483647 h 81"/>
              <a:gd name="T48" fmla="*/ 2147483647 w 125"/>
              <a:gd name="T49" fmla="*/ 0 h 81"/>
              <a:gd name="T50" fmla="*/ 2147483647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6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394065" y="4554165"/>
            <a:ext cx="152400" cy="201613"/>
          </a:xfrm>
          <a:custGeom>
            <a:avLst/>
            <a:gdLst>
              <a:gd name="T0" fmla="*/ 2147483647 w 355"/>
              <a:gd name="T1" fmla="*/ 2147483647 h 388"/>
              <a:gd name="T2" fmla="*/ 2147483647 w 355"/>
              <a:gd name="T3" fmla="*/ 2147483647 h 388"/>
              <a:gd name="T4" fmla="*/ 2147483647 w 355"/>
              <a:gd name="T5" fmla="*/ 2147483647 h 388"/>
              <a:gd name="T6" fmla="*/ 2147483647 w 355"/>
              <a:gd name="T7" fmla="*/ 2147483647 h 388"/>
              <a:gd name="T8" fmla="*/ 2147483647 w 355"/>
              <a:gd name="T9" fmla="*/ 2147483647 h 388"/>
              <a:gd name="T10" fmla="*/ 2147483647 w 355"/>
              <a:gd name="T11" fmla="*/ 2147483647 h 388"/>
              <a:gd name="T12" fmla="*/ 2147483647 w 355"/>
              <a:gd name="T13" fmla="*/ 2147483647 h 388"/>
              <a:gd name="T14" fmla="*/ 2147483647 w 355"/>
              <a:gd name="T15" fmla="*/ 2147483647 h 388"/>
              <a:gd name="T16" fmla="*/ 2147483647 w 355"/>
              <a:gd name="T17" fmla="*/ 2147483647 h 388"/>
              <a:gd name="T18" fmla="*/ 2147483647 w 355"/>
              <a:gd name="T19" fmla="*/ 2147483647 h 388"/>
              <a:gd name="T20" fmla="*/ 2147483647 w 355"/>
              <a:gd name="T21" fmla="*/ 2147483647 h 388"/>
              <a:gd name="T22" fmla="*/ 2147483647 w 355"/>
              <a:gd name="T23" fmla="*/ 2147483647 h 388"/>
              <a:gd name="T24" fmla="*/ 2147483647 w 355"/>
              <a:gd name="T25" fmla="*/ 2147483647 h 388"/>
              <a:gd name="T26" fmla="*/ 2147483647 w 355"/>
              <a:gd name="T27" fmla="*/ 2147483647 h 388"/>
              <a:gd name="T28" fmla="*/ 2147483647 w 355"/>
              <a:gd name="T29" fmla="*/ 2147483647 h 388"/>
              <a:gd name="T30" fmla="*/ 2147483647 w 355"/>
              <a:gd name="T31" fmla="*/ 2147483647 h 388"/>
              <a:gd name="T32" fmla="*/ 2147483647 w 355"/>
              <a:gd name="T33" fmla="*/ 2147483647 h 388"/>
              <a:gd name="T34" fmla="*/ 2147483647 w 355"/>
              <a:gd name="T35" fmla="*/ 2147483647 h 388"/>
              <a:gd name="T36" fmla="*/ 2147483647 w 355"/>
              <a:gd name="T37" fmla="*/ 2147483647 h 388"/>
              <a:gd name="T38" fmla="*/ 2147483647 w 355"/>
              <a:gd name="T39" fmla="*/ 2147483647 h 388"/>
              <a:gd name="T40" fmla="*/ 2147483647 w 355"/>
              <a:gd name="T41" fmla="*/ 2147483647 h 388"/>
              <a:gd name="T42" fmla="*/ 2147483647 w 355"/>
              <a:gd name="T43" fmla="*/ 2147483647 h 388"/>
              <a:gd name="T44" fmla="*/ 2147483647 w 355"/>
              <a:gd name="T45" fmla="*/ 2147483647 h 388"/>
              <a:gd name="T46" fmla="*/ 2147483647 w 355"/>
              <a:gd name="T47" fmla="*/ 2147483647 h 388"/>
              <a:gd name="T48" fmla="*/ 2147483647 w 355"/>
              <a:gd name="T49" fmla="*/ 2147483647 h 388"/>
              <a:gd name="T50" fmla="*/ 2147483647 w 355"/>
              <a:gd name="T51" fmla="*/ 2147483647 h 388"/>
              <a:gd name="T52" fmla="*/ 2147483647 w 355"/>
              <a:gd name="T53" fmla="*/ 2147483647 h 388"/>
              <a:gd name="T54" fmla="*/ 2147483647 w 355"/>
              <a:gd name="T55" fmla="*/ 2147483647 h 388"/>
              <a:gd name="T56" fmla="*/ 2147483647 w 355"/>
              <a:gd name="T57" fmla="*/ 2147483647 h 388"/>
              <a:gd name="T58" fmla="*/ 2147483647 w 355"/>
              <a:gd name="T59" fmla="*/ 2147483647 h 388"/>
              <a:gd name="T60" fmla="*/ 2147483647 w 355"/>
              <a:gd name="T61" fmla="*/ 2147483647 h 388"/>
              <a:gd name="T62" fmla="*/ 2147483647 w 355"/>
              <a:gd name="T63" fmla="*/ 2147483647 h 388"/>
              <a:gd name="T64" fmla="*/ 2147483647 w 355"/>
              <a:gd name="T65" fmla="*/ 2147483647 h 388"/>
              <a:gd name="T66" fmla="*/ 2147483647 w 355"/>
              <a:gd name="T67" fmla="*/ 2147483647 h 388"/>
              <a:gd name="T68" fmla="*/ 2147483647 w 355"/>
              <a:gd name="T69" fmla="*/ 2147483647 h 388"/>
              <a:gd name="T70" fmla="*/ 2147483647 w 355"/>
              <a:gd name="T71" fmla="*/ 2147483647 h 388"/>
              <a:gd name="T72" fmla="*/ 2147483647 w 355"/>
              <a:gd name="T73" fmla="*/ 2147483647 h 388"/>
              <a:gd name="T74" fmla="*/ 2147483647 w 355"/>
              <a:gd name="T75" fmla="*/ 2147483647 h 388"/>
              <a:gd name="T76" fmla="*/ 2147483647 w 355"/>
              <a:gd name="T77" fmla="*/ 2147483647 h 388"/>
              <a:gd name="T78" fmla="*/ 2147483647 w 355"/>
              <a:gd name="T79" fmla="*/ 2147483647 h 388"/>
              <a:gd name="T80" fmla="*/ 2147483647 w 355"/>
              <a:gd name="T81" fmla="*/ 2147483647 h 388"/>
              <a:gd name="T82" fmla="*/ 2147483647 w 355"/>
              <a:gd name="T83" fmla="*/ 2147483647 h 388"/>
              <a:gd name="T84" fmla="*/ 2147483647 w 355"/>
              <a:gd name="T85" fmla="*/ 2147483647 h 388"/>
              <a:gd name="T86" fmla="*/ 2147483647 w 355"/>
              <a:gd name="T87" fmla="*/ 2147483647 h 388"/>
              <a:gd name="T88" fmla="*/ 2147483647 w 355"/>
              <a:gd name="T89" fmla="*/ 2147483647 h 388"/>
              <a:gd name="T90" fmla="*/ 2147483647 w 355"/>
              <a:gd name="T91" fmla="*/ 2147483647 h 388"/>
              <a:gd name="T92" fmla="*/ 2147483647 w 355"/>
              <a:gd name="T93" fmla="*/ 2147483647 h 388"/>
              <a:gd name="T94" fmla="*/ 2147483647 w 355"/>
              <a:gd name="T95" fmla="*/ 2147483647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7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927465" y="4958978"/>
            <a:ext cx="260350" cy="520700"/>
          </a:xfrm>
          <a:custGeom>
            <a:avLst/>
            <a:gdLst>
              <a:gd name="T0" fmla="*/ 0 w 599"/>
              <a:gd name="T1" fmla="*/ 2147483647 h 993"/>
              <a:gd name="T2" fmla="*/ 2147483647 w 599"/>
              <a:gd name="T3" fmla="*/ 2147483647 h 993"/>
              <a:gd name="T4" fmla="*/ 2147483647 w 599"/>
              <a:gd name="T5" fmla="*/ 2147483647 h 993"/>
              <a:gd name="T6" fmla="*/ 2147483647 w 599"/>
              <a:gd name="T7" fmla="*/ 2147483647 h 993"/>
              <a:gd name="T8" fmla="*/ 2147483647 w 599"/>
              <a:gd name="T9" fmla="*/ 2147483647 h 993"/>
              <a:gd name="T10" fmla="*/ 2147483647 w 599"/>
              <a:gd name="T11" fmla="*/ 2147483647 h 993"/>
              <a:gd name="T12" fmla="*/ 2147483647 w 599"/>
              <a:gd name="T13" fmla="*/ 2147483647 h 993"/>
              <a:gd name="T14" fmla="*/ 2147483647 w 599"/>
              <a:gd name="T15" fmla="*/ 2147483647 h 993"/>
              <a:gd name="T16" fmla="*/ 2147483647 w 599"/>
              <a:gd name="T17" fmla="*/ 2147483647 h 993"/>
              <a:gd name="T18" fmla="*/ 2147483647 w 599"/>
              <a:gd name="T19" fmla="*/ 2147483647 h 993"/>
              <a:gd name="T20" fmla="*/ 2147483647 w 599"/>
              <a:gd name="T21" fmla="*/ 2147483647 h 993"/>
              <a:gd name="T22" fmla="*/ 2147483647 w 599"/>
              <a:gd name="T23" fmla="*/ 2147483647 h 993"/>
              <a:gd name="T24" fmla="*/ 2147483647 w 599"/>
              <a:gd name="T25" fmla="*/ 2147483647 h 993"/>
              <a:gd name="T26" fmla="*/ 2147483647 w 599"/>
              <a:gd name="T27" fmla="*/ 2147483647 h 993"/>
              <a:gd name="T28" fmla="*/ 2147483647 w 599"/>
              <a:gd name="T29" fmla="*/ 2147483647 h 993"/>
              <a:gd name="T30" fmla="*/ 2147483647 w 599"/>
              <a:gd name="T31" fmla="*/ 2147483647 h 993"/>
              <a:gd name="T32" fmla="*/ 2147483647 w 599"/>
              <a:gd name="T33" fmla="*/ 2147483647 h 993"/>
              <a:gd name="T34" fmla="*/ 2147483647 w 599"/>
              <a:gd name="T35" fmla="*/ 2147483647 h 993"/>
              <a:gd name="T36" fmla="*/ 2147483647 w 599"/>
              <a:gd name="T37" fmla="*/ 2147483647 h 993"/>
              <a:gd name="T38" fmla="*/ 2147483647 w 599"/>
              <a:gd name="T39" fmla="*/ 2147483647 h 993"/>
              <a:gd name="T40" fmla="*/ 2147483647 w 599"/>
              <a:gd name="T41" fmla="*/ 2147483647 h 993"/>
              <a:gd name="T42" fmla="*/ 2147483647 w 599"/>
              <a:gd name="T43" fmla="*/ 2147483647 h 993"/>
              <a:gd name="T44" fmla="*/ 2147483647 w 599"/>
              <a:gd name="T45" fmla="*/ 2147483647 h 993"/>
              <a:gd name="T46" fmla="*/ 2147483647 w 599"/>
              <a:gd name="T47" fmla="*/ 2147483647 h 993"/>
              <a:gd name="T48" fmla="*/ 2147483647 w 599"/>
              <a:gd name="T49" fmla="*/ 2147483647 h 993"/>
              <a:gd name="T50" fmla="*/ 2147483647 w 599"/>
              <a:gd name="T51" fmla="*/ 2147483647 h 993"/>
              <a:gd name="T52" fmla="*/ 2147483647 w 599"/>
              <a:gd name="T53" fmla="*/ 2147483647 h 993"/>
              <a:gd name="T54" fmla="*/ 2147483647 w 599"/>
              <a:gd name="T55" fmla="*/ 2147483647 h 993"/>
              <a:gd name="T56" fmla="*/ 2147483647 w 599"/>
              <a:gd name="T57" fmla="*/ 2147483647 h 993"/>
              <a:gd name="T58" fmla="*/ 2147483647 w 599"/>
              <a:gd name="T59" fmla="*/ 2147483647 h 993"/>
              <a:gd name="T60" fmla="*/ 2147483647 w 599"/>
              <a:gd name="T61" fmla="*/ 2147483647 h 993"/>
              <a:gd name="T62" fmla="*/ 2147483647 w 599"/>
              <a:gd name="T63" fmla="*/ 2147483647 h 993"/>
              <a:gd name="T64" fmla="*/ 2147483647 w 599"/>
              <a:gd name="T65" fmla="*/ 2147483647 h 993"/>
              <a:gd name="T66" fmla="*/ 2147483647 w 599"/>
              <a:gd name="T67" fmla="*/ 2147483647 h 993"/>
              <a:gd name="T68" fmla="*/ 2147483647 w 599"/>
              <a:gd name="T69" fmla="*/ 2147483647 h 993"/>
              <a:gd name="T70" fmla="*/ 2147483647 w 599"/>
              <a:gd name="T71" fmla="*/ 2147483647 h 993"/>
              <a:gd name="T72" fmla="*/ 2147483647 w 599"/>
              <a:gd name="T73" fmla="*/ 2147483647 h 993"/>
              <a:gd name="T74" fmla="*/ 2147483647 w 599"/>
              <a:gd name="T75" fmla="*/ 2147483647 h 993"/>
              <a:gd name="T76" fmla="*/ 2147483647 w 599"/>
              <a:gd name="T77" fmla="*/ 2147483647 h 993"/>
              <a:gd name="T78" fmla="*/ 2147483647 w 599"/>
              <a:gd name="T79" fmla="*/ 2147483647 h 993"/>
              <a:gd name="T80" fmla="*/ 2147483647 w 599"/>
              <a:gd name="T81" fmla="*/ 2147483647 h 993"/>
              <a:gd name="T82" fmla="*/ 2147483647 w 599"/>
              <a:gd name="T83" fmla="*/ 2147483647 h 993"/>
              <a:gd name="T84" fmla="*/ 2147483647 w 599"/>
              <a:gd name="T85" fmla="*/ 2147483647 h 993"/>
              <a:gd name="T86" fmla="*/ 2147483647 w 599"/>
              <a:gd name="T87" fmla="*/ 2147483647 h 993"/>
              <a:gd name="T88" fmla="*/ 2147483647 w 599"/>
              <a:gd name="T89" fmla="*/ 2147483647 h 993"/>
              <a:gd name="T90" fmla="*/ 2147483647 w 599"/>
              <a:gd name="T91" fmla="*/ 2147483647 h 993"/>
              <a:gd name="T92" fmla="*/ 2147483647 w 599"/>
              <a:gd name="T93" fmla="*/ 2147483647 h 993"/>
              <a:gd name="T94" fmla="*/ 2147483647 w 599"/>
              <a:gd name="T95" fmla="*/ 2147483647 h 993"/>
              <a:gd name="T96" fmla="*/ 2147483647 w 599"/>
              <a:gd name="T97" fmla="*/ 2147483647 h 993"/>
              <a:gd name="T98" fmla="*/ 2147483647 w 599"/>
              <a:gd name="T99" fmla="*/ 2147483647 h 993"/>
              <a:gd name="T100" fmla="*/ 2147483647 w 599"/>
              <a:gd name="T101" fmla="*/ 2147483647 h 993"/>
              <a:gd name="T102" fmla="*/ 2147483647 w 599"/>
              <a:gd name="T103" fmla="*/ 2147483647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8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662353" y="5198690"/>
            <a:ext cx="238125" cy="287338"/>
          </a:xfrm>
          <a:custGeom>
            <a:avLst/>
            <a:gdLst>
              <a:gd name="T0" fmla="*/ 2147483647 w 545"/>
              <a:gd name="T1" fmla="*/ 2147483647 h 549"/>
              <a:gd name="T2" fmla="*/ 2147483647 w 545"/>
              <a:gd name="T3" fmla="*/ 2147483647 h 549"/>
              <a:gd name="T4" fmla="*/ 2147483647 w 545"/>
              <a:gd name="T5" fmla="*/ 2147483647 h 549"/>
              <a:gd name="T6" fmla="*/ 2147483647 w 545"/>
              <a:gd name="T7" fmla="*/ 2147483647 h 549"/>
              <a:gd name="T8" fmla="*/ 2147483647 w 545"/>
              <a:gd name="T9" fmla="*/ 2147483647 h 549"/>
              <a:gd name="T10" fmla="*/ 2147483647 w 545"/>
              <a:gd name="T11" fmla="*/ 2147483647 h 549"/>
              <a:gd name="T12" fmla="*/ 2147483647 w 545"/>
              <a:gd name="T13" fmla="*/ 2147483647 h 549"/>
              <a:gd name="T14" fmla="*/ 2147483647 w 545"/>
              <a:gd name="T15" fmla="*/ 2147483647 h 549"/>
              <a:gd name="T16" fmla="*/ 2147483647 w 545"/>
              <a:gd name="T17" fmla="*/ 2147483647 h 549"/>
              <a:gd name="T18" fmla="*/ 2147483647 w 545"/>
              <a:gd name="T19" fmla="*/ 2147483647 h 549"/>
              <a:gd name="T20" fmla="*/ 2147483647 w 545"/>
              <a:gd name="T21" fmla="*/ 2147483647 h 549"/>
              <a:gd name="T22" fmla="*/ 2147483647 w 545"/>
              <a:gd name="T23" fmla="*/ 2147483647 h 549"/>
              <a:gd name="T24" fmla="*/ 2147483647 w 545"/>
              <a:gd name="T25" fmla="*/ 2147483647 h 549"/>
              <a:gd name="T26" fmla="*/ 2147483647 w 545"/>
              <a:gd name="T27" fmla="*/ 2147483647 h 549"/>
              <a:gd name="T28" fmla="*/ 2147483647 w 545"/>
              <a:gd name="T29" fmla="*/ 2147483647 h 549"/>
              <a:gd name="T30" fmla="*/ 2147483647 w 545"/>
              <a:gd name="T31" fmla="*/ 2147483647 h 549"/>
              <a:gd name="T32" fmla="*/ 2147483647 w 545"/>
              <a:gd name="T33" fmla="*/ 2147483647 h 549"/>
              <a:gd name="T34" fmla="*/ 2147483647 w 545"/>
              <a:gd name="T35" fmla="*/ 2147483647 h 549"/>
              <a:gd name="T36" fmla="*/ 2147483647 w 545"/>
              <a:gd name="T37" fmla="*/ 2147483647 h 549"/>
              <a:gd name="T38" fmla="*/ 2147483647 w 545"/>
              <a:gd name="T39" fmla="*/ 2147483647 h 549"/>
              <a:gd name="T40" fmla="*/ 2147483647 w 545"/>
              <a:gd name="T41" fmla="*/ 2147483647 h 549"/>
              <a:gd name="T42" fmla="*/ 2147483647 w 545"/>
              <a:gd name="T43" fmla="*/ 2147483647 h 549"/>
              <a:gd name="T44" fmla="*/ 2147483647 w 545"/>
              <a:gd name="T45" fmla="*/ 2147483647 h 549"/>
              <a:gd name="T46" fmla="*/ 2147483647 w 545"/>
              <a:gd name="T47" fmla="*/ 2147483647 h 549"/>
              <a:gd name="T48" fmla="*/ 2147483647 w 545"/>
              <a:gd name="T49" fmla="*/ 2147483647 h 549"/>
              <a:gd name="T50" fmla="*/ 2147483647 w 545"/>
              <a:gd name="T51" fmla="*/ 2147483647 h 549"/>
              <a:gd name="T52" fmla="*/ 2147483647 w 545"/>
              <a:gd name="T53" fmla="*/ 2147483647 h 549"/>
              <a:gd name="T54" fmla="*/ 2147483647 w 545"/>
              <a:gd name="T55" fmla="*/ 2147483647 h 549"/>
              <a:gd name="T56" fmla="*/ 2147483647 w 545"/>
              <a:gd name="T57" fmla="*/ 2147483647 h 549"/>
              <a:gd name="T58" fmla="*/ 2147483647 w 545"/>
              <a:gd name="T59" fmla="*/ 2147483647 h 549"/>
              <a:gd name="T60" fmla="*/ 2147483647 w 545"/>
              <a:gd name="T61" fmla="*/ 2147483647 h 549"/>
              <a:gd name="T62" fmla="*/ 2147483647 w 545"/>
              <a:gd name="T63" fmla="*/ 2147483647 h 549"/>
              <a:gd name="T64" fmla="*/ 2147483647 w 545"/>
              <a:gd name="T65" fmla="*/ 0 h 549"/>
              <a:gd name="T66" fmla="*/ 2147483647 w 545"/>
              <a:gd name="T67" fmla="*/ 2147483647 h 549"/>
              <a:gd name="T68" fmla="*/ 2147483647 w 545"/>
              <a:gd name="T69" fmla="*/ 2147483647 h 549"/>
              <a:gd name="T70" fmla="*/ 2147483647 w 545"/>
              <a:gd name="T71" fmla="*/ 2147483647 h 549"/>
              <a:gd name="T72" fmla="*/ 2147483647 w 545"/>
              <a:gd name="T73" fmla="*/ 2147483647 h 549"/>
              <a:gd name="T74" fmla="*/ 2147483647 w 545"/>
              <a:gd name="T75" fmla="*/ 2147483647 h 549"/>
              <a:gd name="T76" fmla="*/ 2147483647 w 545"/>
              <a:gd name="T77" fmla="*/ 2147483647 h 549"/>
              <a:gd name="T78" fmla="*/ 2147483647 w 545"/>
              <a:gd name="T79" fmla="*/ 2147483647 h 549"/>
              <a:gd name="T80" fmla="*/ 2147483647 w 545"/>
              <a:gd name="T81" fmla="*/ 2147483647 h 549"/>
              <a:gd name="T82" fmla="*/ 2147483647 w 545"/>
              <a:gd name="T83" fmla="*/ 2147483647 h 549"/>
              <a:gd name="T84" fmla="*/ 2147483647 w 545"/>
              <a:gd name="T85" fmla="*/ 2147483647 h 549"/>
              <a:gd name="T86" fmla="*/ 2147483647 w 545"/>
              <a:gd name="T87" fmla="*/ 2147483647 h 549"/>
              <a:gd name="T88" fmla="*/ 2147483647 w 545"/>
              <a:gd name="T89" fmla="*/ 2147483647 h 549"/>
              <a:gd name="T90" fmla="*/ 2147483647 w 545"/>
              <a:gd name="T91" fmla="*/ 2147483647 h 549"/>
              <a:gd name="T92" fmla="*/ 2147483647 w 545"/>
              <a:gd name="T93" fmla="*/ 2147483647 h 549"/>
              <a:gd name="T94" fmla="*/ 2147483647 w 545"/>
              <a:gd name="T95" fmla="*/ 2147483647 h 549"/>
              <a:gd name="T96" fmla="*/ 2147483647 w 545"/>
              <a:gd name="T97" fmla="*/ 2147483647 h 549"/>
              <a:gd name="T98" fmla="*/ 0 w 545"/>
              <a:gd name="T99" fmla="*/ 2147483647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9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235440" y="5000253"/>
            <a:ext cx="196850" cy="434975"/>
          </a:xfrm>
          <a:custGeom>
            <a:avLst/>
            <a:gdLst>
              <a:gd name="T0" fmla="*/ 2147483647 w 452"/>
              <a:gd name="T1" fmla="*/ 2147483647 h 832"/>
              <a:gd name="T2" fmla="*/ 2147483647 w 452"/>
              <a:gd name="T3" fmla="*/ 2147483647 h 832"/>
              <a:gd name="T4" fmla="*/ 2147483647 w 452"/>
              <a:gd name="T5" fmla="*/ 2147483647 h 832"/>
              <a:gd name="T6" fmla="*/ 2147483647 w 452"/>
              <a:gd name="T7" fmla="*/ 2147483647 h 832"/>
              <a:gd name="T8" fmla="*/ 2147483647 w 452"/>
              <a:gd name="T9" fmla="*/ 2147483647 h 832"/>
              <a:gd name="T10" fmla="*/ 2147483647 w 452"/>
              <a:gd name="T11" fmla="*/ 2147483647 h 832"/>
              <a:gd name="T12" fmla="*/ 2147483647 w 452"/>
              <a:gd name="T13" fmla="*/ 2147483647 h 832"/>
              <a:gd name="T14" fmla="*/ 2147483647 w 452"/>
              <a:gd name="T15" fmla="*/ 2147483647 h 832"/>
              <a:gd name="T16" fmla="*/ 2147483647 w 452"/>
              <a:gd name="T17" fmla="*/ 2147483647 h 832"/>
              <a:gd name="T18" fmla="*/ 2147483647 w 452"/>
              <a:gd name="T19" fmla="*/ 2147483647 h 832"/>
              <a:gd name="T20" fmla="*/ 2147483647 w 452"/>
              <a:gd name="T21" fmla="*/ 2147483647 h 832"/>
              <a:gd name="T22" fmla="*/ 2147483647 w 452"/>
              <a:gd name="T23" fmla="*/ 2147483647 h 832"/>
              <a:gd name="T24" fmla="*/ 2147483647 w 452"/>
              <a:gd name="T25" fmla="*/ 0 h 832"/>
              <a:gd name="T26" fmla="*/ 2147483647 w 452"/>
              <a:gd name="T27" fmla="*/ 2147483647 h 832"/>
              <a:gd name="T28" fmla="*/ 2147483647 w 452"/>
              <a:gd name="T29" fmla="*/ 2147483647 h 832"/>
              <a:gd name="T30" fmla="*/ 2147483647 w 452"/>
              <a:gd name="T31" fmla="*/ 2147483647 h 832"/>
              <a:gd name="T32" fmla="*/ 2147483647 w 452"/>
              <a:gd name="T33" fmla="*/ 2147483647 h 832"/>
              <a:gd name="T34" fmla="*/ 2147483647 w 452"/>
              <a:gd name="T35" fmla="*/ 2147483647 h 832"/>
              <a:gd name="T36" fmla="*/ 2147483647 w 452"/>
              <a:gd name="T37" fmla="*/ 2147483647 h 832"/>
              <a:gd name="T38" fmla="*/ 2147483647 w 452"/>
              <a:gd name="T39" fmla="*/ 2147483647 h 832"/>
              <a:gd name="T40" fmla="*/ 2147483647 w 452"/>
              <a:gd name="T41" fmla="*/ 2147483647 h 832"/>
              <a:gd name="T42" fmla="*/ 2147483647 w 452"/>
              <a:gd name="T43" fmla="*/ 2147483647 h 832"/>
              <a:gd name="T44" fmla="*/ 2147483647 w 452"/>
              <a:gd name="T45" fmla="*/ 2147483647 h 832"/>
              <a:gd name="T46" fmla="*/ 2147483647 w 452"/>
              <a:gd name="T47" fmla="*/ 2147483647 h 832"/>
              <a:gd name="T48" fmla="*/ 2147483647 w 452"/>
              <a:gd name="T49" fmla="*/ 2147483647 h 832"/>
              <a:gd name="T50" fmla="*/ 2147483647 w 452"/>
              <a:gd name="T51" fmla="*/ 2147483647 h 832"/>
              <a:gd name="T52" fmla="*/ 2147483647 w 452"/>
              <a:gd name="T53" fmla="*/ 2147483647 h 832"/>
              <a:gd name="T54" fmla="*/ 2147483647 w 452"/>
              <a:gd name="T55" fmla="*/ 2147483647 h 832"/>
              <a:gd name="T56" fmla="*/ 2147483647 w 452"/>
              <a:gd name="T57" fmla="*/ 2147483647 h 832"/>
              <a:gd name="T58" fmla="*/ 2147483647 w 452"/>
              <a:gd name="T59" fmla="*/ 2147483647 h 832"/>
              <a:gd name="T60" fmla="*/ 2147483647 w 452"/>
              <a:gd name="T61" fmla="*/ 2147483647 h 832"/>
              <a:gd name="T62" fmla="*/ 2147483647 w 452"/>
              <a:gd name="T63" fmla="*/ 2147483647 h 832"/>
              <a:gd name="T64" fmla="*/ 2147483647 w 452"/>
              <a:gd name="T65" fmla="*/ 2147483647 h 832"/>
              <a:gd name="T66" fmla="*/ 2147483647 w 452"/>
              <a:gd name="T67" fmla="*/ 2147483647 h 832"/>
              <a:gd name="T68" fmla="*/ 2147483647 w 452"/>
              <a:gd name="T69" fmla="*/ 2147483647 h 832"/>
              <a:gd name="T70" fmla="*/ 2147483647 w 452"/>
              <a:gd name="T71" fmla="*/ 2147483647 h 832"/>
              <a:gd name="T72" fmla="*/ 2147483647 w 452"/>
              <a:gd name="T73" fmla="*/ 2147483647 h 832"/>
              <a:gd name="T74" fmla="*/ 2147483647 w 452"/>
              <a:gd name="T75" fmla="*/ 2147483647 h 832"/>
              <a:gd name="T76" fmla="*/ 2147483647 w 452"/>
              <a:gd name="T77" fmla="*/ 2147483647 h 832"/>
              <a:gd name="T78" fmla="*/ 2147483647 w 452"/>
              <a:gd name="T79" fmla="*/ 2147483647 h 832"/>
              <a:gd name="T80" fmla="*/ 2147483647 w 452"/>
              <a:gd name="T81" fmla="*/ 2147483647 h 832"/>
              <a:gd name="T82" fmla="*/ 2147483647 w 452"/>
              <a:gd name="T83" fmla="*/ 2147483647 h 832"/>
              <a:gd name="T84" fmla="*/ 2147483647 w 452"/>
              <a:gd name="T85" fmla="*/ 2147483647 h 832"/>
              <a:gd name="T86" fmla="*/ 2147483647 w 452"/>
              <a:gd name="T87" fmla="*/ 2147483647 h 832"/>
              <a:gd name="T88" fmla="*/ 2147483647 w 452"/>
              <a:gd name="T89" fmla="*/ 2147483647 h 832"/>
              <a:gd name="T90" fmla="*/ 2147483647 w 452"/>
              <a:gd name="T91" fmla="*/ 2147483647 h 832"/>
              <a:gd name="T92" fmla="*/ 0 w 452"/>
              <a:gd name="T93" fmla="*/ 2147483647 h 832"/>
              <a:gd name="T94" fmla="*/ 2147483647 w 452"/>
              <a:gd name="T95" fmla="*/ 2147483647 h 832"/>
              <a:gd name="T96" fmla="*/ 2147483647 w 452"/>
              <a:gd name="T97" fmla="*/ 2147483647 h 832"/>
              <a:gd name="T98" fmla="*/ 2147483647 w 452"/>
              <a:gd name="T99" fmla="*/ 2147483647 h 832"/>
              <a:gd name="T100" fmla="*/ 0 w 452"/>
              <a:gd name="T101" fmla="*/ 2147483647 h 832"/>
              <a:gd name="T102" fmla="*/ 2147483647 w 452"/>
              <a:gd name="T103" fmla="*/ 2147483647 h 832"/>
              <a:gd name="T104" fmla="*/ 2147483647 w 452"/>
              <a:gd name="T105" fmla="*/ 2147483647 h 832"/>
              <a:gd name="T106" fmla="*/ 2147483647 w 452"/>
              <a:gd name="T107" fmla="*/ 2147483647 h 832"/>
              <a:gd name="T108" fmla="*/ 2147483647 w 452"/>
              <a:gd name="T109" fmla="*/ 2147483647 h 832"/>
              <a:gd name="T110" fmla="*/ 2147483647 w 452"/>
              <a:gd name="T111" fmla="*/ 2147483647 h 832"/>
              <a:gd name="T112" fmla="*/ 2147483647 w 452"/>
              <a:gd name="T113" fmla="*/ 2147483647 h 832"/>
              <a:gd name="T114" fmla="*/ 2147483647 w 452"/>
              <a:gd name="T115" fmla="*/ 2147483647 h 832"/>
              <a:gd name="T116" fmla="*/ 2147483647 w 452"/>
              <a:gd name="T117" fmla="*/ 2147483647 h 832"/>
              <a:gd name="T118" fmla="*/ 2147483647 w 452"/>
              <a:gd name="T119" fmla="*/ 2147483647 h 832"/>
              <a:gd name="T120" fmla="*/ 2147483647 w 452"/>
              <a:gd name="T121" fmla="*/ 2147483647 h 832"/>
              <a:gd name="T122" fmla="*/ 2147483647 w 452"/>
              <a:gd name="T123" fmla="*/ 2147483647 h 832"/>
              <a:gd name="T124" fmla="*/ 2147483647 w 452"/>
              <a:gd name="T125" fmla="*/ 2147483647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0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911590" y="4698628"/>
            <a:ext cx="36513" cy="66675"/>
          </a:xfrm>
          <a:custGeom>
            <a:avLst/>
            <a:gdLst>
              <a:gd name="T0" fmla="*/ 2147483647 w 80"/>
              <a:gd name="T1" fmla="*/ 2147483647 h 126"/>
              <a:gd name="T2" fmla="*/ 2147483647 w 80"/>
              <a:gd name="T3" fmla="*/ 2147483647 h 126"/>
              <a:gd name="T4" fmla="*/ 2147483647 w 80"/>
              <a:gd name="T5" fmla="*/ 2147483647 h 126"/>
              <a:gd name="T6" fmla="*/ 2147483647 w 80"/>
              <a:gd name="T7" fmla="*/ 2147483647 h 126"/>
              <a:gd name="T8" fmla="*/ 2147483647 w 80"/>
              <a:gd name="T9" fmla="*/ 2147483647 h 126"/>
              <a:gd name="T10" fmla="*/ 2147483647 w 80"/>
              <a:gd name="T11" fmla="*/ 2147483647 h 126"/>
              <a:gd name="T12" fmla="*/ 2147483647 w 80"/>
              <a:gd name="T13" fmla="*/ 2147483647 h 126"/>
              <a:gd name="T14" fmla="*/ 2147483647 w 80"/>
              <a:gd name="T15" fmla="*/ 2147483647 h 126"/>
              <a:gd name="T16" fmla="*/ 2147483647 w 80"/>
              <a:gd name="T17" fmla="*/ 2147483647 h 126"/>
              <a:gd name="T18" fmla="*/ 2147483647 w 80"/>
              <a:gd name="T19" fmla="*/ 2147483647 h 126"/>
              <a:gd name="T20" fmla="*/ 2147483647 w 80"/>
              <a:gd name="T21" fmla="*/ 2147483647 h 126"/>
              <a:gd name="T22" fmla="*/ 0 w 80"/>
              <a:gd name="T23" fmla="*/ 2147483647 h 126"/>
              <a:gd name="T24" fmla="*/ 2147483647 w 80"/>
              <a:gd name="T25" fmla="*/ 2147483647 h 126"/>
              <a:gd name="T26" fmla="*/ 2147483647 w 80"/>
              <a:gd name="T27" fmla="*/ 2147483647 h 126"/>
              <a:gd name="T28" fmla="*/ 2147483647 w 80"/>
              <a:gd name="T29" fmla="*/ 2147483647 h 126"/>
              <a:gd name="T30" fmla="*/ 2147483647 w 80"/>
              <a:gd name="T31" fmla="*/ 2147483647 h 126"/>
              <a:gd name="T32" fmla="*/ 2147483647 w 80"/>
              <a:gd name="T33" fmla="*/ 2147483647 h 126"/>
              <a:gd name="T34" fmla="*/ 2147483647 w 80"/>
              <a:gd name="T35" fmla="*/ 0 h 126"/>
              <a:gd name="T36" fmla="*/ 2147483647 w 80"/>
              <a:gd name="T37" fmla="*/ 0 h 126"/>
              <a:gd name="T38" fmla="*/ 2147483647 w 80"/>
              <a:gd name="T39" fmla="*/ 2147483647 h 126"/>
              <a:gd name="T40" fmla="*/ 2147483647 w 80"/>
              <a:gd name="T41" fmla="*/ 2147483647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1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900478" y="4658940"/>
            <a:ext cx="55562" cy="60325"/>
          </a:xfrm>
          <a:custGeom>
            <a:avLst/>
            <a:gdLst>
              <a:gd name="T0" fmla="*/ 2147483647 w 124"/>
              <a:gd name="T1" fmla="*/ 0 h 117"/>
              <a:gd name="T2" fmla="*/ 2147483647 w 124"/>
              <a:gd name="T3" fmla="*/ 2147483647 h 117"/>
              <a:gd name="T4" fmla="*/ 2147483647 w 124"/>
              <a:gd name="T5" fmla="*/ 2147483647 h 117"/>
              <a:gd name="T6" fmla="*/ 2147483647 w 124"/>
              <a:gd name="T7" fmla="*/ 2147483647 h 117"/>
              <a:gd name="T8" fmla="*/ 2147483647 w 124"/>
              <a:gd name="T9" fmla="*/ 2147483647 h 117"/>
              <a:gd name="T10" fmla="*/ 2147483647 w 124"/>
              <a:gd name="T11" fmla="*/ 2147483647 h 117"/>
              <a:gd name="T12" fmla="*/ 2147483647 w 124"/>
              <a:gd name="T13" fmla="*/ 2147483647 h 117"/>
              <a:gd name="T14" fmla="*/ 2147483647 w 124"/>
              <a:gd name="T15" fmla="*/ 2147483647 h 117"/>
              <a:gd name="T16" fmla="*/ 2147483647 w 124"/>
              <a:gd name="T17" fmla="*/ 2147483647 h 117"/>
              <a:gd name="T18" fmla="*/ 2147483647 w 124"/>
              <a:gd name="T19" fmla="*/ 2147483647 h 117"/>
              <a:gd name="T20" fmla="*/ 2147483647 w 124"/>
              <a:gd name="T21" fmla="*/ 2147483647 h 117"/>
              <a:gd name="T22" fmla="*/ 2147483647 w 124"/>
              <a:gd name="T23" fmla="*/ 2147483647 h 117"/>
              <a:gd name="T24" fmla="*/ 2147483647 w 124"/>
              <a:gd name="T25" fmla="*/ 2147483647 h 117"/>
              <a:gd name="T26" fmla="*/ 2147483647 w 124"/>
              <a:gd name="T27" fmla="*/ 2147483647 h 117"/>
              <a:gd name="T28" fmla="*/ 2147483647 w 124"/>
              <a:gd name="T29" fmla="*/ 2147483647 h 117"/>
              <a:gd name="T30" fmla="*/ 2147483647 w 124"/>
              <a:gd name="T31" fmla="*/ 2147483647 h 117"/>
              <a:gd name="T32" fmla="*/ 2147483647 w 124"/>
              <a:gd name="T33" fmla="*/ 2147483647 h 117"/>
              <a:gd name="T34" fmla="*/ 2147483647 w 124"/>
              <a:gd name="T35" fmla="*/ 2147483647 h 117"/>
              <a:gd name="T36" fmla="*/ 2147483647 w 124"/>
              <a:gd name="T37" fmla="*/ 2147483647 h 117"/>
              <a:gd name="T38" fmla="*/ 2147483647 w 124"/>
              <a:gd name="T39" fmla="*/ 2147483647 h 117"/>
              <a:gd name="T40" fmla="*/ 0 w 124"/>
              <a:gd name="T41" fmla="*/ 2147483647 h 117"/>
              <a:gd name="T42" fmla="*/ 2147483647 w 124"/>
              <a:gd name="T43" fmla="*/ 2147483647 h 117"/>
              <a:gd name="T44" fmla="*/ 2147483647 w 124"/>
              <a:gd name="T45" fmla="*/ 2147483647 h 117"/>
              <a:gd name="T46" fmla="*/ 2147483647 w 124"/>
              <a:gd name="T47" fmla="*/ 2147483647 h 117"/>
              <a:gd name="T48" fmla="*/ 2147483647 w 124"/>
              <a:gd name="T49" fmla="*/ 2147483647 h 117"/>
              <a:gd name="T50" fmla="*/ 2147483647 w 124"/>
              <a:gd name="T51" fmla="*/ 2147483647 h 117"/>
              <a:gd name="T52" fmla="*/ 2147483647 w 124"/>
              <a:gd name="T53" fmla="*/ 2147483647 h 117"/>
              <a:gd name="T54" fmla="*/ 2147483647 w 124"/>
              <a:gd name="T55" fmla="*/ 2147483647 h 117"/>
              <a:gd name="T56" fmla="*/ 2147483647 w 124"/>
              <a:gd name="T57" fmla="*/ 2147483647 h 117"/>
              <a:gd name="T58" fmla="*/ 2147483647 w 124"/>
              <a:gd name="T59" fmla="*/ 2147483647 h 117"/>
              <a:gd name="T60" fmla="*/ 2147483647 w 124"/>
              <a:gd name="T61" fmla="*/ 2147483647 h 117"/>
              <a:gd name="T62" fmla="*/ 2147483647 w 124"/>
              <a:gd name="T63" fmla="*/ 2147483647 h 117"/>
              <a:gd name="T64" fmla="*/ 2147483647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2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210040" y="3358778"/>
            <a:ext cx="503238" cy="473075"/>
          </a:xfrm>
          <a:custGeom>
            <a:avLst/>
            <a:gdLst>
              <a:gd name="T0" fmla="*/ 2147483647 w 1156"/>
              <a:gd name="T1" fmla="*/ 2147483647 h 900"/>
              <a:gd name="T2" fmla="*/ 2147483647 w 1156"/>
              <a:gd name="T3" fmla="*/ 2147483647 h 900"/>
              <a:gd name="T4" fmla="*/ 2147483647 w 1156"/>
              <a:gd name="T5" fmla="*/ 2147483647 h 900"/>
              <a:gd name="T6" fmla="*/ 2147483647 w 1156"/>
              <a:gd name="T7" fmla="*/ 2147483647 h 900"/>
              <a:gd name="T8" fmla="*/ 2147483647 w 1156"/>
              <a:gd name="T9" fmla="*/ 2147483647 h 900"/>
              <a:gd name="T10" fmla="*/ 2147483647 w 1156"/>
              <a:gd name="T11" fmla="*/ 2147483647 h 900"/>
              <a:gd name="T12" fmla="*/ 2147483647 w 1156"/>
              <a:gd name="T13" fmla="*/ 2147483647 h 900"/>
              <a:gd name="T14" fmla="*/ 2147483647 w 1156"/>
              <a:gd name="T15" fmla="*/ 2147483647 h 900"/>
              <a:gd name="T16" fmla="*/ 2147483647 w 1156"/>
              <a:gd name="T17" fmla="*/ 2147483647 h 900"/>
              <a:gd name="T18" fmla="*/ 2147483647 w 1156"/>
              <a:gd name="T19" fmla="*/ 2147483647 h 900"/>
              <a:gd name="T20" fmla="*/ 2147483647 w 1156"/>
              <a:gd name="T21" fmla="*/ 2147483647 h 900"/>
              <a:gd name="T22" fmla="*/ 2147483647 w 1156"/>
              <a:gd name="T23" fmla="*/ 2147483647 h 900"/>
              <a:gd name="T24" fmla="*/ 2147483647 w 1156"/>
              <a:gd name="T25" fmla="*/ 2147483647 h 900"/>
              <a:gd name="T26" fmla="*/ 2147483647 w 1156"/>
              <a:gd name="T27" fmla="*/ 2147483647 h 900"/>
              <a:gd name="T28" fmla="*/ 2147483647 w 1156"/>
              <a:gd name="T29" fmla="*/ 2147483647 h 900"/>
              <a:gd name="T30" fmla="*/ 2147483647 w 1156"/>
              <a:gd name="T31" fmla="*/ 2147483647 h 900"/>
              <a:gd name="T32" fmla="*/ 2147483647 w 1156"/>
              <a:gd name="T33" fmla="*/ 2147483647 h 900"/>
              <a:gd name="T34" fmla="*/ 2147483647 w 1156"/>
              <a:gd name="T35" fmla="*/ 2147483647 h 900"/>
              <a:gd name="T36" fmla="*/ 2147483647 w 1156"/>
              <a:gd name="T37" fmla="*/ 2147483647 h 900"/>
              <a:gd name="T38" fmla="*/ 2147483647 w 1156"/>
              <a:gd name="T39" fmla="*/ 2147483647 h 900"/>
              <a:gd name="T40" fmla="*/ 2147483647 w 1156"/>
              <a:gd name="T41" fmla="*/ 2147483647 h 900"/>
              <a:gd name="T42" fmla="*/ 2147483647 w 1156"/>
              <a:gd name="T43" fmla="*/ 2147483647 h 900"/>
              <a:gd name="T44" fmla="*/ 2147483647 w 1156"/>
              <a:gd name="T45" fmla="*/ 2147483647 h 900"/>
              <a:gd name="T46" fmla="*/ 2147483647 w 1156"/>
              <a:gd name="T47" fmla="*/ 2147483647 h 900"/>
              <a:gd name="T48" fmla="*/ 2147483647 w 1156"/>
              <a:gd name="T49" fmla="*/ 2147483647 h 900"/>
              <a:gd name="T50" fmla="*/ 2147483647 w 1156"/>
              <a:gd name="T51" fmla="*/ 2147483647 h 900"/>
              <a:gd name="T52" fmla="*/ 2147483647 w 1156"/>
              <a:gd name="T53" fmla="*/ 2147483647 h 900"/>
              <a:gd name="T54" fmla="*/ 2147483647 w 1156"/>
              <a:gd name="T55" fmla="*/ 2147483647 h 900"/>
              <a:gd name="T56" fmla="*/ 2147483647 w 1156"/>
              <a:gd name="T57" fmla="*/ 2147483647 h 900"/>
              <a:gd name="T58" fmla="*/ 2147483647 w 1156"/>
              <a:gd name="T59" fmla="*/ 2147483647 h 900"/>
              <a:gd name="T60" fmla="*/ 2147483647 w 1156"/>
              <a:gd name="T61" fmla="*/ 2147483647 h 900"/>
              <a:gd name="T62" fmla="*/ 2147483647 w 1156"/>
              <a:gd name="T63" fmla="*/ 2147483647 h 900"/>
              <a:gd name="T64" fmla="*/ 2147483647 w 1156"/>
              <a:gd name="T65" fmla="*/ 2147483647 h 900"/>
              <a:gd name="T66" fmla="*/ 2147483647 w 1156"/>
              <a:gd name="T67" fmla="*/ 2147483647 h 900"/>
              <a:gd name="T68" fmla="*/ 2147483647 w 1156"/>
              <a:gd name="T69" fmla="*/ 2147483647 h 900"/>
              <a:gd name="T70" fmla="*/ 2147483647 w 1156"/>
              <a:gd name="T71" fmla="*/ 2147483647 h 900"/>
              <a:gd name="T72" fmla="*/ 2147483647 w 1156"/>
              <a:gd name="T73" fmla="*/ 2147483647 h 900"/>
              <a:gd name="T74" fmla="*/ 2147483647 w 1156"/>
              <a:gd name="T75" fmla="*/ 2147483647 h 900"/>
              <a:gd name="T76" fmla="*/ 2147483647 w 1156"/>
              <a:gd name="T77" fmla="*/ 2147483647 h 900"/>
              <a:gd name="T78" fmla="*/ 2147483647 w 1156"/>
              <a:gd name="T79" fmla="*/ 2147483647 h 900"/>
              <a:gd name="T80" fmla="*/ 2147483647 w 1156"/>
              <a:gd name="T81" fmla="*/ 2147483647 h 900"/>
              <a:gd name="T82" fmla="*/ 2147483647 w 1156"/>
              <a:gd name="T83" fmla="*/ 2147483647 h 900"/>
              <a:gd name="T84" fmla="*/ 2147483647 w 1156"/>
              <a:gd name="T85" fmla="*/ 2147483647 h 900"/>
              <a:gd name="T86" fmla="*/ 2147483647 w 1156"/>
              <a:gd name="T87" fmla="*/ 2147483647 h 900"/>
              <a:gd name="T88" fmla="*/ 2147483647 w 1156"/>
              <a:gd name="T89" fmla="*/ 2147483647 h 900"/>
              <a:gd name="T90" fmla="*/ 2147483647 w 1156"/>
              <a:gd name="T91" fmla="*/ 2147483647 h 900"/>
              <a:gd name="T92" fmla="*/ 2147483647 w 1156"/>
              <a:gd name="T93" fmla="*/ 2147483647 h 900"/>
              <a:gd name="T94" fmla="*/ 2147483647 w 1156"/>
              <a:gd name="T95" fmla="*/ 2147483647 h 900"/>
              <a:gd name="T96" fmla="*/ 2147483647 w 1156"/>
              <a:gd name="T97" fmla="*/ 2147483647 h 900"/>
              <a:gd name="T98" fmla="*/ 2147483647 w 1156"/>
              <a:gd name="T99" fmla="*/ 2147483647 h 900"/>
              <a:gd name="T100" fmla="*/ 2147483647 w 1156"/>
              <a:gd name="T101" fmla="*/ 2147483647 h 900"/>
              <a:gd name="T102" fmla="*/ 2147483647 w 1156"/>
              <a:gd name="T103" fmla="*/ 2147483647 h 900"/>
              <a:gd name="T104" fmla="*/ 2147483647 w 1156"/>
              <a:gd name="T105" fmla="*/ 2147483647 h 900"/>
              <a:gd name="T106" fmla="*/ 2147483647 w 1156"/>
              <a:gd name="T107" fmla="*/ 2147483647 h 900"/>
              <a:gd name="T108" fmla="*/ 2147483647 w 1156"/>
              <a:gd name="T109" fmla="*/ 214748364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3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233853" y="4016003"/>
            <a:ext cx="247650" cy="228600"/>
          </a:xfrm>
          <a:custGeom>
            <a:avLst/>
            <a:gdLst>
              <a:gd name="T0" fmla="*/ 2147483647 w 571"/>
              <a:gd name="T1" fmla="*/ 2147483647 h 443"/>
              <a:gd name="T2" fmla="*/ 2147483647 w 571"/>
              <a:gd name="T3" fmla="*/ 2147483647 h 443"/>
              <a:gd name="T4" fmla="*/ 2147483647 w 571"/>
              <a:gd name="T5" fmla="*/ 2147483647 h 443"/>
              <a:gd name="T6" fmla="*/ 2147483647 w 571"/>
              <a:gd name="T7" fmla="*/ 2147483647 h 443"/>
              <a:gd name="T8" fmla="*/ 2147483647 w 571"/>
              <a:gd name="T9" fmla="*/ 2147483647 h 443"/>
              <a:gd name="T10" fmla="*/ 2147483647 w 571"/>
              <a:gd name="T11" fmla="*/ 2147483647 h 443"/>
              <a:gd name="T12" fmla="*/ 2147483647 w 571"/>
              <a:gd name="T13" fmla="*/ 2147483647 h 443"/>
              <a:gd name="T14" fmla="*/ 2147483647 w 571"/>
              <a:gd name="T15" fmla="*/ 2147483647 h 443"/>
              <a:gd name="T16" fmla="*/ 2147483647 w 571"/>
              <a:gd name="T17" fmla="*/ 2147483647 h 443"/>
              <a:gd name="T18" fmla="*/ 2147483647 w 571"/>
              <a:gd name="T19" fmla="*/ 2147483647 h 443"/>
              <a:gd name="T20" fmla="*/ 2147483647 w 571"/>
              <a:gd name="T21" fmla="*/ 2147483647 h 443"/>
              <a:gd name="T22" fmla="*/ 2147483647 w 571"/>
              <a:gd name="T23" fmla="*/ 2147483647 h 443"/>
              <a:gd name="T24" fmla="*/ 2147483647 w 571"/>
              <a:gd name="T25" fmla="*/ 2147483647 h 443"/>
              <a:gd name="T26" fmla="*/ 2147483647 w 571"/>
              <a:gd name="T27" fmla="*/ 2147483647 h 443"/>
              <a:gd name="T28" fmla="*/ 2147483647 w 571"/>
              <a:gd name="T29" fmla="*/ 2147483647 h 443"/>
              <a:gd name="T30" fmla="*/ 2147483647 w 571"/>
              <a:gd name="T31" fmla="*/ 2147483647 h 443"/>
              <a:gd name="T32" fmla="*/ 2147483647 w 571"/>
              <a:gd name="T33" fmla="*/ 2147483647 h 443"/>
              <a:gd name="T34" fmla="*/ 2147483647 w 571"/>
              <a:gd name="T35" fmla="*/ 2147483647 h 443"/>
              <a:gd name="T36" fmla="*/ 2147483647 w 571"/>
              <a:gd name="T37" fmla="*/ 2147483647 h 443"/>
              <a:gd name="T38" fmla="*/ 2147483647 w 571"/>
              <a:gd name="T39" fmla="*/ 2147483647 h 443"/>
              <a:gd name="T40" fmla="*/ 2147483647 w 571"/>
              <a:gd name="T41" fmla="*/ 2147483647 h 443"/>
              <a:gd name="T42" fmla="*/ 2147483647 w 571"/>
              <a:gd name="T43" fmla="*/ 2147483647 h 443"/>
              <a:gd name="T44" fmla="*/ 2147483647 w 571"/>
              <a:gd name="T45" fmla="*/ 2147483647 h 443"/>
              <a:gd name="T46" fmla="*/ 2147483647 w 571"/>
              <a:gd name="T47" fmla="*/ 2147483647 h 443"/>
              <a:gd name="T48" fmla="*/ 2147483647 w 571"/>
              <a:gd name="T49" fmla="*/ 2147483647 h 443"/>
              <a:gd name="T50" fmla="*/ 2147483647 w 571"/>
              <a:gd name="T51" fmla="*/ 2147483647 h 443"/>
              <a:gd name="T52" fmla="*/ 2147483647 w 571"/>
              <a:gd name="T53" fmla="*/ 2147483647 h 443"/>
              <a:gd name="T54" fmla="*/ 2147483647 w 571"/>
              <a:gd name="T55" fmla="*/ 2147483647 h 443"/>
              <a:gd name="T56" fmla="*/ 2147483647 w 571"/>
              <a:gd name="T57" fmla="*/ 2147483647 h 443"/>
              <a:gd name="T58" fmla="*/ 2147483647 w 571"/>
              <a:gd name="T59" fmla="*/ 2147483647 h 443"/>
              <a:gd name="T60" fmla="*/ 2147483647 w 571"/>
              <a:gd name="T61" fmla="*/ 2147483647 h 443"/>
              <a:gd name="T62" fmla="*/ 2147483647 w 571"/>
              <a:gd name="T63" fmla="*/ 2147483647 h 443"/>
              <a:gd name="T64" fmla="*/ 2147483647 w 571"/>
              <a:gd name="T65" fmla="*/ 2147483647 h 443"/>
              <a:gd name="T66" fmla="*/ 2147483647 w 571"/>
              <a:gd name="T67" fmla="*/ 2147483647 h 443"/>
              <a:gd name="T68" fmla="*/ 2147483647 w 571"/>
              <a:gd name="T69" fmla="*/ 2147483647 h 443"/>
              <a:gd name="T70" fmla="*/ 2147483647 w 571"/>
              <a:gd name="T71" fmla="*/ 2147483647 h 443"/>
              <a:gd name="T72" fmla="*/ 2147483647 w 571"/>
              <a:gd name="T73" fmla="*/ 2147483647 h 443"/>
              <a:gd name="T74" fmla="*/ 2147483647 w 571"/>
              <a:gd name="T75" fmla="*/ 2147483647 h 443"/>
              <a:gd name="T76" fmla="*/ 2147483647 w 571"/>
              <a:gd name="T77" fmla="*/ 2147483647 h 443"/>
              <a:gd name="T78" fmla="*/ 2147483647 w 571"/>
              <a:gd name="T79" fmla="*/ 2147483647 h 443"/>
              <a:gd name="T80" fmla="*/ 2147483647 w 571"/>
              <a:gd name="T81" fmla="*/ 2147483647 h 443"/>
              <a:gd name="T82" fmla="*/ 0 w 571"/>
              <a:gd name="T83" fmla="*/ 2147483647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4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429115" y="3790578"/>
            <a:ext cx="120650" cy="120650"/>
          </a:xfrm>
          <a:custGeom>
            <a:avLst/>
            <a:gdLst>
              <a:gd name="T0" fmla="*/ 0 w 286"/>
              <a:gd name="T1" fmla="*/ 2147483647 h 228"/>
              <a:gd name="T2" fmla="*/ 2147483647 w 286"/>
              <a:gd name="T3" fmla="*/ 2147483647 h 228"/>
              <a:gd name="T4" fmla="*/ 2147483647 w 286"/>
              <a:gd name="T5" fmla="*/ 2147483647 h 228"/>
              <a:gd name="T6" fmla="*/ 2147483647 w 286"/>
              <a:gd name="T7" fmla="*/ 2147483647 h 228"/>
              <a:gd name="T8" fmla="*/ 2147483647 w 286"/>
              <a:gd name="T9" fmla="*/ 2147483647 h 228"/>
              <a:gd name="T10" fmla="*/ 2147483647 w 286"/>
              <a:gd name="T11" fmla="*/ 2147483647 h 228"/>
              <a:gd name="T12" fmla="*/ 2147483647 w 286"/>
              <a:gd name="T13" fmla="*/ 2147483647 h 228"/>
              <a:gd name="T14" fmla="*/ 2147483647 w 286"/>
              <a:gd name="T15" fmla="*/ 2147483647 h 228"/>
              <a:gd name="T16" fmla="*/ 2147483647 w 286"/>
              <a:gd name="T17" fmla="*/ 2147483647 h 228"/>
              <a:gd name="T18" fmla="*/ 2147483647 w 286"/>
              <a:gd name="T19" fmla="*/ 2147483647 h 228"/>
              <a:gd name="T20" fmla="*/ 2147483647 w 286"/>
              <a:gd name="T21" fmla="*/ 2147483647 h 228"/>
              <a:gd name="T22" fmla="*/ 2147483647 w 286"/>
              <a:gd name="T23" fmla="*/ 2147483647 h 228"/>
              <a:gd name="T24" fmla="*/ 2147483647 w 286"/>
              <a:gd name="T25" fmla="*/ 2147483647 h 228"/>
              <a:gd name="T26" fmla="*/ 2147483647 w 286"/>
              <a:gd name="T27" fmla="*/ 2147483647 h 228"/>
              <a:gd name="T28" fmla="*/ 2147483647 w 286"/>
              <a:gd name="T29" fmla="*/ 2147483647 h 228"/>
              <a:gd name="T30" fmla="*/ 2147483647 w 286"/>
              <a:gd name="T31" fmla="*/ 2147483647 h 228"/>
              <a:gd name="T32" fmla="*/ 2147483647 w 286"/>
              <a:gd name="T33" fmla="*/ 2147483647 h 228"/>
              <a:gd name="T34" fmla="*/ 2147483647 w 286"/>
              <a:gd name="T35" fmla="*/ 2147483647 h 228"/>
              <a:gd name="T36" fmla="*/ 2147483647 w 286"/>
              <a:gd name="T37" fmla="*/ 2147483647 h 228"/>
              <a:gd name="T38" fmla="*/ 2147483647 w 286"/>
              <a:gd name="T39" fmla="*/ 2147483647 h 228"/>
              <a:gd name="T40" fmla="*/ 2147483647 w 286"/>
              <a:gd name="T41" fmla="*/ 2147483647 h 228"/>
              <a:gd name="T42" fmla="*/ 2147483647 w 286"/>
              <a:gd name="T43" fmla="*/ 2147483647 h 228"/>
              <a:gd name="T44" fmla="*/ 2147483647 w 286"/>
              <a:gd name="T45" fmla="*/ 2147483647 h 228"/>
              <a:gd name="T46" fmla="*/ 2147483647 w 286"/>
              <a:gd name="T47" fmla="*/ 2147483647 h 228"/>
              <a:gd name="T48" fmla="*/ 2147483647 w 286"/>
              <a:gd name="T49" fmla="*/ 2147483647 h 228"/>
              <a:gd name="T50" fmla="*/ 2147483647 w 286"/>
              <a:gd name="T51" fmla="*/ 2147483647 h 228"/>
              <a:gd name="T52" fmla="*/ 2147483647 w 286"/>
              <a:gd name="T53" fmla="*/ 2147483647 h 228"/>
              <a:gd name="T54" fmla="*/ 2147483647 w 286"/>
              <a:gd name="T55" fmla="*/ 2147483647 h 228"/>
              <a:gd name="T56" fmla="*/ 2147483647 w 286"/>
              <a:gd name="T57" fmla="*/ 0 h 228"/>
              <a:gd name="T58" fmla="*/ 2147483647 w 286"/>
              <a:gd name="T59" fmla="*/ 2147483647 h 228"/>
              <a:gd name="T60" fmla="*/ 2147483647 w 286"/>
              <a:gd name="T61" fmla="*/ 2147483647 h 228"/>
              <a:gd name="T62" fmla="*/ 2147483647 w 286"/>
              <a:gd name="T63" fmla="*/ 2147483647 h 228"/>
              <a:gd name="T64" fmla="*/ 2147483647 w 286"/>
              <a:gd name="T65" fmla="*/ 2147483647 h 228"/>
              <a:gd name="T66" fmla="*/ 2147483647 w 286"/>
              <a:gd name="T67" fmla="*/ 2147483647 h 228"/>
              <a:gd name="T68" fmla="*/ 2147483647 w 286"/>
              <a:gd name="T69" fmla="*/ 2147483647 h 228"/>
              <a:gd name="T70" fmla="*/ 2147483647 w 286"/>
              <a:gd name="T71" fmla="*/ 2147483647 h 228"/>
              <a:gd name="T72" fmla="*/ 2147483647 w 286"/>
              <a:gd name="T73" fmla="*/ 2147483647 h 228"/>
              <a:gd name="T74" fmla="*/ 2147483647 w 286"/>
              <a:gd name="T75" fmla="*/ 2147483647 h 228"/>
              <a:gd name="T76" fmla="*/ 0 w 286"/>
              <a:gd name="T77" fmla="*/ 214748364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35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116378" y="3442915"/>
            <a:ext cx="222250" cy="263525"/>
          </a:xfrm>
          <a:custGeom>
            <a:avLst/>
            <a:gdLst>
              <a:gd name="T0" fmla="*/ 2147483647 w 524"/>
              <a:gd name="T1" fmla="*/ 2147483647 h 505"/>
              <a:gd name="T2" fmla="*/ 2147483647 w 524"/>
              <a:gd name="T3" fmla="*/ 2147483647 h 505"/>
              <a:gd name="T4" fmla="*/ 2147483647 w 524"/>
              <a:gd name="T5" fmla="*/ 2147483647 h 505"/>
              <a:gd name="T6" fmla="*/ 2147483647 w 524"/>
              <a:gd name="T7" fmla="*/ 2147483647 h 505"/>
              <a:gd name="T8" fmla="*/ 2147483647 w 524"/>
              <a:gd name="T9" fmla="*/ 2147483647 h 505"/>
              <a:gd name="T10" fmla="*/ 2147483647 w 524"/>
              <a:gd name="T11" fmla="*/ 2147483647 h 505"/>
              <a:gd name="T12" fmla="*/ 2147483647 w 524"/>
              <a:gd name="T13" fmla="*/ 2147483647 h 505"/>
              <a:gd name="T14" fmla="*/ 2147483647 w 524"/>
              <a:gd name="T15" fmla="*/ 2147483647 h 505"/>
              <a:gd name="T16" fmla="*/ 2147483647 w 524"/>
              <a:gd name="T17" fmla="*/ 2147483647 h 505"/>
              <a:gd name="T18" fmla="*/ 2147483647 w 524"/>
              <a:gd name="T19" fmla="*/ 2147483647 h 505"/>
              <a:gd name="T20" fmla="*/ 2147483647 w 524"/>
              <a:gd name="T21" fmla="*/ 2147483647 h 505"/>
              <a:gd name="T22" fmla="*/ 2147483647 w 524"/>
              <a:gd name="T23" fmla="*/ 2147483647 h 505"/>
              <a:gd name="T24" fmla="*/ 2147483647 w 524"/>
              <a:gd name="T25" fmla="*/ 2147483647 h 505"/>
              <a:gd name="T26" fmla="*/ 2147483647 w 524"/>
              <a:gd name="T27" fmla="*/ 2147483647 h 505"/>
              <a:gd name="T28" fmla="*/ 2147483647 w 524"/>
              <a:gd name="T29" fmla="*/ 2147483647 h 505"/>
              <a:gd name="T30" fmla="*/ 2147483647 w 524"/>
              <a:gd name="T31" fmla="*/ 2147483647 h 505"/>
              <a:gd name="T32" fmla="*/ 2147483647 w 524"/>
              <a:gd name="T33" fmla="*/ 2147483647 h 505"/>
              <a:gd name="T34" fmla="*/ 2147483647 w 524"/>
              <a:gd name="T35" fmla="*/ 2147483647 h 505"/>
              <a:gd name="T36" fmla="*/ 2147483647 w 524"/>
              <a:gd name="T37" fmla="*/ 2147483647 h 505"/>
              <a:gd name="T38" fmla="*/ 2147483647 w 524"/>
              <a:gd name="T39" fmla="*/ 2147483647 h 505"/>
              <a:gd name="T40" fmla="*/ 2147483647 w 524"/>
              <a:gd name="T41" fmla="*/ 2147483647 h 505"/>
              <a:gd name="T42" fmla="*/ 2147483647 w 524"/>
              <a:gd name="T43" fmla="*/ 2147483647 h 505"/>
              <a:gd name="T44" fmla="*/ 2147483647 w 524"/>
              <a:gd name="T45" fmla="*/ 2147483647 h 505"/>
              <a:gd name="T46" fmla="*/ 2147483647 w 524"/>
              <a:gd name="T47" fmla="*/ 2147483647 h 505"/>
              <a:gd name="T48" fmla="*/ 2147483647 w 524"/>
              <a:gd name="T49" fmla="*/ 2147483647 h 505"/>
              <a:gd name="T50" fmla="*/ 2147483647 w 524"/>
              <a:gd name="T51" fmla="*/ 2147483647 h 505"/>
              <a:gd name="T52" fmla="*/ 2147483647 w 524"/>
              <a:gd name="T53" fmla="*/ 2147483647 h 505"/>
              <a:gd name="T54" fmla="*/ 2147483647 w 524"/>
              <a:gd name="T55" fmla="*/ 2147483647 h 505"/>
              <a:gd name="T56" fmla="*/ 2147483647 w 524"/>
              <a:gd name="T57" fmla="*/ 2147483647 h 505"/>
              <a:gd name="T58" fmla="*/ 2147483647 w 524"/>
              <a:gd name="T59" fmla="*/ 2147483647 h 505"/>
              <a:gd name="T60" fmla="*/ 2147483647 w 524"/>
              <a:gd name="T61" fmla="*/ 2147483647 h 505"/>
              <a:gd name="T62" fmla="*/ 2147483647 w 524"/>
              <a:gd name="T63" fmla="*/ 2147483647 h 505"/>
              <a:gd name="T64" fmla="*/ 2147483647 w 524"/>
              <a:gd name="T65" fmla="*/ 2147483647 h 505"/>
              <a:gd name="T66" fmla="*/ 2147483647 w 524"/>
              <a:gd name="T67" fmla="*/ 2147483647 h 505"/>
              <a:gd name="T68" fmla="*/ 2147483647 w 524"/>
              <a:gd name="T69" fmla="*/ 2147483647 h 505"/>
              <a:gd name="T70" fmla="*/ 2147483647 w 524"/>
              <a:gd name="T71" fmla="*/ 2147483647 h 505"/>
              <a:gd name="T72" fmla="*/ 2147483647 w 524"/>
              <a:gd name="T73" fmla="*/ 2147483647 h 505"/>
              <a:gd name="T74" fmla="*/ 2147483647 w 524"/>
              <a:gd name="T75" fmla="*/ 2147483647 h 505"/>
              <a:gd name="T76" fmla="*/ 0 w 524"/>
              <a:gd name="T77" fmla="*/ 2147483647 h 505"/>
              <a:gd name="T78" fmla="*/ 0 w 524"/>
              <a:gd name="T79" fmla="*/ 2147483647 h 505"/>
              <a:gd name="T80" fmla="*/ 2147483647 w 524"/>
              <a:gd name="T81" fmla="*/ 2147483647 h 505"/>
              <a:gd name="T82" fmla="*/ 2147483647 w 524"/>
              <a:gd name="T83" fmla="*/ 2147483647 h 505"/>
              <a:gd name="T84" fmla="*/ 2147483647 w 524"/>
              <a:gd name="T85" fmla="*/ 2147483647 h 505"/>
              <a:gd name="T86" fmla="*/ 2147483647 w 524"/>
              <a:gd name="T87" fmla="*/ 2147483647 h 505"/>
              <a:gd name="T88" fmla="*/ 2147483647 w 524"/>
              <a:gd name="T89" fmla="*/ 2147483647 h 505"/>
              <a:gd name="T90" fmla="*/ 2147483647 w 524"/>
              <a:gd name="T91" fmla="*/ 2147483647 h 505"/>
              <a:gd name="T92" fmla="*/ 2147483647 w 524"/>
              <a:gd name="T93" fmla="*/ 2147483647 h 505"/>
              <a:gd name="T94" fmla="*/ 2147483647 w 524"/>
              <a:gd name="T95" fmla="*/ 2147483647 h 505"/>
              <a:gd name="T96" fmla="*/ 2147483647 w 524"/>
              <a:gd name="T97" fmla="*/ 2147483647 h 505"/>
              <a:gd name="T98" fmla="*/ 2147483647 w 524"/>
              <a:gd name="T99" fmla="*/ 2147483647 h 505"/>
              <a:gd name="T100" fmla="*/ 2147483647 w 524"/>
              <a:gd name="T101" fmla="*/ 2147483647 h 505"/>
              <a:gd name="T102" fmla="*/ 2147483647 w 524"/>
              <a:gd name="T103" fmla="*/ 2147483647 h 505"/>
              <a:gd name="T104" fmla="*/ 2147483647 w 524"/>
              <a:gd name="T105" fmla="*/ 2147483647 h 505"/>
              <a:gd name="T106" fmla="*/ 2147483647 w 524"/>
              <a:gd name="T107" fmla="*/ 2147483647 h 505"/>
              <a:gd name="T108" fmla="*/ 2147483647 w 524"/>
              <a:gd name="T109" fmla="*/ 2147483647 h 505"/>
              <a:gd name="T110" fmla="*/ 2147483647 w 524"/>
              <a:gd name="T111" fmla="*/ 2147483647 h 505"/>
              <a:gd name="T112" fmla="*/ 2147483647 w 524"/>
              <a:gd name="T113" fmla="*/ 2147483647 h 505"/>
              <a:gd name="T114" fmla="*/ 2147483647 w 524"/>
              <a:gd name="T115" fmla="*/ 2147483647 h 505"/>
              <a:gd name="T116" fmla="*/ 2147483647 w 524"/>
              <a:gd name="T117" fmla="*/ 2147483647 h 505"/>
              <a:gd name="T118" fmla="*/ 2147483647 w 524"/>
              <a:gd name="T119" fmla="*/ 2147483647 h 505"/>
              <a:gd name="T120" fmla="*/ 2147483647 w 524"/>
              <a:gd name="T121" fmla="*/ 2147483647 h 505"/>
              <a:gd name="T122" fmla="*/ 2147483647 w 524"/>
              <a:gd name="T123" fmla="*/ 214748364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6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616440" y="3403228"/>
            <a:ext cx="331788" cy="290512"/>
          </a:xfrm>
          <a:custGeom>
            <a:avLst/>
            <a:gdLst>
              <a:gd name="T0" fmla="*/ 2147483647 w 764"/>
              <a:gd name="T1" fmla="*/ 2147483647 h 555"/>
              <a:gd name="T2" fmla="*/ 2147483647 w 764"/>
              <a:gd name="T3" fmla="*/ 2147483647 h 555"/>
              <a:gd name="T4" fmla="*/ 2147483647 w 764"/>
              <a:gd name="T5" fmla="*/ 2147483647 h 555"/>
              <a:gd name="T6" fmla="*/ 2147483647 w 764"/>
              <a:gd name="T7" fmla="*/ 2147483647 h 555"/>
              <a:gd name="T8" fmla="*/ 2147483647 w 764"/>
              <a:gd name="T9" fmla="*/ 2147483647 h 555"/>
              <a:gd name="T10" fmla="*/ 2147483647 w 764"/>
              <a:gd name="T11" fmla="*/ 2147483647 h 555"/>
              <a:gd name="T12" fmla="*/ 2147483647 w 764"/>
              <a:gd name="T13" fmla="*/ 2147483647 h 555"/>
              <a:gd name="T14" fmla="*/ 2147483647 w 764"/>
              <a:gd name="T15" fmla="*/ 2147483647 h 555"/>
              <a:gd name="T16" fmla="*/ 2147483647 w 764"/>
              <a:gd name="T17" fmla="*/ 2147483647 h 555"/>
              <a:gd name="T18" fmla="*/ 2147483647 w 764"/>
              <a:gd name="T19" fmla="*/ 2147483647 h 555"/>
              <a:gd name="T20" fmla="*/ 2147483647 w 764"/>
              <a:gd name="T21" fmla="*/ 2147483647 h 555"/>
              <a:gd name="T22" fmla="*/ 2147483647 w 764"/>
              <a:gd name="T23" fmla="*/ 2147483647 h 555"/>
              <a:gd name="T24" fmla="*/ 2147483647 w 764"/>
              <a:gd name="T25" fmla="*/ 2147483647 h 555"/>
              <a:gd name="T26" fmla="*/ 2147483647 w 764"/>
              <a:gd name="T27" fmla="*/ 2147483647 h 555"/>
              <a:gd name="T28" fmla="*/ 2147483647 w 764"/>
              <a:gd name="T29" fmla="*/ 2147483647 h 555"/>
              <a:gd name="T30" fmla="*/ 2147483647 w 764"/>
              <a:gd name="T31" fmla="*/ 2147483647 h 555"/>
              <a:gd name="T32" fmla="*/ 2147483647 w 764"/>
              <a:gd name="T33" fmla="*/ 2147483647 h 555"/>
              <a:gd name="T34" fmla="*/ 2147483647 w 764"/>
              <a:gd name="T35" fmla="*/ 2147483647 h 555"/>
              <a:gd name="T36" fmla="*/ 2147483647 w 764"/>
              <a:gd name="T37" fmla="*/ 2147483647 h 555"/>
              <a:gd name="T38" fmla="*/ 2147483647 w 764"/>
              <a:gd name="T39" fmla="*/ 2147483647 h 555"/>
              <a:gd name="T40" fmla="*/ 2147483647 w 764"/>
              <a:gd name="T41" fmla="*/ 2147483647 h 555"/>
              <a:gd name="T42" fmla="*/ 2147483647 w 764"/>
              <a:gd name="T43" fmla="*/ 2147483647 h 555"/>
              <a:gd name="T44" fmla="*/ 2147483647 w 764"/>
              <a:gd name="T45" fmla="*/ 2147483647 h 555"/>
              <a:gd name="T46" fmla="*/ 2147483647 w 764"/>
              <a:gd name="T47" fmla="*/ 2147483647 h 555"/>
              <a:gd name="T48" fmla="*/ 2147483647 w 764"/>
              <a:gd name="T49" fmla="*/ 2147483647 h 555"/>
              <a:gd name="T50" fmla="*/ 2147483647 w 764"/>
              <a:gd name="T51" fmla="*/ 2147483647 h 555"/>
              <a:gd name="T52" fmla="*/ 2147483647 w 764"/>
              <a:gd name="T53" fmla="*/ 2147483647 h 555"/>
              <a:gd name="T54" fmla="*/ 2147483647 w 764"/>
              <a:gd name="T55" fmla="*/ 2147483647 h 555"/>
              <a:gd name="T56" fmla="*/ 2147483647 w 764"/>
              <a:gd name="T57" fmla="*/ 2147483647 h 555"/>
              <a:gd name="T58" fmla="*/ 2147483647 w 764"/>
              <a:gd name="T59" fmla="*/ 2147483647 h 555"/>
              <a:gd name="T60" fmla="*/ 2147483647 w 764"/>
              <a:gd name="T61" fmla="*/ 2147483647 h 555"/>
              <a:gd name="T62" fmla="*/ 2147483647 w 764"/>
              <a:gd name="T63" fmla="*/ 2147483647 h 555"/>
              <a:gd name="T64" fmla="*/ 2147483647 w 764"/>
              <a:gd name="T65" fmla="*/ 2147483647 h 555"/>
              <a:gd name="T66" fmla="*/ 2147483647 w 764"/>
              <a:gd name="T67" fmla="*/ 2147483647 h 555"/>
              <a:gd name="T68" fmla="*/ 2147483647 w 764"/>
              <a:gd name="T69" fmla="*/ 2147483647 h 555"/>
              <a:gd name="T70" fmla="*/ 2147483647 w 764"/>
              <a:gd name="T71" fmla="*/ 2147483647 h 555"/>
              <a:gd name="T72" fmla="*/ 2147483647 w 764"/>
              <a:gd name="T73" fmla="*/ 2147483647 h 555"/>
              <a:gd name="T74" fmla="*/ 2147483647 w 764"/>
              <a:gd name="T75" fmla="*/ 2147483647 h 555"/>
              <a:gd name="T76" fmla="*/ 2147483647 w 764"/>
              <a:gd name="T77" fmla="*/ 2147483647 h 555"/>
              <a:gd name="T78" fmla="*/ 2147483647 w 764"/>
              <a:gd name="T79" fmla="*/ 2147483647 h 555"/>
              <a:gd name="T80" fmla="*/ 2147483647 w 764"/>
              <a:gd name="T81" fmla="*/ 2147483647 h 555"/>
              <a:gd name="T82" fmla="*/ 2147483647 w 764"/>
              <a:gd name="T83" fmla="*/ 2147483647 h 555"/>
              <a:gd name="T84" fmla="*/ 2147483647 w 764"/>
              <a:gd name="T85" fmla="*/ 2147483647 h 555"/>
              <a:gd name="T86" fmla="*/ 2147483647 w 764"/>
              <a:gd name="T87" fmla="*/ 2147483647 h 555"/>
              <a:gd name="T88" fmla="*/ 2147483647 w 764"/>
              <a:gd name="T89" fmla="*/ 2147483647 h 555"/>
              <a:gd name="T90" fmla="*/ 2147483647 w 764"/>
              <a:gd name="T91" fmla="*/ 2147483647 h 555"/>
              <a:gd name="T92" fmla="*/ 2147483647 w 764"/>
              <a:gd name="T93" fmla="*/ 2147483647 h 555"/>
              <a:gd name="T94" fmla="*/ 2147483647 w 764"/>
              <a:gd name="T95" fmla="*/ 2147483647 h 555"/>
              <a:gd name="T96" fmla="*/ 2147483647 w 764"/>
              <a:gd name="T97" fmla="*/ 2147483647 h 555"/>
              <a:gd name="T98" fmla="*/ 2147483647 w 764"/>
              <a:gd name="T99" fmla="*/ 2147483647 h 555"/>
              <a:gd name="T100" fmla="*/ 2147483647 w 764"/>
              <a:gd name="T101" fmla="*/ 2147483647 h 555"/>
              <a:gd name="T102" fmla="*/ 2147483647 w 764"/>
              <a:gd name="T103" fmla="*/ 2147483647 h 555"/>
              <a:gd name="T104" fmla="*/ 2147483647 w 764"/>
              <a:gd name="T105" fmla="*/ 2147483647 h 555"/>
              <a:gd name="T106" fmla="*/ 2147483647 w 764"/>
              <a:gd name="T107" fmla="*/ 2147483647 h 555"/>
              <a:gd name="T108" fmla="*/ 2147483647 w 764"/>
              <a:gd name="T109" fmla="*/ 2147483647 h 555"/>
              <a:gd name="T110" fmla="*/ 2147483647 w 764"/>
              <a:gd name="T111" fmla="*/ 2147483647 h 555"/>
              <a:gd name="T112" fmla="*/ 2147483647 w 764"/>
              <a:gd name="T113" fmla="*/ 2147483647 h 555"/>
              <a:gd name="T114" fmla="*/ 2147483647 w 764"/>
              <a:gd name="T115" fmla="*/ 2147483647 h 555"/>
              <a:gd name="T116" fmla="*/ 2147483647 w 764"/>
              <a:gd name="T117" fmla="*/ 2147483647 h 555"/>
              <a:gd name="T118" fmla="*/ 0 w 764"/>
              <a:gd name="T119" fmla="*/ 2147483647 h 555"/>
              <a:gd name="T120" fmla="*/ 2147483647 w 764"/>
              <a:gd name="T121" fmla="*/ 2147483647 h 555"/>
              <a:gd name="T122" fmla="*/ 2147483647 w 764"/>
              <a:gd name="T123" fmla="*/ 2147483647 h 555"/>
              <a:gd name="T124" fmla="*/ 2147483647 w 764"/>
              <a:gd name="T125" fmla="*/ 2147483647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7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648190" y="3452440"/>
            <a:ext cx="365125" cy="423863"/>
          </a:xfrm>
          <a:custGeom>
            <a:avLst/>
            <a:gdLst>
              <a:gd name="T0" fmla="*/ 2147483647 w 831"/>
              <a:gd name="T1" fmla="*/ 2147483647 h 812"/>
              <a:gd name="T2" fmla="*/ 2147483647 w 831"/>
              <a:gd name="T3" fmla="*/ 2147483647 h 812"/>
              <a:gd name="T4" fmla="*/ 2147483647 w 831"/>
              <a:gd name="T5" fmla="*/ 2147483647 h 812"/>
              <a:gd name="T6" fmla="*/ 2147483647 w 831"/>
              <a:gd name="T7" fmla="*/ 2147483647 h 812"/>
              <a:gd name="T8" fmla="*/ 2147483647 w 831"/>
              <a:gd name="T9" fmla="*/ 2147483647 h 812"/>
              <a:gd name="T10" fmla="*/ 2147483647 w 831"/>
              <a:gd name="T11" fmla="*/ 2147483647 h 812"/>
              <a:gd name="T12" fmla="*/ 2147483647 w 831"/>
              <a:gd name="T13" fmla="*/ 2147483647 h 812"/>
              <a:gd name="T14" fmla="*/ 2147483647 w 831"/>
              <a:gd name="T15" fmla="*/ 2147483647 h 812"/>
              <a:gd name="T16" fmla="*/ 2147483647 w 831"/>
              <a:gd name="T17" fmla="*/ 2147483647 h 812"/>
              <a:gd name="T18" fmla="*/ 2147483647 w 831"/>
              <a:gd name="T19" fmla="*/ 2147483647 h 812"/>
              <a:gd name="T20" fmla="*/ 2147483647 w 831"/>
              <a:gd name="T21" fmla="*/ 2147483647 h 812"/>
              <a:gd name="T22" fmla="*/ 2147483647 w 831"/>
              <a:gd name="T23" fmla="*/ 2147483647 h 812"/>
              <a:gd name="T24" fmla="*/ 2147483647 w 831"/>
              <a:gd name="T25" fmla="*/ 2147483647 h 812"/>
              <a:gd name="T26" fmla="*/ 2147483647 w 831"/>
              <a:gd name="T27" fmla="*/ 2147483647 h 812"/>
              <a:gd name="T28" fmla="*/ 2147483647 w 831"/>
              <a:gd name="T29" fmla="*/ 2147483647 h 812"/>
              <a:gd name="T30" fmla="*/ 2147483647 w 831"/>
              <a:gd name="T31" fmla="*/ 2147483647 h 812"/>
              <a:gd name="T32" fmla="*/ 2147483647 w 831"/>
              <a:gd name="T33" fmla="*/ 2147483647 h 812"/>
              <a:gd name="T34" fmla="*/ 2147483647 w 831"/>
              <a:gd name="T35" fmla="*/ 2147483647 h 812"/>
              <a:gd name="T36" fmla="*/ 2147483647 w 831"/>
              <a:gd name="T37" fmla="*/ 2147483647 h 812"/>
              <a:gd name="T38" fmla="*/ 2147483647 w 831"/>
              <a:gd name="T39" fmla="*/ 2147483647 h 812"/>
              <a:gd name="T40" fmla="*/ 2147483647 w 831"/>
              <a:gd name="T41" fmla="*/ 2147483647 h 812"/>
              <a:gd name="T42" fmla="*/ 2147483647 w 831"/>
              <a:gd name="T43" fmla="*/ 2147483647 h 812"/>
              <a:gd name="T44" fmla="*/ 2147483647 w 831"/>
              <a:gd name="T45" fmla="*/ 2147483647 h 812"/>
              <a:gd name="T46" fmla="*/ 2147483647 w 831"/>
              <a:gd name="T47" fmla="*/ 2147483647 h 812"/>
              <a:gd name="T48" fmla="*/ 2147483647 w 831"/>
              <a:gd name="T49" fmla="*/ 2147483647 h 812"/>
              <a:gd name="T50" fmla="*/ 2147483647 w 831"/>
              <a:gd name="T51" fmla="*/ 2147483647 h 812"/>
              <a:gd name="T52" fmla="*/ 2147483647 w 831"/>
              <a:gd name="T53" fmla="*/ 2147483647 h 812"/>
              <a:gd name="T54" fmla="*/ 2147483647 w 831"/>
              <a:gd name="T55" fmla="*/ 2147483647 h 812"/>
              <a:gd name="T56" fmla="*/ 2147483647 w 831"/>
              <a:gd name="T57" fmla="*/ 2147483647 h 812"/>
              <a:gd name="T58" fmla="*/ 2147483647 w 831"/>
              <a:gd name="T59" fmla="*/ 2147483647 h 812"/>
              <a:gd name="T60" fmla="*/ 2147483647 w 831"/>
              <a:gd name="T61" fmla="*/ 2147483647 h 812"/>
              <a:gd name="T62" fmla="*/ 2147483647 w 831"/>
              <a:gd name="T63" fmla="*/ 2147483647 h 812"/>
              <a:gd name="T64" fmla="*/ 2147483647 w 831"/>
              <a:gd name="T65" fmla="*/ 2147483647 h 812"/>
              <a:gd name="T66" fmla="*/ 2147483647 w 831"/>
              <a:gd name="T67" fmla="*/ 2147483647 h 812"/>
              <a:gd name="T68" fmla="*/ 2147483647 w 831"/>
              <a:gd name="T69" fmla="*/ 2147483647 h 812"/>
              <a:gd name="T70" fmla="*/ 2147483647 w 831"/>
              <a:gd name="T71" fmla="*/ 2147483647 h 812"/>
              <a:gd name="T72" fmla="*/ 2147483647 w 831"/>
              <a:gd name="T73" fmla="*/ 2147483647 h 812"/>
              <a:gd name="T74" fmla="*/ 2147483647 w 831"/>
              <a:gd name="T75" fmla="*/ 2147483647 h 812"/>
              <a:gd name="T76" fmla="*/ 2147483647 w 831"/>
              <a:gd name="T77" fmla="*/ 2147483647 h 812"/>
              <a:gd name="T78" fmla="*/ 2147483647 w 831"/>
              <a:gd name="T79" fmla="*/ 2147483647 h 812"/>
              <a:gd name="T80" fmla="*/ 2147483647 w 831"/>
              <a:gd name="T81" fmla="*/ 2147483647 h 812"/>
              <a:gd name="T82" fmla="*/ 2147483647 w 831"/>
              <a:gd name="T83" fmla="*/ 2147483647 h 812"/>
              <a:gd name="T84" fmla="*/ 2147483647 w 831"/>
              <a:gd name="T85" fmla="*/ 2147483647 h 812"/>
              <a:gd name="T86" fmla="*/ 2147483647 w 831"/>
              <a:gd name="T87" fmla="*/ 2147483647 h 812"/>
              <a:gd name="T88" fmla="*/ 2147483647 w 831"/>
              <a:gd name="T89" fmla="*/ 2147483647 h 812"/>
              <a:gd name="T90" fmla="*/ 2147483647 w 831"/>
              <a:gd name="T91" fmla="*/ 2147483647 h 812"/>
              <a:gd name="T92" fmla="*/ 2147483647 w 831"/>
              <a:gd name="T93" fmla="*/ 2147483647 h 812"/>
              <a:gd name="T94" fmla="*/ 2147483647 w 831"/>
              <a:gd name="T95" fmla="*/ 2147483647 h 812"/>
              <a:gd name="T96" fmla="*/ 2147483647 w 831"/>
              <a:gd name="T97" fmla="*/ 2147483647 h 812"/>
              <a:gd name="T98" fmla="*/ 2147483647 w 831"/>
              <a:gd name="T99" fmla="*/ 2147483647 h 812"/>
              <a:gd name="T100" fmla="*/ 2147483647 w 831"/>
              <a:gd name="T101" fmla="*/ 2147483647 h 812"/>
              <a:gd name="T102" fmla="*/ 2147483647 w 831"/>
              <a:gd name="T103" fmla="*/ 2147483647 h 812"/>
              <a:gd name="T104" fmla="*/ 2147483647 w 831"/>
              <a:gd name="T105" fmla="*/ 2147483647 h 812"/>
              <a:gd name="T106" fmla="*/ 2147483647 w 831"/>
              <a:gd name="T107" fmla="*/ 2147483647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8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438765" y="3720728"/>
            <a:ext cx="220663" cy="585787"/>
          </a:xfrm>
          <a:custGeom>
            <a:avLst/>
            <a:gdLst>
              <a:gd name="T0" fmla="*/ 2147483647 w 505"/>
              <a:gd name="T1" fmla="*/ 2147483647 h 1121"/>
              <a:gd name="T2" fmla="*/ 2147483647 w 505"/>
              <a:gd name="T3" fmla="*/ 2147483647 h 1121"/>
              <a:gd name="T4" fmla="*/ 2147483647 w 505"/>
              <a:gd name="T5" fmla="*/ 2147483647 h 1121"/>
              <a:gd name="T6" fmla="*/ 2147483647 w 505"/>
              <a:gd name="T7" fmla="*/ 2147483647 h 1121"/>
              <a:gd name="T8" fmla="*/ 2147483647 w 505"/>
              <a:gd name="T9" fmla="*/ 2147483647 h 1121"/>
              <a:gd name="T10" fmla="*/ 2147483647 w 505"/>
              <a:gd name="T11" fmla="*/ 2147483647 h 1121"/>
              <a:gd name="T12" fmla="*/ 2147483647 w 505"/>
              <a:gd name="T13" fmla="*/ 2147483647 h 1121"/>
              <a:gd name="T14" fmla="*/ 2147483647 w 505"/>
              <a:gd name="T15" fmla="*/ 2147483647 h 1121"/>
              <a:gd name="T16" fmla="*/ 2147483647 w 505"/>
              <a:gd name="T17" fmla="*/ 2147483647 h 1121"/>
              <a:gd name="T18" fmla="*/ 2147483647 w 505"/>
              <a:gd name="T19" fmla="*/ 2147483647 h 1121"/>
              <a:gd name="T20" fmla="*/ 2147483647 w 505"/>
              <a:gd name="T21" fmla="*/ 2147483647 h 1121"/>
              <a:gd name="T22" fmla="*/ 2147483647 w 505"/>
              <a:gd name="T23" fmla="*/ 2147483647 h 1121"/>
              <a:gd name="T24" fmla="*/ 2147483647 w 505"/>
              <a:gd name="T25" fmla="*/ 2147483647 h 1121"/>
              <a:gd name="T26" fmla="*/ 2147483647 w 505"/>
              <a:gd name="T27" fmla="*/ 2147483647 h 1121"/>
              <a:gd name="T28" fmla="*/ 2147483647 w 505"/>
              <a:gd name="T29" fmla="*/ 2147483647 h 1121"/>
              <a:gd name="T30" fmla="*/ 2147483647 w 505"/>
              <a:gd name="T31" fmla="*/ 2147483647 h 1121"/>
              <a:gd name="T32" fmla="*/ 2147483647 w 505"/>
              <a:gd name="T33" fmla="*/ 2147483647 h 1121"/>
              <a:gd name="T34" fmla="*/ 2147483647 w 505"/>
              <a:gd name="T35" fmla="*/ 2147483647 h 1121"/>
              <a:gd name="T36" fmla="*/ 2147483647 w 505"/>
              <a:gd name="T37" fmla="*/ 2147483647 h 1121"/>
              <a:gd name="T38" fmla="*/ 2147483647 w 505"/>
              <a:gd name="T39" fmla="*/ 2147483647 h 1121"/>
              <a:gd name="T40" fmla="*/ 2147483647 w 505"/>
              <a:gd name="T41" fmla="*/ 2147483647 h 1121"/>
              <a:gd name="T42" fmla="*/ 2147483647 w 505"/>
              <a:gd name="T43" fmla="*/ 2147483647 h 1121"/>
              <a:gd name="T44" fmla="*/ 2147483647 w 505"/>
              <a:gd name="T45" fmla="*/ 2147483647 h 1121"/>
              <a:gd name="T46" fmla="*/ 2147483647 w 505"/>
              <a:gd name="T47" fmla="*/ 2147483647 h 1121"/>
              <a:gd name="T48" fmla="*/ 2147483647 w 505"/>
              <a:gd name="T49" fmla="*/ 2147483647 h 1121"/>
              <a:gd name="T50" fmla="*/ 2147483647 w 505"/>
              <a:gd name="T51" fmla="*/ 2147483647 h 1121"/>
              <a:gd name="T52" fmla="*/ 2147483647 w 505"/>
              <a:gd name="T53" fmla="*/ 2147483647 h 1121"/>
              <a:gd name="T54" fmla="*/ 2147483647 w 505"/>
              <a:gd name="T55" fmla="*/ 2147483647 h 1121"/>
              <a:gd name="T56" fmla="*/ 2147483647 w 505"/>
              <a:gd name="T57" fmla="*/ 2147483647 h 1121"/>
              <a:gd name="T58" fmla="*/ 2147483647 w 505"/>
              <a:gd name="T59" fmla="*/ 2147483647 h 1121"/>
              <a:gd name="T60" fmla="*/ 2147483647 w 505"/>
              <a:gd name="T61" fmla="*/ 2147483647 h 1121"/>
              <a:gd name="T62" fmla="*/ 2147483647 w 505"/>
              <a:gd name="T63" fmla="*/ 2147483647 h 1121"/>
              <a:gd name="T64" fmla="*/ 2147483647 w 505"/>
              <a:gd name="T65" fmla="*/ 2147483647 h 1121"/>
              <a:gd name="T66" fmla="*/ 2147483647 w 505"/>
              <a:gd name="T67" fmla="*/ 2147483647 h 1121"/>
              <a:gd name="T68" fmla="*/ 2147483647 w 505"/>
              <a:gd name="T69" fmla="*/ 2147483647 h 1121"/>
              <a:gd name="T70" fmla="*/ 2147483647 w 505"/>
              <a:gd name="T71" fmla="*/ 2147483647 h 1121"/>
              <a:gd name="T72" fmla="*/ 2147483647 w 505"/>
              <a:gd name="T73" fmla="*/ 2147483647 h 1121"/>
              <a:gd name="T74" fmla="*/ 2147483647 w 505"/>
              <a:gd name="T75" fmla="*/ 2147483647 h 1121"/>
              <a:gd name="T76" fmla="*/ 2147483647 w 505"/>
              <a:gd name="T77" fmla="*/ 2147483647 h 1121"/>
              <a:gd name="T78" fmla="*/ 2147483647 w 505"/>
              <a:gd name="T79" fmla="*/ 2147483647 h 1121"/>
              <a:gd name="T80" fmla="*/ 2147483647 w 505"/>
              <a:gd name="T81" fmla="*/ 2147483647 h 1121"/>
              <a:gd name="T82" fmla="*/ 2147483647 w 505"/>
              <a:gd name="T83" fmla="*/ 2147483647 h 1121"/>
              <a:gd name="T84" fmla="*/ 2147483647 w 505"/>
              <a:gd name="T85" fmla="*/ 2147483647 h 1121"/>
              <a:gd name="T86" fmla="*/ 2147483647 w 505"/>
              <a:gd name="T87" fmla="*/ 2147483647 h 1121"/>
              <a:gd name="T88" fmla="*/ 2147483647 w 505"/>
              <a:gd name="T89" fmla="*/ 2147483647 h 1121"/>
              <a:gd name="T90" fmla="*/ 2147483647 w 505"/>
              <a:gd name="T91" fmla="*/ 2147483647 h 1121"/>
              <a:gd name="T92" fmla="*/ 2147483647 w 505"/>
              <a:gd name="T93" fmla="*/ 2147483647 h 1121"/>
              <a:gd name="T94" fmla="*/ 2147483647 w 505"/>
              <a:gd name="T95" fmla="*/ 2147483647 h 1121"/>
              <a:gd name="T96" fmla="*/ 2147483647 w 505"/>
              <a:gd name="T97" fmla="*/ 2147483647 h 1121"/>
              <a:gd name="T98" fmla="*/ 2147483647 w 505"/>
              <a:gd name="T99" fmla="*/ 2147483647 h 1121"/>
              <a:gd name="T100" fmla="*/ 2147483647 w 505"/>
              <a:gd name="T101" fmla="*/ 2147483647 h 1121"/>
              <a:gd name="T102" fmla="*/ 2147483647 w 505"/>
              <a:gd name="T103" fmla="*/ 214748364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9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762240" y="4230315"/>
            <a:ext cx="80963" cy="58738"/>
          </a:xfrm>
          <a:custGeom>
            <a:avLst/>
            <a:gdLst>
              <a:gd name="T0" fmla="*/ 2147483647 w 180"/>
              <a:gd name="T1" fmla="*/ 2147483647 h 112"/>
              <a:gd name="T2" fmla="*/ 2147483647 w 180"/>
              <a:gd name="T3" fmla="*/ 2147483647 h 112"/>
              <a:gd name="T4" fmla="*/ 2147483647 w 180"/>
              <a:gd name="T5" fmla="*/ 2147483647 h 112"/>
              <a:gd name="T6" fmla="*/ 2147483647 w 180"/>
              <a:gd name="T7" fmla="*/ 2147483647 h 112"/>
              <a:gd name="T8" fmla="*/ 2147483647 w 180"/>
              <a:gd name="T9" fmla="*/ 2147483647 h 112"/>
              <a:gd name="T10" fmla="*/ 2147483647 w 180"/>
              <a:gd name="T11" fmla="*/ 2147483647 h 112"/>
              <a:gd name="T12" fmla="*/ 2147483647 w 180"/>
              <a:gd name="T13" fmla="*/ 2147483647 h 112"/>
              <a:gd name="T14" fmla="*/ 2147483647 w 180"/>
              <a:gd name="T15" fmla="*/ 2147483647 h 112"/>
              <a:gd name="T16" fmla="*/ 2147483647 w 180"/>
              <a:gd name="T17" fmla="*/ 2147483647 h 112"/>
              <a:gd name="T18" fmla="*/ 2147483647 w 180"/>
              <a:gd name="T19" fmla="*/ 2147483647 h 112"/>
              <a:gd name="T20" fmla="*/ 2147483647 w 180"/>
              <a:gd name="T21" fmla="*/ 2147483647 h 112"/>
              <a:gd name="T22" fmla="*/ 2147483647 w 180"/>
              <a:gd name="T23" fmla="*/ 2147483647 h 112"/>
              <a:gd name="T24" fmla="*/ 2147483647 w 180"/>
              <a:gd name="T25" fmla="*/ 2147483647 h 112"/>
              <a:gd name="T26" fmla="*/ 2147483647 w 180"/>
              <a:gd name="T27" fmla="*/ 2147483647 h 112"/>
              <a:gd name="T28" fmla="*/ 2147483647 w 180"/>
              <a:gd name="T29" fmla="*/ 2147483647 h 112"/>
              <a:gd name="T30" fmla="*/ 2147483647 w 180"/>
              <a:gd name="T31" fmla="*/ 2147483647 h 112"/>
              <a:gd name="T32" fmla="*/ 2147483647 w 180"/>
              <a:gd name="T33" fmla="*/ 2147483647 h 112"/>
              <a:gd name="T34" fmla="*/ 2147483647 w 180"/>
              <a:gd name="T35" fmla="*/ 2147483647 h 112"/>
              <a:gd name="T36" fmla="*/ 2147483647 w 180"/>
              <a:gd name="T37" fmla="*/ 2147483647 h 112"/>
              <a:gd name="T38" fmla="*/ 2147483647 w 180"/>
              <a:gd name="T39" fmla="*/ 2147483647 h 112"/>
              <a:gd name="T40" fmla="*/ 2147483647 w 180"/>
              <a:gd name="T41" fmla="*/ 2147483647 h 112"/>
              <a:gd name="T42" fmla="*/ 2147483647 w 180"/>
              <a:gd name="T43" fmla="*/ 2147483647 h 112"/>
              <a:gd name="T44" fmla="*/ 0 w 180"/>
              <a:gd name="T45" fmla="*/ 2147483647 h 112"/>
              <a:gd name="T46" fmla="*/ 2147483647 w 180"/>
              <a:gd name="T47" fmla="*/ 2147483647 h 112"/>
              <a:gd name="T48" fmla="*/ 2147483647 w 180"/>
              <a:gd name="T49" fmla="*/ 2147483647 h 112"/>
              <a:gd name="T50" fmla="*/ 2147483647 w 180"/>
              <a:gd name="T51" fmla="*/ 2147483647 h 112"/>
              <a:gd name="T52" fmla="*/ 2147483647 w 180"/>
              <a:gd name="T53" fmla="*/ 2147483647 h 112"/>
              <a:gd name="T54" fmla="*/ 2147483647 w 180"/>
              <a:gd name="T55" fmla="*/ 2147483647 h 112"/>
              <a:gd name="T56" fmla="*/ 2147483647 w 180"/>
              <a:gd name="T57" fmla="*/ 0 h 112"/>
              <a:gd name="T58" fmla="*/ 2147483647 w 180"/>
              <a:gd name="T59" fmla="*/ 2147483647 h 112"/>
              <a:gd name="T60" fmla="*/ 2147483647 w 180"/>
              <a:gd name="T61" fmla="*/ 2147483647 h 112"/>
              <a:gd name="T62" fmla="*/ 2147483647 w 180"/>
              <a:gd name="T63" fmla="*/ 2147483647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0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846378" y="4312865"/>
            <a:ext cx="74612" cy="100013"/>
          </a:xfrm>
          <a:custGeom>
            <a:avLst/>
            <a:gdLst>
              <a:gd name="T0" fmla="*/ 0 w 173"/>
              <a:gd name="T1" fmla="*/ 2147483647 h 192"/>
              <a:gd name="T2" fmla="*/ 2147483647 w 173"/>
              <a:gd name="T3" fmla="*/ 2147483647 h 192"/>
              <a:gd name="T4" fmla="*/ 2147483647 w 173"/>
              <a:gd name="T5" fmla="*/ 2147483647 h 192"/>
              <a:gd name="T6" fmla="*/ 2147483647 w 173"/>
              <a:gd name="T7" fmla="*/ 2147483647 h 192"/>
              <a:gd name="T8" fmla="*/ 2147483647 w 173"/>
              <a:gd name="T9" fmla="*/ 2147483647 h 192"/>
              <a:gd name="T10" fmla="*/ 2147483647 w 173"/>
              <a:gd name="T11" fmla="*/ 2147483647 h 192"/>
              <a:gd name="T12" fmla="*/ 2147483647 w 173"/>
              <a:gd name="T13" fmla="*/ 2147483647 h 192"/>
              <a:gd name="T14" fmla="*/ 2147483647 w 173"/>
              <a:gd name="T15" fmla="*/ 2147483647 h 192"/>
              <a:gd name="T16" fmla="*/ 2147483647 w 173"/>
              <a:gd name="T17" fmla="*/ 2147483647 h 192"/>
              <a:gd name="T18" fmla="*/ 2147483647 w 173"/>
              <a:gd name="T19" fmla="*/ 2147483647 h 192"/>
              <a:gd name="T20" fmla="*/ 2147483647 w 173"/>
              <a:gd name="T21" fmla="*/ 0 h 192"/>
              <a:gd name="T22" fmla="*/ 2147483647 w 173"/>
              <a:gd name="T23" fmla="*/ 2147483647 h 192"/>
              <a:gd name="T24" fmla="*/ 2147483647 w 173"/>
              <a:gd name="T25" fmla="*/ 2147483647 h 192"/>
              <a:gd name="T26" fmla="*/ 2147483647 w 173"/>
              <a:gd name="T27" fmla="*/ 2147483647 h 192"/>
              <a:gd name="T28" fmla="*/ 2147483647 w 173"/>
              <a:gd name="T29" fmla="*/ 2147483647 h 192"/>
              <a:gd name="T30" fmla="*/ 2147483647 w 173"/>
              <a:gd name="T31" fmla="*/ 2147483647 h 192"/>
              <a:gd name="T32" fmla="*/ 2147483647 w 173"/>
              <a:gd name="T33" fmla="*/ 2147483647 h 192"/>
              <a:gd name="T34" fmla="*/ 2147483647 w 173"/>
              <a:gd name="T35" fmla="*/ 2147483647 h 192"/>
              <a:gd name="T36" fmla="*/ 2147483647 w 173"/>
              <a:gd name="T37" fmla="*/ 2147483647 h 192"/>
              <a:gd name="T38" fmla="*/ 2147483647 w 173"/>
              <a:gd name="T39" fmla="*/ 2147483647 h 192"/>
              <a:gd name="T40" fmla="*/ 2147483647 w 173"/>
              <a:gd name="T41" fmla="*/ 2147483647 h 192"/>
              <a:gd name="T42" fmla="*/ 2147483647 w 173"/>
              <a:gd name="T43" fmla="*/ 2147483647 h 192"/>
              <a:gd name="T44" fmla="*/ 2147483647 w 173"/>
              <a:gd name="T45" fmla="*/ 2147483647 h 192"/>
              <a:gd name="T46" fmla="*/ 2147483647 w 173"/>
              <a:gd name="T47" fmla="*/ 2147483647 h 192"/>
              <a:gd name="T48" fmla="*/ 2147483647 w 173"/>
              <a:gd name="T49" fmla="*/ 2147483647 h 192"/>
              <a:gd name="T50" fmla="*/ 2147483647 w 173"/>
              <a:gd name="T51" fmla="*/ 2147483647 h 192"/>
              <a:gd name="T52" fmla="*/ 2147483647 w 173"/>
              <a:gd name="T53" fmla="*/ 2147483647 h 192"/>
              <a:gd name="T54" fmla="*/ 2147483647 w 173"/>
              <a:gd name="T55" fmla="*/ 2147483647 h 192"/>
              <a:gd name="T56" fmla="*/ 2147483647 w 173"/>
              <a:gd name="T57" fmla="*/ 2147483647 h 192"/>
              <a:gd name="T58" fmla="*/ 2147483647 w 173"/>
              <a:gd name="T59" fmla="*/ 2147483647 h 192"/>
              <a:gd name="T60" fmla="*/ 2147483647 w 173"/>
              <a:gd name="T61" fmla="*/ 2147483647 h 192"/>
              <a:gd name="T62" fmla="*/ 2147483647 w 173"/>
              <a:gd name="T63" fmla="*/ 2147483647 h 192"/>
              <a:gd name="T64" fmla="*/ 2147483647 w 173"/>
              <a:gd name="T65" fmla="*/ 2147483647 h 192"/>
              <a:gd name="T66" fmla="*/ 2147483647 w 173"/>
              <a:gd name="T67" fmla="*/ 2147483647 h 192"/>
              <a:gd name="T68" fmla="*/ 2147483647 w 173"/>
              <a:gd name="T69" fmla="*/ 2147483647 h 192"/>
              <a:gd name="T70" fmla="*/ 2147483647 w 173"/>
              <a:gd name="T71" fmla="*/ 2147483647 h 192"/>
              <a:gd name="T72" fmla="*/ 2147483647 w 173"/>
              <a:gd name="T73" fmla="*/ 2147483647 h 192"/>
              <a:gd name="T74" fmla="*/ 2147483647 w 173"/>
              <a:gd name="T75" fmla="*/ 2147483647 h 192"/>
              <a:gd name="T76" fmla="*/ 2147483647 w 173"/>
              <a:gd name="T77" fmla="*/ 2147483647 h 192"/>
              <a:gd name="T78" fmla="*/ 2147483647 w 173"/>
              <a:gd name="T79" fmla="*/ 2147483647 h 192"/>
              <a:gd name="T80" fmla="*/ 2147483647 w 173"/>
              <a:gd name="T81" fmla="*/ 2147483647 h 192"/>
              <a:gd name="T82" fmla="*/ 2147483647 w 173"/>
              <a:gd name="T83" fmla="*/ 2147483647 h 192"/>
              <a:gd name="T84" fmla="*/ 0 w 173"/>
              <a:gd name="T85" fmla="*/ 2147483647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1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889240" y="4363665"/>
            <a:ext cx="104775" cy="131763"/>
          </a:xfrm>
          <a:custGeom>
            <a:avLst/>
            <a:gdLst>
              <a:gd name="T0" fmla="*/ 2147483647 w 233"/>
              <a:gd name="T1" fmla="*/ 0 h 252"/>
              <a:gd name="T2" fmla="*/ 2147483647 w 233"/>
              <a:gd name="T3" fmla="*/ 2147483647 h 252"/>
              <a:gd name="T4" fmla="*/ 2147483647 w 233"/>
              <a:gd name="T5" fmla="*/ 2147483647 h 252"/>
              <a:gd name="T6" fmla="*/ 2147483647 w 233"/>
              <a:gd name="T7" fmla="*/ 2147483647 h 252"/>
              <a:gd name="T8" fmla="*/ 2147483647 w 233"/>
              <a:gd name="T9" fmla="*/ 2147483647 h 252"/>
              <a:gd name="T10" fmla="*/ 2147483647 w 233"/>
              <a:gd name="T11" fmla="*/ 2147483647 h 252"/>
              <a:gd name="T12" fmla="*/ 2147483647 w 233"/>
              <a:gd name="T13" fmla="*/ 0 h 252"/>
              <a:gd name="T14" fmla="*/ 2147483647 w 233"/>
              <a:gd name="T15" fmla="*/ 2147483647 h 252"/>
              <a:gd name="T16" fmla="*/ 2147483647 w 233"/>
              <a:gd name="T17" fmla="*/ 2147483647 h 252"/>
              <a:gd name="T18" fmla="*/ 2147483647 w 233"/>
              <a:gd name="T19" fmla="*/ 2147483647 h 252"/>
              <a:gd name="T20" fmla="*/ 2147483647 w 233"/>
              <a:gd name="T21" fmla="*/ 2147483647 h 252"/>
              <a:gd name="T22" fmla="*/ 2147483647 w 233"/>
              <a:gd name="T23" fmla="*/ 2147483647 h 252"/>
              <a:gd name="T24" fmla="*/ 2147483647 w 233"/>
              <a:gd name="T25" fmla="*/ 2147483647 h 252"/>
              <a:gd name="T26" fmla="*/ 2147483647 w 233"/>
              <a:gd name="T27" fmla="*/ 2147483647 h 252"/>
              <a:gd name="T28" fmla="*/ 2147483647 w 233"/>
              <a:gd name="T29" fmla="*/ 2147483647 h 252"/>
              <a:gd name="T30" fmla="*/ 2147483647 w 233"/>
              <a:gd name="T31" fmla="*/ 2147483647 h 252"/>
              <a:gd name="T32" fmla="*/ 2147483647 w 233"/>
              <a:gd name="T33" fmla="*/ 2147483647 h 252"/>
              <a:gd name="T34" fmla="*/ 2147483647 w 233"/>
              <a:gd name="T35" fmla="*/ 2147483647 h 252"/>
              <a:gd name="T36" fmla="*/ 2147483647 w 233"/>
              <a:gd name="T37" fmla="*/ 2147483647 h 252"/>
              <a:gd name="T38" fmla="*/ 2147483647 w 233"/>
              <a:gd name="T39" fmla="*/ 2147483647 h 252"/>
              <a:gd name="T40" fmla="*/ 2147483647 w 233"/>
              <a:gd name="T41" fmla="*/ 2147483647 h 252"/>
              <a:gd name="T42" fmla="*/ 2147483647 w 233"/>
              <a:gd name="T43" fmla="*/ 2147483647 h 252"/>
              <a:gd name="T44" fmla="*/ 2147483647 w 233"/>
              <a:gd name="T45" fmla="*/ 2147483647 h 252"/>
              <a:gd name="T46" fmla="*/ 2147483647 w 233"/>
              <a:gd name="T47" fmla="*/ 2147483647 h 252"/>
              <a:gd name="T48" fmla="*/ 2147483647 w 233"/>
              <a:gd name="T49" fmla="*/ 2147483647 h 252"/>
              <a:gd name="T50" fmla="*/ 2147483647 w 233"/>
              <a:gd name="T51" fmla="*/ 2147483647 h 252"/>
              <a:gd name="T52" fmla="*/ 2147483647 w 233"/>
              <a:gd name="T53" fmla="*/ 2147483647 h 252"/>
              <a:gd name="T54" fmla="*/ 2147483647 w 233"/>
              <a:gd name="T55" fmla="*/ 2147483647 h 252"/>
              <a:gd name="T56" fmla="*/ 2147483647 w 233"/>
              <a:gd name="T57" fmla="*/ 2147483647 h 252"/>
              <a:gd name="T58" fmla="*/ 2147483647 w 233"/>
              <a:gd name="T59" fmla="*/ 2147483647 h 252"/>
              <a:gd name="T60" fmla="*/ 2147483647 w 233"/>
              <a:gd name="T61" fmla="*/ 2147483647 h 252"/>
              <a:gd name="T62" fmla="*/ 2147483647 w 233"/>
              <a:gd name="T63" fmla="*/ 2147483647 h 252"/>
              <a:gd name="T64" fmla="*/ 2147483647 w 233"/>
              <a:gd name="T65" fmla="*/ 2147483647 h 252"/>
              <a:gd name="T66" fmla="*/ 2147483647 w 233"/>
              <a:gd name="T67" fmla="*/ 2147483647 h 252"/>
              <a:gd name="T68" fmla="*/ 2147483647 w 233"/>
              <a:gd name="T69" fmla="*/ 2147483647 h 252"/>
              <a:gd name="T70" fmla="*/ 2147483647 w 233"/>
              <a:gd name="T71" fmla="*/ 2147483647 h 252"/>
              <a:gd name="T72" fmla="*/ 2147483647 w 233"/>
              <a:gd name="T73" fmla="*/ 2147483647 h 252"/>
              <a:gd name="T74" fmla="*/ 2147483647 w 233"/>
              <a:gd name="T75" fmla="*/ 2147483647 h 252"/>
              <a:gd name="T76" fmla="*/ 2147483647 w 233"/>
              <a:gd name="T77" fmla="*/ 2147483647 h 252"/>
              <a:gd name="T78" fmla="*/ 2147483647 w 233"/>
              <a:gd name="T79" fmla="*/ 2147483647 h 252"/>
              <a:gd name="T80" fmla="*/ 2147483647 w 233"/>
              <a:gd name="T81" fmla="*/ 2147483647 h 252"/>
              <a:gd name="T82" fmla="*/ 2147483647 w 233"/>
              <a:gd name="T83" fmla="*/ 2147483647 h 252"/>
              <a:gd name="T84" fmla="*/ 2147483647 w 233"/>
              <a:gd name="T85" fmla="*/ 2147483647 h 252"/>
              <a:gd name="T86" fmla="*/ 2147483647 w 233"/>
              <a:gd name="T87" fmla="*/ 2147483647 h 252"/>
              <a:gd name="T88" fmla="*/ 2147483647 w 233"/>
              <a:gd name="T89" fmla="*/ 2147483647 h 252"/>
              <a:gd name="T90" fmla="*/ 2147483647 w 233"/>
              <a:gd name="T91" fmla="*/ 2147483647 h 252"/>
              <a:gd name="T92" fmla="*/ 2147483647 w 233"/>
              <a:gd name="T93" fmla="*/ 2147483647 h 252"/>
              <a:gd name="T94" fmla="*/ 0 w 233"/>
              <a:gd name="T95" fmla="*/ 2147483647 h 252"/>
              <a:gd name="T96" fmla="*/ 2147483647 w 233"/>
              <a:gd name="T97" fmla="*/ 2147483647 h 252"/>
              <a:gd name="T98" fmla="*/ 2147483647 w 233"/>
              <a:gd name="T99" fmla="*/ 2147483647 h 252"/>
              <a:gd name="T100" fmla="*/ 2147483647 w 233"/>
              <a:gd name="T101" fmla="*/ 2147483647 h 252"/>
              <a:gd name="T102" fmla="*/ 2147483647 w 233"/>
              <a:gd name="T103" fmla="*/ 2147483647 h 252"/>
              <a:gd name="T104" fmla="*/ 2147483647 w 233"/>
              <a:gd name="T105" fmla="*/ 2147483647 h 252"/>
              <a:gd name="T106" fmla="*/ 2147483647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2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103553" y="4282703"/>
            <a:ext cx="104775" cy="201612"/>
          </a:xfrm>
          <a:custGeom>
            <a:avLst/>
            <a:gdLst>
              <a:gd name="T0" fmla="*/ 2147483647 w 246"/>
              <a:gd name="T1" fmla="*/ 2147483647 h 380"/>
              <a:gd name="T2" fmla="*/ 2147483647 w 246"/>
              <a:gd name="T3" fmla="*/ 2147483647 h 380"/>
              <a:gd name="T4" fmla="*/ 2147483647 w 246"/>
              <a:gd name="T5" fmla="*/ 2147483647 h 380"/>
              <a:gd name="T6" fmla="*/ 2147483647 w 246"/>
              <a:gd name="T7" fmla="*/ 2147483647 h 380"/>
              <a:gd name="T8" fmla="*/ 2147483647 w 246"/>
              <a:gd name="T9" fmla="*/ 2147483647 h 380"/>
              <a:gd name="T10" fmla="*/ 2147483647 w 246"/>
              <a:gd name="T11" fmla="*/ 2147483647 h 380"/>
              <a:gd name="T12" fmla="*/ 2147483647 w 246"/>
              <a:gd name="T13" fmla="*/ 2147483647 h 380"/>
              <a:gd name="T14" fmla="*/ 2147483647 w 246"/>
              <a:gd name="T15" fmla="*/ 2147483647 h 380"/>
              <a:gd name="T16" fmla="*/ 2147483647 w 246"/>
              <a:gd name="T17" fmla="*/ 2147483647 h 380"/>
              <a:gd name="T18" fmla="*/ 2147483647 w 246"/>
              <a:gd name="T19" fmla="*/ 2147483647 h 380"/>
              <a:gd name="T20" fmla="*/ 2147483647 w 246"/>
              <a:gd name="T21" fmla="*/ 2147483647 h 380"/>
              <a:gd name="T22" fmla="*/ 2147483647 w 246"/>
              <a:gd name="T23" fmla="*/ 2147483647 h 380"/>
              <a:gd name="T24" fmla="*/ 2147483647 w 246"/>
              <a:gd name="T25" fmla="*/ 2147483647 h 380"/>
              <a:gd name="T26" fmla="*/ 2147483647 w 246"/>
              <a:gd name="T27" fmla="*/ 2147483647 h 380"/>
              <a:gd name="T28" fmla="*/ 0 w 246"/>
              <a:gd name="T29" fmla="*/ 2147483647 h 380"/>
              <a:gd name="T30" fmla="*/ 2147483647 w 246"/>
              <a:gd name="T31" fmla="*/ 2147483647 h 380"/>
              <a:gd name="T32" fmla="*/ 2147483647 w 246"/>
              <a:gd name="T33" fmla="*/ 2147483647 h 380"/>
              <a:gd name="T34" fmla="*/ 2147483647 w 246"/>
              <a:gd name="T35" fmla="*/ 2147483647 h 380"/>
              <a:gd name="T36" fmla="*/ 2147483647 w 246"/>
              <a:gd name="T37" fmla="*/ 2147483647 h 380"/>
              <a:gd name="T38" fmla="*/ 2147483647 w 246"/>
              <a:gd name="T39" fmla="*/ 2147483647 h 380"/>
              <a:gd name="T40" fmla="*/ 2147483647 w 246"/>
              <a:gd name="T41" fmla="*/ 2147483647 h 380"/>
              <a:gd name="T42" fmla="*/ 2147483647 w 246"/>
              <a:gd name="T43" fmla="*/ 2147483647 h 380"/>
              <a:gd name="T44" fmla="*/ 2147483647 w 246"/>
              <a:gd name="T45" fmla="*/ 2147483647 h 380"/>
              <a:gd name="T46" fmla="*/ 2147483647 w 246"/>
              <a:gd name="T47" fmla="*/ 2147483647 h 380"/>
              <a:gd name="T48" fmla="*/ 2147483647 w 246"/>
              <a:gd name="T49" fmla="*/ 2147483647 h 380"/>
              <a:gd name="T50" fmla="*/ 2147483647 w 246"/>
              <a:gd name="T51" fmla="*/ 2147483647 h 380"/>
              <a:gd name="T52" fmla="*/ 2147483647 w 246"/>
              <a:gd name="T53" fmla="*/ 2147483647 h 380"/>
              <a:gd name="T54" fmla="*/ 2147483647 w 246"/>
              <a:gd name="T55" fmla="*/ 2147483647 h 380"/>
              <a:gd name="T56" fmla="*/ 2147483647 w 246"/>
              <a:gd name="T57" fmla="*/ 2147483647 h 380"/>
              <a:gd name="T58" fmla="*/ 2147483647 w 246"/>
              <a:gd name="T59" fmla="*/ 2147483647 h 380"/>
              <a:gd name="T60" fmla="*/ 2147483647 w 246"/>
              <a:gd name="T61" fmla="*/ 2147483647 h 380"/>
              <a:gd name="T62" fmla="*/ 2147483647 w 246"/>
              <a:gd name="T63" fmla="*/ 0 h 380"/>
              <a:gd name="T64" fmla="*/ 2147483647 w 246"/>
              <a:gd name="T65" fmla="*/ 0 h 380"/>
              <a:gd name="T66" fmla="*/ 2147483647 w 246"/>
              <a:gd name="T67" fmla="*/ 2147483647 h 380"/>
              <a:gd name="T68" fmla="*/ 2147483647 w 246"/>
              <a:gd name="T69" fmla="*/ 2147483647 h 380"/>
              <a:gd name="T70" fmla="*/ 2147483647 w 246"/>
              <a:gd name="T71" fmla="*/ 2147483647 h 380"/>
              <a:gd name="T72" fmla="*/ 2147483647 w 246"/>
              <a:gd name="T73" fmla="*/ 2147483647 h 380"/>
              <a:gd name="T74" fmla="*/ 2147483647 w 246"/>
              <a:gd name="T75" fmla="*/ 2147483647 h 380"/>
              <a:gd name="T76" fmla="*/ 2147483647 w 246"/>
              <a:gd name="T77" fmla="*/ 2147483647 h 380"/>
              <a:gd name="T78" fmla="*/ 2147483647 w 246"/>
              <a:gd name="T79" fmla="*/ 2147483647 h 380"/>
              <a:gd name="T80" fmla="*/ 2147483647 w 246"/>
              <a:gd name="T81" fmla="*/ 2147483647 h 380"/>
              <a:gd name="T82" fmla="*/ 2147483647 w 246"/>
              <a:gd name="T83" fmla="*/ 2147483647 h 380"/>
              <a:gd name="T84" fmla="*/ 2147483647 w 246"/>
              <a:gd name="T85" fmla="*/ 2147483647 h 380"/>
              <a:gd name="T86" fmla="*/ 2147483647 w 246"/>
              <a:gd name="T87" fmla="*/ 2147483647 h 380"/>
              <a:gd name="T88" fmla="*/ 2147483647 w 246"/>
              <a:gd name="T89" fmla="*/ 2147483647 h 380"/>
              <a:gd name="T90" fmla="*/ 2147483647 w 246"/>
              <a:gd name="T91" fmla="*/ 2147483647 h 380"/>
              <a:gd name="T92" fmla="*/ 2147483647 w 246"/>
              <a:gd name="T93" fmla="*/ 2147483647 h 380"/>
              <a:gd name="T94" fmla="*/ 2147483647 w 246"/>
              <a:gd name="T95" fmla="*/ 2147483647 h 380"/>
              <a:gd name="T96" fmla="*/ 2147483647 w 246"/>
              <a:gd name="T97" fmla="*/ 2147483647 h 380"/>
              <a:gd name="T98" fmla="*/ 2147483647 w 246"/>
              <a:gd name="T99" fmla="*/ 2147483647 h 380"/>
              <a:gd name="T100" fmla="*/ 2147483647 w 246"/>
              <a:gd name="T101" fmla="*/ 2147483647 h 380"/>
              <a:gd name="T102" fmla="*/ 2147483647 w 246"/>
              <a:gd name="T103" fmla="*/ 2147483647 h 380"/>
              <a:gd name="T104" fmla="*/ 2147483647 w 246"/>
              <a:gd name="T105" fmla="*/ 2147483647 h 380"/>
              <a:gd name="T106" fmla="*/ 2147483647 w 246"/>
              <a:gd name="T107" fmla="*/ 2147483647 h 380"/>
              <a:gd name="T108" fmla="*/ 2147483647 w 246"/>
              <a:gd name="T109" fmla="*/ 2147483647 h 380"/>
              <a:gd name="T110" fmla="*/ 2147483647 w 246"/>
              <a:gd name="T111" fmla="*/ 2147483647 h 380"/>
              <a:gd name="T112" fmla="*/ 2147483647 w 246"/>
              <a:gd name="T113" fmla="*/ 2147483647 h 380"/>
              <a:gd name="T114" fmla="*/ 2147483647 w 246"/>
              <a:gd name="T115" fmla="*/ 2147483647 h 380"/>
              <a:gd name="T116" fmla="*/ 2147483647 w 246"/>
              <a:gd name="T117" fmla="*/ 2147483647 h 380"/>
              <a:gd name="T118" fmla="*/ 2147483647 w 246"/>
              <a:gd name="T119" fmla="*/ 2147483647 h 380"/>
              <a:gd name="T120" fmla="*/ 2147483647 w 246"/>
              <a:gd name="T121" fmla="*/ 2147483647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3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755890" y="4198565"/>
            <a:ext cx="87313" cy="58738"/>
          </a:xfrm>
          <a:custGeom>
            <a:avLst/>
            <a:gdLst>
              <a:gd name="T0" fmla="*/ 2147483647 w 193"/>
              <a:gd name="T1" fmla="*/ 2147483647 h 38"/>
              <a:gd name="T2" fmla="*/ 2147483647 w 193"/>
              <a:gd name="T3" fmla="*/ 2147483647 h 38"/>
              <a:gd name="T4" fmla="*/ 2147483647 w 193"/>
              <a:gd name="T5" fmla="*/ 2147483647 h 38"/>
              <a:gd name="T6" fmla="*/ 2147483647 w 193"/>
              <a:gd name="T7" fmla="*/ 2147483647 h 38"/>
              <a:gd name="T8" fmla="*/ 2147483647 w 193"/>
              <a:gd name="T9" fmla="*/ 2147483647 h 38"/>
              <a:gd name="T10" fmla="*/ 2147483647 w 193"/>
              <a:gd name="T11" fmla="*/ 2147483647 h 38"/>
              <a:gd name="T12" fmla="*/ 2147483647 w 193"/>
              <a:gd name="T13" fmla="*/ 0 h 38"/>
              <a:gd name="T14" fmla="*/ 2147483647 w 193"/>
              <a:gd name="T15" fmla="*/ 2147483647 h 38"/>
              <a:gd name="T16" fmla="*/ 2147483647 w 193"/>
              <a:gd name="T17" fmla="*/ 2147483647 h 38"/>
              <a:gd name="T18" fmla="*/ 2147483647 w 193"/>
              <a:gd name="T19" fmla="*/ 2147483647 h 38"/>
              <a:gd name="T20" fmla="*/ 2147483647 w 193"/>
              <a:gd name="T21" fmla="*/ 2147483647 h 38"/>
              <a:gd name="T22" fmla="*/ 2147483647 w 193"/>
              <a:gd name="T23" fmla="*/ 2147483647 h 38"/>
              <a:gd name="T24" fmla="*/ 2147483647 w 193"/>
              <a:gd name="T25" fmla="*/ 2147483647 h 38"/>
              <a:gd name="T26" fmla="*/ 2147483647 w 193"/>
              <a:gd name="T27" fmla="*/ 2147483647 h 38"/>
              <a:gd name="T28" fmla="*/ 2147483647 w 193"/>
              <a:gd name="T29" fmla="*/ 2147483647 h 38"/>
              <a:gd name="T30" fmla="*/ 2147483647 w 193"/>
              <a:gd name="T31" fmla="*/ 2147483647 h 38"/>
              <a:gd name="T32" fmla="*/ 2147483647 w 193"/>
              <a:gd name="T33" fmla="*/ 2147483647 h 38"/>
              <a:gd name="T34" fmla="*/ 2147483647 w 193"/>
              <a:gd name="T35" fmla="*/ 2147483647 h 38"/>
              <a:gd name="T36" fmla="*/ 2147483647 w 193"/>
              <a:gd name="T37" fmla="*/ 2147483647 h 38"/>
              <a:gd name="T38" fmla="*/ 2147483647 w 193"/>
              <a:gd name="T39" fmla="*/ 2147483647 h 38"/>
              <a:gd name="T40" fmla="*/ 2147483647 w 193"/>
              <a:gd name="T41" fmla="*/ 2147483647 h 38"/>
              <a:gd name="T42" fmla="*/ 2147483647 w 193"/>
              <a:gd name="T43" fmla="*/ 2147483647 h 38"/>
              <a:gd name="T44" fmla="*/ 2147483647 w 193"/>
              <a:gd name="T45" fmla="*/ 2147483647 h 38"/>
              <a:gd name="T46" fmla="*/ 2147483647 w 193"/>
              <a:gd name="T47" fmla="*/ 2147483647 h 38"/>
              <a:gd name="T48" fmla="*/ 2147483647 w 193"/>
              <a:gd name="T49" fmla="*/ 2147483647 h 38"/>
              <a:gd name="T50" fmla="*/ 2147483647 w 193"/>
              <a:gd name="T51" fmla="*/ 2147483647 h 38"/>
              <a:gd name="T52" fmla="*/ 2147483647 w 193"/>
              <a:gd name="T53" fmla="*/ 2147483647 h 38"/>
              <a:gd name="T54" fmla="*/ 2147483647 w 193"/>
              <a:gd name="T55" fmla="*/ 2147483647 h 38"/>
              <a:gd name="T56" fmla="*/ 2147483647 w 193"/>
              <a:gd name="T57" fmla="*/ 2147483647 h 38"/>
              <a:gd name="T58" fmla="*/ 2147483647 w 193"/>
              <a:gd name="T59" fmla="*/ 2147483647 h 38"/>
              <a:gd name="T60" fmla="*/ 0 w 193"/>
              <a:gd name="T61" fmla="*/ 2147483647 h 38"/>
              <a:gd name="T62" fmla="*/ 0 w 193"/>
              <a:gd name="T63" fmla="*/ 2147483647 h 38"/>
              <a:gd name="T64" fmla="*/ 2147483647 w 193"/>
              <a:gd name="T65" fmla="*/ 2147483647 h 38"/>
              <a:gd name="T66" fmla="*/ 2147483647 w 193"/>
              <a:gd name="T67" fmla="*/ 2147483647 h 38"/>
              <a:gd name="T68" fmla="*/ 2147483647 w 193"/>
              <a:gd name="T69" fmla="*/ 2147483647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4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181340" y="4276353"/>
            <a:ext cx="42863" cy="155575"/>
          </a:xfrm>
          <a:custGeom>
            <a:avLst/>
            <a:gdLst>
              <a:gd name="T0" fmla="*/ 2147483647 w 99"/>
              <a:gd name="T1" fmla="*/ 2147483647 h 301"/>
              <a:gd name="T2" fmla="*/ 2147483647 w 99"/>
              <a:gd name="T3" fmla="*/ 2147483647 h 301"/>
              <a:gd name="T4" fmla="*/ 2147483647 w 99"/>
              <a:gd name="T5" fmla="*/ 2147483647 h 301"/>
              <a:gd name="T6" fmla="*/ 2147483647 w 99"/>
              <a:gd name="T7" fmla="*/ 2147483647 h 301"/>
              <a:gd name="T8" fmla="*/ 2147483647 w 99"/>
              <a:gd name="T9" fmla="*/ 2147483647 h 301"/>
              <a:gd name="T10" fmla="*/ 2147483647 w 99"/>
              <a:gd name="T11" fmla="*/ 2147483647 h 301"/>
              <a:gd name="T12" fmla="*/ 2147483647 w 99"/>
              <a:gd name="T13" fmla="*/ 2147483647 h 301"/>
              <a:gd name="T14" fmla="*/ 2147483647 w 99"/>
              <a:gd name="T15" fmla="*/ 2147483647 h 301"/>
              <a:gd name="T16" fmla="*/ 2147483647 w 99"/>
              <a:gd name="T17" fmla="*/ 2147483647 h 301"/>
              <a:gd name="T18" fmla="*/ 2147483647 w 99"/>
              <a:gd name="T19" fmla="*/ 2147483647 h 301"/>
              <a:gd name="T20" fmla="*/ 2147483647 w 99"/>
              <a:gd name="T21" fmla="*/ 2147483647 h 301"/>
              <a:gd name="T22" fmla="*/ 2147483647 w 99"/>
              <a:gd name="T23" fmla="*/ 2147483647 h 301"/>
              <a:gd name="T24" fmla="*/ 2147483647 w 99"/>
              <a:gd name="T25" fmla="*/ 2147483647 h 301"/>
              <a:gd name="T26" fmla="*/ 2147483647 w 99"/>
              <a:gd name="T27" fmla="*/ 2147483647 h 301"/>
              <a:gd name="T28" fmla="*/ 2147483647 w 99"/>
              <a:gd name="T29" fmla="*/ 2147483647 h 301"/>
              <a:gd name="T30" fmla="*/ 2147483647 w 99"/>
              <a:gd name="T31" fmla="*/ 2147483647 h 301"/>
              <a:gd name="T32" fmla="*/ 2147483647 w 99"/>
              <a:gd name="T33" fmla="*/ 2147483647 h 301"/>
              <a:gd name="T34" fmla="*/ 2147483647 w 99"/>
              <a:gd name="T35" fmla="*/ 2147483647 h 301"/>
              <a:gd name="T36" fmla="*/ 2147483647 w 99"/>
              <a:gd name="T37" fmla="*/ 2147483647 h 301"/>
              <a:gd name="T38" fmla="*/ 2147483647 w 99"/>
              <a:gd name="T39" fmla="*/ 2147483647 h 301"/>
              <a:gd name="T40" fmla="*/ 2147483647 w 99"/>
              <a:gd name="T41" fmla="*/ 2147483647 h 301"/>
              <a:gd name="T42" fmla="*/ 2147483647 w 99"/>
              <a:gd name="T43" fmla="*/ 2147483647 h 301"/>
              <a:gd name="T44" fmla="*/ 2147483647 w 99"/>
              <a:gd name="T45" fmla="*/ 2147483647 h 301"/>
              <a:gd name="T46" fmla="*/ 2147483647 w 99"/>
              <a:gd name="T47" fmla="*/ 2147483647 h 301"/>
              <a:gd name="T48" fmla="*/ 2147483647 w 99"/>
              <a:gd name="T49" fmla="*/ 2147483647 h 301"/>
              <a:gd name="T50" fmla="*/ 2147483647 w 99"/>
              <a:gd name="T51" fmla="*/ 2147483647 h 301"/>
              <a:gd name="T52" fmla="*/ 2147483647 w 99"/>
              <a:gd name="T53" fmla="*/ 2147483647 h 301"/>
              <a:gd name="T54" fmla="*/ 2147483647 w 99"/>
              <a:gd name="T55" fmla="*/ 2147483647 h 301"/>
              <a:gd name="T56" fmla="*/ 0 w 99"/>
              <a:gd name="T57" fmla="*/ 2147483647 h 301"/>
              <a:gd name="T58" fmla="*/ 2147483647 w 99"/>
              <a:gd name="T59" fmla="*/ 2147483647 h 301"/>
              <a:gd name="T60" fmla="*/ 2147483647 w 99"/>
              <a:gd name="T61" fmla="*/ 0 h 301"/>
              <a:gd name="T62" fmla="*/ 2147483647 w 99"/>
              <a:gd name="T63" fmla="*/ 0 h 301"/>
              <a:gd name="T64" fmla="*/ 2147483647 w 99"/>
              <a:gd name="T65" fmla="*/ 0 h 301"/>
              <a:gd name="T66" fmla="*/ 2147483647 w 99"/>
              <a:gd name="T67" fmla="*/ 0 h 301"/>
              <a:gd name="T68" fmla="*/ 2147483647 w 99"/>
              <a:gd name="T69" fmla="*/ 2147483647 h 301"/>
              <a:gd name="T70" fmla="*/ 2147483647 w 99"/>
              <a:gd name="T71" fmla="*/ 2147483647 h 301"/>
              <a:gd name="T72" fmla="*/ 2147483647 w 99"/>
              <a:gd name="T73" fmla="*/ 2147483647 h 301"/>
              <a:gd name="T74" fmla="*/ 2147483647 w 99"/>
              <a:gd name="T75" fmla="*/ 2147483647 h 301"/>
              <a:gd name="T76" fmla="*/ 2147483647 w 99"/>
              <a:gd name="T77" fmla="*/ 2147483647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5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206740" y="4238253"/>
            <a:ext cx="76200" cy="188912"/>
          </a:xfrm>
          <a:custGeom>
            <a:avLst/>
            <a:gdLst>
              <a:gd name="T0" fmla="*/ 0 w 173"/>
              <a:gd name="T1" fmla="*/ 2147483647 h 357"/>
              <a:gd name="T2" fmla="*/ 2147483647 w 173"/>
              <a:gd name="T3" fmla="*/ 2147483647 h 357"/>
              <a:gd name="T4" fmla="*/ 2147483647 w 173"/>
              <a:gd name="T5" fmla="*/ 2147483647 h 357"/>
              <a:gd name="T6" fmla="*/ 2147483647 w 173"/>
              <a:gd name="T7" fmla="*/ 2147483647 h 357"/>
              <a:gd name="T8" fmla="*/ 2147483647 w 173"/>
              <a:gd name="T9" fmla="*/ 2147483647 h 357"/>
              <a:gd name="T10" fmla="*/ 2147483647 w 173"/>
              <a:gd name="T11" fmla="*/ 2147483647 h 357"/>
              <a:gd name="T12" fmla="*/ 2147483647 w 173"/>
              <a:gd name="T13" fmla="*/ 2147483647 h 357"/>
              <a:gd name="T14" fmla="*/ 2147483647 w 173"/>
              <a:gd name="T15" fmla="*/ 0 h 357"/>
              <a:gd name="T16" fmla="*/ 2147483647 w 173"/>
              <a:gd name="T17" fmla="*/ 2147483647 h 357"/>
              <a:gd name="T18" fmla="*/ 2147483647 w 173"/>
              <a:gd name="T19" fmla="*/ 2147483647 h 357"/>
              <a:gd name="T20" fmla="*/ 2147483647 w 173"/>
              <a:gd name="T21" fmla="*/ 2147483647 h 357"/>
              <a:gd name="T22" fmla="*/ 2147483647 w 173"/>
              <a:gd name="T23" fmla="*/ 2147483647 h 357"/>
              <a:gd name="T24" fmla="*/ 2147483647 w 173"/>
              <a:gd name="T25" fmla="*/ 2147483647 h 357"/>
              <a:gd name="T26" fmla="*/ 2147483647 w 173"/>
              <a:gd name="T27" fmla="*/ 2147483647 h 357"/>
              <a:gd name="T28" fmla="*/ 2147483647 w 173"/>
              <a:gd name="T29" fmla="*/ 2147483647 h 357"/>
              <a:gd name="T30" fmla="*/ 2147483647 w 173"/>
              <a:gd name="T31" fmla="*/ 2147483647 h 357"/>
              <a:gd name="T32" fmla="*/ 2147483647 w 173"/>
              <a:gd name="T33" fmla="*/ 2147483647 h 357"/>
              <a:gd name="T34" fmla="*/ 2147483647 w 173"/>
              <a:gd name="T35" fmla="*/ 2147483647 h 357"/>
              <a:gd name="T36" fmla="*/ 2147483647 w 173"/>
              <a:gd name="T37" fmla="*/ 2147483647 h 357"/>
              <a:gd name="T38" fmla="*/ 2147483647 w 173"/>
              <a:gd name="T39" fmla="*/ 2147483647 h 357"/>
              <a:gd name="T40" fmla="*/ 2147483647 w 173"/>
              <a:gd name="T41" fmla="*/ 2147483647 h 357"/>
              <a:gd name="T42" fmla="*/ 2147483647 w 173"/>
              <a:gd name="T43" fmla="*/ 2147483647 h 357"/>
              <a:gd name="T44" fmla="*/ 2147483647 w 173"/>
              <a:gd name="T45" fmla="*/ 2147483647 h 357"/>
              <a:gd name="T46" fmla="*/ 2147483647 w 173"/>
              <a:gd name="T47" fmla="*/ 2147483647 h 357"/>
              <a:gd name="T48" fmla="*/ 2147483647 w 173"/>
              <a:gd name="T49" fmla="*/ 2147483647 h 357"/>
              <a:gd name="T50" fmla="*/ 2147483647 w 173"/>
              <a:gd name="T51" fmla="*/ 2147483647 h 357"/>
              <a:gd name="T52" fmla="*/ 2147483647 w 173"/>
              <a:gd name="T53" fmla="*/ 2147483647 h 357"/>
              <a:gd name="T54" fmla="*/ 2147483647 w 173"/>
              <a:gd name="T55" fmla="*/ 2147483647 h 357"/>
              <a:gd name="T56" fmla="*/ 2147483647 w 173"/>
              <a:gd name="T57" fmla="*/ 2147483647 h 357"/>
              <a:gd name="T58" fmla="*/ 2147483647 w 173"/>
              <a:gd name="T59" fmla="*/ 2147483647 h 357"/>
              <a:gd name="T60" fmla="*/ 2147483647 w 173"/>
              <a:gd name="T61" fmla="*/ 2147483647 h 357"/>
              <a:gd name="T62" fmla="*/ 2147483647 w 173"/>
              <a:gd name="T63" fmla="*/ 2147483647 h 357"/>
              <a:gd name="T64" fmla="*/ 2147483647 w 173"/>
              <a:gd name="T65" fmla="*/ 2147483647 h 357"/>
              <a:gd name="T66" fmla="*/ 2147483647 w 173"/>
              <a:gd name="T67" fmla="*/ 2147483647 h 357"/>
              <a:gd name="T68" fmla="*/ 2147483647 w 173"/>
              <a:gd name="T69" fmla="*/ 2147483647 h 357"/>
              <a:gd name="T70" fmla="*/ 2147483647 w 173"/>
              <a:gd name="T71" fmla="*/ 2147483647 h 357"/>
              <a:gd name="T72" fmla="*/ 2147483647 w 173"/>
              <a:gd name="T73" fmla="*/ 2147483647 h 357"/>
              <a:gd name="T74" fmla="*/ 2147483647 w 173"/>
              <a:gd name="T75" fmla="*/ 2147483647 h 357"/>
              <a:gd name="T76" fmla="*/ 2147483647 w 173"/>
              <a:gd name="T77" fmla="*/ 2147483647 h 357"/>
              <a:gd name="T78" fmla="*/ 2147483647 w 173"/>
              <a:gd name="T79" fmla="*/ 2147483647 h 357"/>
              <a:gd name="T80" fmla="*/ 2147483647 w 173"/>
              <a:gd name="T81" fmla="*/ 2147483647 h 357"/>
              <a:gd name="T82" fmla="*/ 2147483647 w 173"/>
              <a:gd name="T83" fmla="*/ 2147483647 h 357"/>
              <a:gd name="T84" fmla="*/ 2147483647 w 173"/>
              <a:gd name="T85" fmla="*/ 2147483647 h 357"/>
              <a:gd name="T86" fmla="*/ 2147483647 w 173"/>
              <a:gd name="T87" fmla="*/ 2147483647 h 357"/>
              <a:gd name="T88" fmla="*/ 2147483647 w 173"/>
              <a:gd name="T89" fmla="*/ 2147483647 h 357"/>
              <a:gd name="T90" fmla="*/ 2147483647 w 173"/>
              <a:gd name="T91" fmla="*/ 2147483647 h 357"/>
              <a:gd name="T92" fmla="*/ 2147483647 w 173"/>
              <a:gd name="T93" fmla="*/ 2147483647 h 357"/>
              <a:gd name="T94" fmla="*/ 2147483647 w 173"/>
              <a:gd name="T95" fmla="*/ 2147483647 h 357"/>
              <a:gd name="T96" fmla="*/ 2147483647 w 173"/>
              <a:gd name="T97" fmla="*/ 2147483647 h 357"/>
              <a:gd name="T98" fmla="*/ 2147483647 w 173"/>
              <a:gd name="T99" fmla="*/ 2147483647 h 357"/>
              <a:gd name="T100" fmla="*/ 2147483647 w 173"/>
              <a:gd name="T101" fmla="*/ 2147483647 h 357"/>
              <a:gd name="T102" fmla="*/ 2147483647 w 173"/>
              <a:gd name="T103" fmla="*/ 2147483647 h 357"/>
              <a:gd name="T104" fmla="*/ 2147483647 w 173"/>
              <a:gd name="T105" fmla="*/ 2147483647 h 357"/>
              <a:gd name="T106" fmla="*/ 2147483647 w 173"/>
              <a:gd name="T107" fmla="*/ 2147483647 h 357"/>
              <a:gd name="T108" fmla="*/ 2147483647 w 173"/>
              <a:gd name="T109" fmla="*/ 2147483647 h 357"/>
              <a:gd name="T110" fmla="*/ 2147483647 w 173"/>
              <a:gd name="T111" fmla="*/ 2147483647 h 357"/>
              <a:gd name="T112" fmla="*/ 2147483647 w 173"/>
              <a:gd name="T113" fmla="*/ 2147483647 h 357"/>
              <a:gd name="T114" fmla="*/ 2147483647 w 173"/>
              <a:gd name="T115" fmla="*/ 2147483647 h 357"/>
              <a:gd name="T116" fmla="*/ 2147483647 w 173"/>
              <a:gd name="T117" fmla="*/ 2147483647 h 357"/>
              <a:gd name="T118" fmla="*/ 0 w 173"/>
              <a:gd name="T119" fmla="*/ 2147483647 h 357"/>
              <a:gd name="T120" fmla="*/ 0 w 173"/>
              <a:gd name="T121" fmla="*/ 2147483647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6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935403" y="5443165"/>
            <a:ext cx="25400" cy="60325"/>
          </a:xfrm>
          <a:custGeom>
            <a:avLst/>
            <a:gdLst>
              <a:gd name="T0" fmla="*/ 2147483647 w 50"/>
              <a:gd name="T1" fmla="*/ 0 h 74"/>
              <a:gd name="T2" fmla="*/ 2147483647 w 50"/>
              <a:gd name="T3" fmla="*/ 2147483647 h 74"/>
              <a:gd name="T4" fmla="*/ 2147483647 w 50"/>
              <a:gd name="T5" fmla="*/ 2147483647 h 74"/>
              <a:gd name="T6" fmla="*/ 0 w 50"/>
              <a:gd name="T7" fmla="*/ 2147483647 h 74"/>
              <a:gd name="T8" fmla="*/ 0 w 50"/>
              <a:gd name="T9" fmla="*/ 2147483647 h 74"/>
              <a:gd name="T10" fmla="*/ 0 w 50"/>
              <a:gd name="T11" fmla="*/ 2147483647 h 74"/>
              <a:gd name="T12" fmla="*/ 2147483647 w 50"/>
              <a:gd name="T13" fmla="*/ 2147483647 h 74"/>
              <a:gd name="T14" fmla="*/ 2147483647 w 50"/>
              <a:gd name="T15" fmla="*/ 2147483647 h 74"/>
              <a:gd name="T16" fmla="*/ 2147483647 w 50"/>
              <a:gd name="T17" fmla="*/ 2147483647 h 74"/>
              <a:gd name="T18" fmla="*/ 2147483647 w 50"/>
              <a:gd name="T19" fmla="*/ 2147483647 h 74"/>
              <a:gd name="T20" fmla="*/ 2147483647 w 50"/>
              <a:gd name="T21" fmla="*/ 2147483647 h 74"/>
              <a:gd name="T22" fmla="*/ 2147483647 w 50"/>
              <a:gd name="T23" fmla="*/ 2147483647 h 74"/>
              <a:gd name="T24" fmla="*/ 2147483647 w 50"/>
              <a:gd name="T25" fmla="*/ 2147483647 h 74"/>
              <a:gd name="T26" fmla="*/ 2147483647 w 50"/>
              <a:gd name="T27" fmla="*/ 0 h 74"/>
              <a:gd name="T28" fmla="*/ 2147483647 w 50"/>
              <a:gd name="T29" fmla="*/ 0 h 74"/>
              <a:gd name="T30" fmla="*/ 2147483647 w 50"/>
              <a:gd name="T31" fmla="*/ 0 h 74"/>
              <a:gd name="T32" fmla="*/ 2147483647 w 50"/>
              <a:gd name="T33" fmla="*/ 0 h 74"/>
              <a:gd name="T34" fmla="*/ 2147483647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7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830628" y="5540003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8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7048365" y="3254003"/>
            <a:ext cx="120650" cy="171450"/>
          </a:xfrm>
          <a:custGeom>
            <a:avLst/>
            <a:gdLst>
              <a:gd name="T0" fmla="*/ 2147483647 w 266"/>
              <a:gd name="T1" fmla="*/ 2147483647 h 326"/>
              <a:gd name="T2" fmla="*/ 2147483647 w 266"/>
              <a:gd name="T3" fmla="*/ 2147483647 h 326"/>
              <a:gd name="T4" fmla="*/ 2147483647 w 266"/>
              <a:gd name="T5" fmla="*/ 2147483647 h 326"/>
              <a:gd name="T6" fmla="*/ 2147483647 w 266"/>
              <a:gd name="T7" fmla="*/ 2147483647 h 326"/>
              <a:gd name="T8" fmla="*/ 2147483647 w 266"/>
              <a:gd name="T9" fmla="*/ 2147483647 h 326"/>
              <a:gd name="T10" fmla="*/ 2147483647 w 266"/>
              <a:gd name="T11" fmla="*/ 2147483647 h 326"/>
              <a:gd name="T12" fmla="*/ 2147483647 w 266"/>
              <a:gd name="T13" fmla="*/ 2147483647 h 326"/>
              <a:gd name="T14" fmla="*/ 2147483647 w 266"/>
              <a:gd name="T15" fmla="*/ 2147483647 h 326"/>
              <a:gd name="T16" fmla="*/ 2147483647 w 266"/>
              <a:gd name="T17" fmla="*/ 2147483647 h 326"/>
              <a:gd name="T18" fmla="*/ 2147483647 w 266"/>
              <a:gd name="T19" fmla="*/ 2147483647 h 326"/>
              <a:gd name="T20" fmla="*/ 2147483647 w 266"/>
              <a:gd name="T21" fmla="*/ 2147483647 h 326"/>
              <a:gd name="T22" fmla="*/ 2147483647 w 266"/>
              <a:gd name="T23" fmla="*/ 2147483647 h 326"/>
              <a:gd name="T24" fmla="*/ 2147483647 w 266"/>
              <a:gd name="T25" fmla="*/ 2147483647 h 326"/>
              <a:gd name="T26" fmla="*/ 2147483647 w 266"/>
              <a:gd name="T27" fmla="*/ 2147483647 h 326"/>
              <a:gd name="T28" fmla="*/ 2147483647 w 266"/>
              <a:gd name="T29" fmla="*/ 2147483647 h 326"/>
              <a:gd name="T30" fmla="*/ 2147483647 w 266"/>
              <a:gd name="T31" fmla="*/ 2147483647 h 326"/>
              <a:gd name="T32" fmla="*/ 2147483647 w 266"/>
              <a:gd name="T33" fmla="*/ 2147483647 h 326"/>
              <a:gd name="T34" fmla="*/ 2147483647 w 266"/>
              <a:gd name="T35" fmla="*/ 2147483647 h 326"/>
              <a:gd name="T36" fmla="*/ 2147483647 w 266"/>
              <a:gd name="T37" fmla="*/ 2147483647 h 326"/>
              <a:gd name="T38" fmla="*/ 2147483647 w 266"/>
              <a:gd name="T39" fmla="*/ 2147483647 h 326"/>
              <a:gd name="T40" fmla="*/ 2147483647 w 266"/>
              <a:gd name="T41" fmla="*/ 2147483647 h 326"/>
              <a:gd name="T42" fmla="*/ 2147483647 w 266"/>
              <a:gd name="T43" fmla="*/ 2147483647 h 326"/>
              <a:gd name="T44" fmla="*/ 2147483647 w 266"/>
              <a:gd name="T45" fmla="*/ 2147483647 h 326"/>
              <a:gd name="T46" fmla="*/ 2147483647 w 266"/>
              <a:gd name="T47" fmla="*/ 2147483647 h 326"/>
              <a:gd name="T48" fmla="*/ 2147483647 w 266"/>
              <a:gd name="T49" fmla="*/ 2147483647 h 326"/>
              <a:gd name="T50" fmla="*/ 2147483647 w 266"/>
              <a:gd name="T51" fmla="*/ 2147483647 h 326"/>
              <a:gd name="T52" fmla="*/ 2147483647 w 266"/>
              <a:gd name="T53" fmla="*/ 2147483647 h 326"/>
              <a:gd name="T54" fmla="*/ 2147483647 w 266"/>
              <a:gd name="T55" fmla="*/ 2147483647 h 326"/>
              <a:gd name="T56" fmla="*/ 2147483647 w 266"/>
              <a:gd name="T57" fmla="*/ 2147483647 h 326"/>
              <a:gd name="T58" fmla="*/ 2147483647 w 266"/>
              <a:gd name="T59" fmla="*/ 2147483647 h 326"/>
              <a:gd name="T60" fmla="*/ 2147483647 w 266"/>
              <a:gd name="T61" fmla="*/ 2147483647 h 326"/>
              <a:gd name="T62" fmla="*/ 2147483647 w 266"/>
              <a:gd name="T63" fmla="*/ 2147483647 h 326"/>
              <a:gd name="T64" fmla="*/ 2147483647 w 266"/>
              <a:gd name="T65" fmla="*/ 2147483647 h 326"/>
              <a:gd name="T66" fmla="*/ 2147483647 w 266"/>
              <a:gd name="T67" fmla="*/ 2147483647 h 326"/>
              <a:gd name="T68" fmla="*/ 2147483647 w 266"/>
              <a:gd name="T69" fmla="*/ 2147483647 h 326"/>
              <a:gd name="T70" fmla="*/ 2147483647 w 266"/>
              <a:gd name="T71" fmla="*/ 2147483647 h 326"/>
              <a:gd name="T72" fmla="*/ 2147483647 w 266"/>
              <a:gd name="T73" fmla="*/ 2147483647 h 326"/>
              <a:gd name="T74" fmla="*/ 2147483647 w 266"/>
              <a:gd name="T75" fmla="*/ 2147483647 h 326"/>
              <a:gd name="T76" fmla="*/ 2147483647 w 266"/>
              <a:gd name="T77" fmla="*/ 2147483647 h 326"/>
              <a:gd name="T78" fmla="*/ 2147483647 w 266"/>
              <a:gd name="T79" fmla="*/ 2147483647 h 326"/>
              <a:gd name="T80" fmla="*/ 2147483647 w 266"/>
              <a:gd name="T81" fmla="*/ 2147483647 h 326"/>
              <a:gd name="T82" fmla="*/ 2147483647 w 266"/>
              <a:gd name="T83" fmla="*/ 2147483647 h 326"/>
              <a:gd name="T84" fmla="*/ 2147483647 w 266"/>
              <a:gd name="T85" fmla="*/ 2147483647 h 326"/>
              <a:gd name="T86" fmla="*/ 2147483647 w 266"/>
              <a:gd name="T87" fmla="*/ 2147483647 h 326"/>
              <a:gd name="T88" fmla="*/ 2147483647 w 266"/>
              <a:gd name="T89" fmla="*/ 2147483647 h 326"/>
              <a:gd name="T90" fmla="*/ 2147483647 w 266"/>
              <a:gd name="T91" fmla="*/ 2147483647 h 326"/>
              <a:gd name="T92" fmla="*/ 2147483647 w 266"/>
              <a:gd name="T93" fmla="*/ 2147483647 h 326"/>
              <a:gd name="T94" fmla="*/ 2147483647 w 266"/>
              <a:gd name="T95" fmla="*/ 2147483647 h 326"/>
              <a:gd name="T96" fmla="*/ 2147483647 w 266"/>
              <a:gd name="T97" fmla="*/ 2147483647 h 326"/>
              <a:gd name="T98" fmla="*/ 2147483647 w 266"/>
              <a:gd name="T99" fmla="*/ 2147483647 h 326"/>
              <a:gd name="T100" fmla="*/ 2147483647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9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119678" y="3668340"/>
            <a:ext cx="206375" cy="123825"/>
          </a:xfrm>
          <a:custGeom>
            <a:avLst/>
            <a:gdLst>
              <a:gd name="T0" fmla="*/ 2147483647 w 471"/>
              <a:gd name="T1" fmla="*/ 0 h 237"/>
              <a:gd name="T2" fmla="*/ 2147483647 w 471"/>
              <a:gd name="T3" fmla="*/ 2147483647 h 237"/>
              <a:gd name="T4" fmla="*/ 2147483647 w 471"/>
              <a:gd name="T5" fmla="*/ 2147483647 h 237"/>
              <a:gd name="T6" fmla="*/ 2147483647 w 471"/>
              <a:gd name="T7" fmla="*/ 2147483647 h 237"/>
              <a:gd name="T8" fmla="*/ 2147483647 w 471"/>
              <a:gd name="T9" fmla="*/ 2147483647 h 237"/>
              <a:gd name="T10" fmla="*/ 2147483647 w 471"/>
              <a:gd name="T11" fmla="*/ 2147483647 h 237"/>
              <a:gd name="T12" fmla="*/ 2147483647 w 471"/>
              <a:gd name="T13" fmla="*/ 2147483647 h 237"/>
              <a:gd name="T14" fmla="*/ 2147483647 w 471"/>
              <a:gd name="T15" fmla="*/ 2147483647 h 237"/>
              <a:gd name="T16" fmla="*/ 2147483647 w 471"/>
              <a:gd name="T17" fmla="*/ 2147483647 h 237"/>
              <a:gd name="T18" fmla="*/ 2147483647 w 471"/>
              <a:gd name="T19" fmla="*/ 2147483647 h 237"/>
              <a:gd name="T20" fmla="*/ 2147483647 w 471"/>
              <a:gd name="T21" fmla="*/ 2147483647 h 237"/>
              <a:gd name="T22" fmla="*/ 2147483647 w 471"/>
              <a:gd name="T23" fmla="*/ 2147483647 h 237"/>
              <a:gd name="T24" fmla="*/ 2147483647 w 471"/>
              <a:gd name="T25" fmla="*/ 2147483647 h 237"/>
              <a:gd name="T26" fmla="*/ 2147483647 w 471"/>
              <a:gd name="T27" fmla="*/ 2147483647 h 237"/>
              <a:gd name="T28" fmla="*/ 2147483647 w 471"/>
              <a:gd name="T29" fmla="*/ 2147483647 h 237"/>
              <a:gd name="T30" fmla="*/ 2147483647 w 471"/>
              <a:gd name="T31" fmla="*/ 2147483647 h 237"/>
              <a:gd name="T32" fmla="*/ 2147483647 w 471"/>
              <a:gd name="T33" fmla="*/ 2147483647 h 237"/>
              <a:gd name="T34" fmla="*/ 2147483647 w 471"/>
              <a:gd name="T35" fmla="*/ 2147483647 h 237"/>
              <a:gd name="T36" fmla="*/ 2147483647 w 471"/>
              <a:gd name="T37" fmla="*/ 2147483647 h 237"/>
              <a:gd name="T38" fmla="*/ 2147483647 w 471"/>
              <a:gd name="T39" fmla="*/ 2147483647 h 237"/>
              <a:gd name="T40" fmla="*/ 2147483647 w 471"/>
              <a:gd name="T41" fmla="*/ 2147483647 h 237"/>
              <a:gd name="T42" fmla="*/ 2147483647 w 471"/>
              <a:gd name="T43" fmla="*/ 2147483647 h 237"/>
              <a:gd name="T44" fmla="*/ 2147483647 w 471"/>
              <a:gd name="T45" fmla="*/ 2147483647 h 237"/>
              <a:gd name="T46" fmla="*/ 2147483647 w 471"/>
              <a:gd name="T47" fmla="*/ 2147483647 h 237"/>
              <a:gd name="T48" fmla="*/ 2147483647 w 471"/>
              <a:gd name="T49" fmla="*/ 2147483647 h 237"/>
              <a:gd name="T50" fmla="*/ 2147483647 w 471"/>
              <a:gd name="T51" fmla="*/ 2147483647 h 237"/>
              <a:gd name="T52" fmla="*/ 2147483647 w 471"/>
              <a:gd name="T53" fmla="*/ 2147483647 h 237"/>
              <a:gd name="T54" fmla="*/ 2147483647 w 471"/>
              <a:gd name="T55" fmla="*/ 2147483647 h 237"/>
              <a:gd name="T56" fmla="*/ 2147483647 w 471"/>
              <a:gd name="T57" fmla="*/ 2147483647 h 237"/>
              <a:gd name="T58" fmla="*/ 2147483647 w 471"/>
              <a:gd name="T59" fmla="*/ 2147483647 h 237"/>
              <a:gd name="T60" fmla="*/ 2147483647 w 471"/>
              <a:gd name="T61" fmla="*/ 2147483647 h 237"/>
              <a:gd name="T62" fmla="*/ 2147483647 w 471"/>
              <a:gd name="T63" fmla="*/ 2147483647 h 237"/>
              <a:gd name="T64" fmla="*/ 2147483647 w 471"/>
              <a:gd name="T65" fmla="*/ 2147483647 h 237"/>
              <a:gd name="T66" fmla="*/ 2147483647 w 471"/>
              <a:gd name="T67" fmla="*/ 2147483647 h 237"/>
              <a:gd name="T68" fmla="*/ 2147483647 w 471"/>
              <a:gd name="T69" fmla="*/ 2147483647 h 237"/>
              <a:gd name="T70" fmla="*/ 2147483647 w 471"/>
              <a:gd name="T71" fmla="*/ 2147483647 h 237"/>
              <a:gd name="T72" fmla="*/ 2147483647 w 471"/>
              <a:gd name="T73" fmla="*/ 2147483647 h 237"/>
              <a:gd name="T74" fmla="*/ 21474836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0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335578" y="3723903"/>
            <a:ext cx="73025" cy="65087"/>
          </a:xfrm>
          <a:custGeom>
            <a:avLst/>
            <a:gdLst>
              <a:gd name="T0" fmla="*/ 2147483647 w 167"/>
              <a:gd name="T1" fmla="*/ 2147483647 h 123"/>
              <a:gd name="T2" fmla="*/ 2147483647 w 167"/>
              <a:gd name="T3" fmla="*/ 2147483647 h 123"/>
              <a:gd name="T4" fmla="*/ 2147483647 w 167"/>
              <a:gd name="T5" fmla="*/ 2147483647 h 123"/>
              <a:gd name="T6" fmla="*/ 2147483647 w 167"/>
              <a:gd name="T7" fmla="*/ 2147483647 h 123"/>
              <a:gd name="T8" fmla="*/ 2147483647 w 167"/>
              <a:gd name="T9" fmla="*/ 2147483647 h 123"/>
              <a:gd name="T10" fmla="*/ 2147483647 w 167"/>
              <a:gd name="T11" fmla="*/ 2147483647 h 123"/>
              <a:gd name="T12" fmla="*/ 2147483647 w 167"/>
              <a:gd name="T13" fmla="*/ 2147483647 h 123"/>
              <a:gd name="T14" fmla="*/ 2147483647 w 167"/>
              <a:gd name="T15" fmla="*/ 2147483647 h 123"/>
              <a:gd name="T16" fmla="*/ 2147483647 w 167"/>
              <a:gd name="T17" fmla="*/ 2147483647 h 123"/>
              <a:gd name="T18" fmla="*/ 2147483647 w 167"/>
              <a:gd name="T19" fmla="*/ 2147483647 h 123"/>
              <a:gd name="T20" fmla="*/ 2147483647 w 167"/>
              <a:gd name="T21" fmla="*/ 2147483647 h 123"/>
              <a:gd name="T22" fmla="*/ 2147483647 w 167"/>
              <a:gd name="T23" fmla="*/ 2147483647 h 123"/>
              <a:gd name="T24" fmla="*/ 2147483647 w 167"/>
              <a:gd name="T25" fmla="*/ 2147483647 h 123"/>
              <a:gd name="T26" fmla="*/ 2147483647 w 167"/>
              <a:gd name="T27" fmla="*/ 2147483647 h 123"/>
              <a:gd name="T28" fmla="*/ 2147483647 w 167"/>
              <a:gd name="T29" fmla="*/ 2147483647 h 123"/>
              <a:gd name="T30" fmla="*/ 2147483647 w 167"/>
              <a:gd name="T31" fmla="*/ 2147483647 h 123"/>
              <a:gd name="T32" fmla="*/ 2147483647 w 167"/>
              <a:gd name="T33" fmla="*/ 2147483647 h 123"/>
              <a:gd name="T34" fmla="*/ 2147483647 w 167"/>
              <a:gd name="T35" fmla="*/ 2147483647 h 123"/>
              <a:gd name="T36" fmla="*/ 2147483647 w 167"/>
              <a:gd name="T37" fmla="*/ 2147483647 h 123"/>
              <a:gd name="T38" fmla="*/ 2147483647 w 167"/>
              <a:gd name="T39" fmla="*/ 2147483647 h 123"/>
              <a:gd name="T40" fmla="*/ 2147483647 w 167"/>
              <a:gd name="T41" fmla="*/ 2147483647 h 123"/>
              <a:gd name="T42" fmla="*/ 2147483647 w 167"/>
              <a:gd name="T43" fmla="*/ 2147483647 h 123"/>
              <a:gd name="T44" fmla="*/ 2147483647 w 167"/>
              <a:gd name="T45" fmla="*/ 2147483647 h 123"/>
              <a:gd name="T46" fmla="*/ 2147483647 w 167"/>
              <a:gd name="T47" fmla="*/ 2147483647 h 123"/>
              <a:gd name="T48" fmla="*/ 0 w 167"/>
              <a:gd name="T49" fmla="*/ 2147483647 h 123"/>
              <a:gd name="T50" fmla="*/ 2147483647 w 167"/>
              <a:gd name="T51" fmla="*/ 2147483647 h 123"/>
              <a:gd name="T52" fmla="*/ 2147483647 w 167"/>
              <a:gd name="T53" fmla="*/ 2147483647 h 123"/>
              <a:gd name="T54" fmla="*/ 2147483647 w 167"/>
              <a:gd name="T55" fmla="*/ 2147483647 h 123"/>
              <a:gd name="T56" fmla="*/ 2147483647 w 167"/>
              <a:gd name="T57" fmla="*/ 2147483647 h 123"/>
              <a:gd name="T58" fmla="*/ 2147483647 w 167"/>
              <a:gd name="T59" fmla="*/ 2147483647 h 123"/>
              <a:gd name="T60" fmla="*/ 2147483647 w 167"/>
              <a:gd name="T61" fmla="*/ 2147483647 h 123"/>
              <a:gd name="T62" fmla="*/ 2147483647 w 167"/>
              <a:gd name="T63" fmla="*/ 2147483647 h 123"/>
              <a:gd name="T64" fmla="*/ 2147483647 w 167"/>
              <a:gd name="T65" fmla="*/ 2147483647 h 123"/>
              <a:gd name="T66" fmla="*/ 2147483647 w 167"/>
              <a:gd name="T67" fmla="*/ 2147483647 h 123"/>
              <a:gd name="T68" fmla="*/ 2147483647 w 167"/>
              <a:gd name="T69" fmla="*/ 2147483647 h 123"/>
              <a:gd name="T70" fmla="*/ 2147483647 w 167"/>
              <a:gd name="T71" fmla="*/ 2147483647 h 123"/>
              <a:gd name="T72" fmla="*/ 2147483647 w 167"/>
              <a:gd name="T73" fmla="*/ 0 h 123"/>
              <a:gd name="T74" fmla="*/ 2147483647 w 167"/>
              <a:gd name="T75" fmla="*/ 2147483647 h 123"/>
              <a:gd name="T76" fmla="*/ 2147483647 w 167"/>
              <a:gd name="T77" fmla="*/ 2147483647 h 123"/>
              <a:gd name="T78" fmla="*/ 2147483647 w 167"/>
              <a:gd name="T79" fmla="*/ 2147483647 h 123"/>
              <a:gd name="T80" fmla="*/ 2147483647 w 167"/>
              <a:gd name="T81" fmla="*/ 2147483647 h 123"/>
              <a:gd name="T82" fmla="*/ 2147483647 w 167"/>
              <a:gd name="T83" fmla="*/ 2147483647 h 123"/>
              <a:gd name="T84" fmla="*/ 2147483647 w 167"/>
              <a:gd name="T85" fmla="*/ 2147483647 h 123"/>
              <a:gd name="T86" fmla="*/ 2147483647 w 167"/>
              <a:gd name="T87" fmla="*/ 2147483647 h 123"/>
              <a:gd name="T88" fmla="*/ 2147483647 w 167"/>
              <a:gd name="T89" fmla="*/ 2147483647 h 123"/>
              <a:gd name="T90" fmla="*/ 2147483647 w 167"/>
              <a:gd name="T91" fmla="*/ 2147483647 h 123"/>
              <a:gd name="T92" fmla="*/ 2147483647 w 167"/>
              <a:gd name="T93" fmla="*/ 2147483647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1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326053" y="3795340"/>
            <a:ext cx="133350" cy="166688"/>
          </a:xfrm>
          <a:custGeom>
            <a:avLst/>
            <a:gdLst>
              <a:gd name="T0" fmla="*/ 2147483647 w 306"/>
              <a:gd name="T1" fmla="*/ 2147483647 h 321"/>
              <a:gd name="T2" fmla="*/ 2147483647 w 306"/>
              <a:gd name="T3" fmla="*/ 2147483647 h 321"/>
              <a:gd name="T4" fmla="*/ 2147483647 w 306"/>
              <a:gd name="T5" fmla="*/ 2147483647 h 321"/>
              <a:gd name="T6" fmla="*/ 2147483647 w 306"/>
              <a:gd name="T7" fmla="*/ 2147483647 h 321"/>
              <a:gd name="T8" fmla="*/ 2147483647 w 306"/>
              <a:gd name="T9" fmla="*/ 2147483647 h 321"/>
              <a:gd name="T10" fmla="*/ 2147483647 w 306"/>
              <a:gd name="T11" fmla="*/ 2147483647 h 321"/>
              <a:gd name="T12" fmla="*/ 2147483647 w 306"/>
              <a:gd name="T13" fmla="*/ 2147483647 h 321"/>
              <a:gd name="T14" fmla="*/ 2147483647 w 306"/>
              <a:gd name="T15" fmla="*/ 2147483647 h 321"/>
              <a:gd name="T16" fmla="*/ 2147483647 w 306"/>
              <a:gd name="T17" fmla="*/ 2147483647 h 321"/>
              <a:gd name="T18" fmla="*/ 2147483647 w 306"/>
              <a:gd name="T19" fmla="*/ 2147483647 h 321"/>
              <a:gd name="T20" fmla="*/ 2147483647 w 306"/>
              <a:gd name="T21" fmla="*/ 2147483647 h 321"/>
              <a:gd name="T22" fmla="*/ 2147483647 w 306"/>
              <a:gd name="T23" fmla="*/ 2147483647 h 321"/>
              <a:gd name="T24" fmla="*/ 2147483647 w 306"/>
              <a:gd name="T25" fmla="*/ 2147483647 h 321"/>
              <a:gd name="T26" fmla="*/ 2147483647 w 306"/>
              <a:gd name="T27" fmla="*/ 2147483647 h 321"/>
              <a:gd name="T28" fmla="*/ 2147483647 w 306"/>
              <a:gd name="T29" fmla="*/ 2147483647 h 321"/>
              <a:gd name="T30" fmla="*/ 2147483647 w 306"/>
              <a:gd name="T31" fmla="*/ 2147483647 h 321"/>
              <a:gd name="T32" fmla="*/ 2147483647 w 306"/>
              <a:gd name="T33" fmla="*/ 2147483647 h 321"/>
              <a:gd name="T34" fmla="*/ 2147483647 w 306"/>
              <a:gd name="T35" fmla="*/ 2147483647 h 321"/>
              <a:gd name="T36" fmla="*/ 2147483647 w 306"/>
              <a:gd name="T37" fmla="*/ 2147483647 h 321"/>
              <a:gd name="T38" fmla="*/ 2147483647 w 306"/>
              <a:gd name="T39" fmla="*/ 2147483647 h 321"/>
              <a:gd name="T40" fmla="*/ 2147483647 w 306"/>
              <a:gd name="T41" fmla="*/ 2147483647 h 321"/>
              <a:gd name="T42" fmla="*/ 2147483647 w 306"/>
              <a:gd name="T43" fmla="*/ 2147483647 h 321"/>
              <a:gd name="T44" fmla="*/ 2147483647 w 306"/>
              <a:gd name="T45" fmla="*/ 0 h 321"/>
              <a:gd name="T46" fmla="*/ 2147483647 w 306"/>
              <a:gd name="T47" fmla="*/ 0 h 321"/>
              <a:gd name="T48" fmla="*/ 2147483647 w 306"/>
              <a:gd name="T49" fmla="*/ 2147483647 h 321"/>
              <a:gd name="T50" fmla="*/ 2147483647 w 306"/>
              <a:gd name="T51" fmla="*/ 2147483647 h 321"/>
              <a:gd name="T52" fmla="*/ 2147483647 w 306"/>
              <a:gd name="T53" fmla="*/ 2147483647 h 321"/>
              <a:gd name="T54" fmla="*/ 2147483647 w 306"/>
              <a:gd name="T55" fmla="*/ 2147483647 h 321"/>
              <a:gd name="T56" fmla="*/ 2147483647 w 306"/>
              <a:gd name="T57" fmla="*/ 2147483647 h 321"/>
              <a:gd name="T58" fmla="*/ 2147483647 w 306"/>
              <a:gd name="T59" fmla="*/ 2147483647 h 321"/>
              <a:gd name="T60" fmla="*/ 2147483647 w 306"/>
              <a:gd name="T61" fmla="*/ 2147483647 h 321"/>
              <a:gd name="T62" fmla="*/ 2147483647 w 306"/>
              <a:gd name="T63" fmla="*/ 2147483647 h 321"/>
              <a:gd name="T64" fmla="*/ 2147483647 w 306"/>
              <a:gd name="T65" fmla="*/ 2147483647 h 321"/>
              <a:gd name="T66" fmla="*/ 2147483647 w 306"/>
              <a:gd name="T67" fmla="*/ 2147483647 h 321"/>
              <a:gd name="T68" fmla="*/ 2147483647 w 306"/>
              <a:gd name="T69" fmla="*/ 2147483647 h 321"/>
              <a:gd name="T70" fmla="*/ 2147483647 w 306"/>
              <a:gd name="T71" fmla="*/ 2147483647 h 321"/>
              <a:gd name="T72" fmla="*/ 2147483647 w 306"/>
              <a:gd name="T73" fmla="*/ 2147483647 h 321"/>
              <a:gd name="T74" fmla="*/ 2147483647 w 306"/>
              <a:gd name="T75" fmla="*/ 2147483647 h 321"/>
              <a:gd name="T76" fmla="*/ 2147483647 w 306"/>
              <a:gd name="T77" fmla="*/ 2147483647 h 321"/>
              <a:gd name="T78" fmla="*/ 2147483647 w 306"/>
              <a:gd name="T79" fmla="*/ 2147483647 h 321"/>
              <a:gd name="T80" fmla="*/ 2147483647 w 306"/>
              <a:gd name="T81" fmla="*/ 2147483647 h 321"/>
              <a:gd name="T82" fmla="*/ 2147483647 w 306"/>
              <a:gd name="T83" fmla="*/ 2147483647 h 321"/>
              <a:gd name="T84" fmla="*/ 2147483647 w 306"/>
              <a:gd name="T85" fmla="*/ 2147483647 h 321"/>
              <a:gd name="T86" fmla="*/ 2147483647 w 306"/>
              <a:gd name="T87" fmla="*/ 2147483647 h 321"/>
              <a:gd name="T88" fmla="*/ 2147483647 w 306"/>
              <a:gd name="T89" fmla="*/ 2147483647 h 321"/>
              <a:gd name="T90" fmla="*/ 2147483647 w 306"/>
              <a:gd name="T91" fmla="*/ 2147483647 h 321"/>
              <a:gd name="T92" fmla="*/ 2147483647 w 306"/>
              <a:gd name="T93" fmla="*/ 2147483647 h 321"/>
              <a:gd name="T94" fmla="*/ 2147483647 w 306"/>
              <a:gd name="T95" fmla="*/ 2147483647 h 321"/>
              <a:gd name="T96" fmla="*/ 2147483647 w 306"/>
              <a:gd name="T97" fmla="*/ 2147483647 h 321"/>
              <a:gd name="T98" fmla="*/ 2147483647 w 306"/>
              <a:gd name="T99" fmla="*/ 2147483647 h 321"/>
              <a:gd name="T100" fmla="*/ 2147483647 w 306"/>
              <a:gd name="T101" fmla="*/ 2147483647 h 321"/>
              <a:gd name="T102" fmla="*/ 2147483647 w 306"/>
              <a:gd name="T103" fmla="*/ 2147483647 h 321"/>
              <a:gd name="T104" fmla="*/ 2147483647 w 306"/>
              <a:gd name="T105" fmla="*/ 2147483647 h 321"/>
              <a:gd name="T106" fmla="*/ 2147483647 w 306"/>
              <a:gd name="T107" fmla="*/ 2147483647 h 321"/>
              <a:gd name="T108" fmla="*/ 2147483647 w 306"/>
              <a:gd name="T109" fmla="*/ 2147483647 h 321"/>
              <a:gd name="T110" fmla="*/ 2147483647 w 306"/>
              <a:gd name="T111" fmla="*/ 2147483647 h 321"/>
              <a:gd name="T112" fmla="*/ 2147483647 w 306"/>
              <a:gd name="T113" fmla="*/ 2147483647 h 321"/>
              <a:gd name="T114" fmla="*/ 2147483647 w 306"/>
              <a:gd name="T115" fmla="*/ 2147483647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2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643553" y="3911228"/>
            <a:ext cx="201612" cy="269875"/>
          </a:xfrm>
          <a:custGeom>
            <a:avLst/>
            <a:gdLst>
              <a:gd name="T0" fmla="*/ 2147483647 w 471"/>
              <a:gd name="T1" fmla="*/ 2147483647 h 518"/>
              <a:gd name="T2" fmla="*/ 2147483647 w 471"/>
              <a:gd name="T3" fmla="*/ 2147483647 h 518"/>
              <a:gd name="T4" fmla="*/ 2147483647 w 471"/>
              <a:gd name="T5" fmla="*/ 2147483647 h 518"/>
              <a:gd name="T6" fmla="*/ 2147483647 w 471"/>
              <a:gd name="T7" fmla="*/ 2147483647 h 518"/>
              <a:gd name="T8" fmla="*/ 2147483647 w 471"/>
              <a:gd name="T9" fmla="*/ 2147483647 h 518"/>
              <a:gd name="T10" fmla="*/ 2147483647 w 471"/>
              <a:gd name="T11" fmla="*/ 2147483647 h 518"/>
              <a:gd name="T12" fmla="*/ 2147483647 w 471"/>
              <a:gd name="T13" fmla="*/ 2147483647 h 518"/>
              <a:gd name="T14" fmla="*/ 2147483647 w 471"/>
              <a:gd name="T15" fmla="*/ 2147483647 h 518"/>
              <a:gd name="T16" fmla="*/ 2147483647 w 471"/>
              <a:gd name="T17" fmla="*/ 2147483647 h 518"/>
              <a:gd name="T18" fmla="*/ 2147483647 w 471"/>
              <a:gd name="T19" fmla="*/ 2147483647 h 518"/>
              <a:gd name="T20" fmla="*/ 2147483647 w 471"/>
              <a:gd name="T21" fmla="*/ 2147483647 h 518"/>
              <a:gd name="T22" fmla="*/ 2147483647 w 471"/>
              <a:gd name="T23" fmla="*/ 2147483647 h 518"/>
              <a:gd name="T24" fmla="*/ 2147483647 w 471"/>
              <a:gd name="T25" fmla="*/ 2147483647 h 518"/>
              <a:gd name="T26" fmla="*/ 2147483647 w 471"/>
              <a:gd name="T27" fmla="*/ 2147483647 h 518"/>
              <a:gd name="T28" fmla="*/ 2147483647 w 471"/>
              <a:gd name="T29" fmla="*/ 2147483647 h 518"/>
              <a:gd name="T30" fmla="*/ 2147483647 w 471"/>
              <a:gd name="T31" fmla="*/ 2147483647 h 518"/>
              <a:gd name="T32" fmla="*/ 2147483647 w 471"/>
              <a:gd name="T33" fmla="*/ 2147483647 h 518"/>
              <a:gd name="T34" fmla="*/ 2147483647 w 471"/>
              <a:gd name="T35" fmla="*/ 2147483647 h 518"/>
              <a:gd name="T36" fmla="*/ 2147483647 w 471"/>
              <a:gd name="T37" fmla="*/ 2147483647 h 518"/>
              <a:gd name="T38" fmla="*/ 2147483647 w 471"/>
              <a:gd name="T39" fmla="*/ 2147483647 h 518"/>
              <a:gd name="T40" fmla="*/ 2147483647 w 471"/>
              <a:gd name="T41" fmla="*/ 2147483647 h 518"/>
              <a:gd name="T42" fmla="*/ 2147483647 w 471"/>
              <a:gd name="T43" fmla="*/ 2147483647 h 518"/>
              <a:gd name="T44" fmla="*/ 2147483647 w 471"/>
              <a:gd name="T45" fmla="*/ 2147483647 h 518"/>
              <a:gd name="T46" fmla="*/ 2147483647 w 471"/>
              <a:gd name="T47" fmla="*/ 2147483647 h 518"/>
              <a:gd name="T48" fmla="*/ 2147483647 w 471"/>
              <a:gd name="T49" fmla="*/ 2147483647 h 518"/>
              <a:gd name="T50" fmla="*/ 2147483647 w 471"/>
              <a:gd name="T51" fmla="*/ 2147483647 h 518"/>
              <a:gd name="T52" fmla="*/ 2147483647 w 471"/>
              <a:gd name="T53" fmla="*/ 2147483647 h 518"/>
              <a:gd name="T54" fmla="*/ 2147483647 w 471"/>
              <a:gd name="T55" fmla="*/ 2147483647 h 518"/>
              <a:gd name="T56" fmla="*/ 2147483647 w 471"/>
              <a:gd name="T57" fmla="*/ 2147483647 h 518"/>
              <a:gd name="T58" fmla="*/ 2147483647 w 471"/>
              <a:gd name="T59" fmla="*/ 2147483647 h 518"/>
              <a:gd name="T60" fmla="*/ 2147483647 w 471"/>
              <a:gd name="T61" fmla="*/ 2147483647 h 518"/>
              <a:gd name="T62" fmla="*/ 2147483647 w 471"/>
              <a:gd name="T63" fmla="*/ 2147483647 h 518"/>
              <a:gd name="T64" fmla="*/ 2147483647 w 471"/>
              <a:gd name="T65" fmla="*/ 2147483647 h 518"/>
              <a:gd name="T66" fmla="*/ 2147483647 w 471"/>
              <a:gd name="T67" fmla="*/ 2147483647 h 518"/>
              <a:gd name="T68" fmla="*/ 2147483647 w 471"/>
              <a:gd name="T69" fmla="*/ 2147483647 h 518"/>
              <a:gd name="T70" fmla="*/ 2147483647 w 471"/>
              <a:gd name="T71" fmla="*/ 2147483647 h 518"/>
              <a:gd name="T72" fmla="*/ 2147483647 w 471"/>
              <a:gd name="T73" fmla="*/ 2147483647 h 518"/>
              <a:gd name="T74" fmla="*/ 2147483647 w 471"/>
              <a:gd name="T75" fmla="*/ 2147483647 h 518"/>
              <a:gd name="T76" fmla="*/ 2147483647 w 471"/>
              <a:gd name="T77" fmla="*/ 2147483647 h 518"/>
              <a:gd name="T78" fmla="*/ 2147483647 w 471"/>
              <a:gd name="T79" fmla="*/ 2147483647 h 518"/>
              <a:gd name="T80" fmla="*/ 2147483647 w 471"/>
              <a:gd name="T81" fmla="*/ 2147483647 h 518"/>
              <a:gd name="T82" fmla="*/ 2147483647 w 471"/>
              <a:gd name="T83" fmla="*/ 2147483647 h 518"/>
              <a:gd name="T84" fmla="*/ 2147483647 w 471"/>
              <a:gd name="T85" fmla="*/ 2147483647 h 518"/>
              <a:gd name="T86" fmla="*/ 2147483647 w 471"/>
              <a:gd name="T87" fmla="*/ 2147483647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726103" y="4162053"/>
            <a:ext cx="133350" cy="130175"/>
          </a:xfrm>
          <a:custGeom>
            <a:avLst/>
            <a:gdLst>
              <a:gd name="T0" fmla="*/ 2147483647 w 293"/>
              <a:gd name="T1" fmla="*/ 2147483647 h 246"/>
              <a:gd name="T2" fmla="*/ 2147483647 w 293"/>
              <a:gd name="T3" fmla="*/ 2147483647 h 246"/>
              <a:gd name="T4" fmla="*/ 2147483647 w 293"/>
              <a:gd name="T5" fmla="*/ 2147483647 h 246"/>
              <a:gd name="T6" fmla="*/ 2147483647 w 293"/>
              <a:gd name="T7" fmla="*/ 2147483647 h 246"/>
              <a:gd name="T8" fmla="*/ 2147483647 w 293"/>
              <a:gd name="T9" fmla="*/ 2147483647 h 246"/>
              <a:gd name="T10" fmla="*/ 2147483647 w 293"/>
              <a:gd name="T11" fmla="*/ 2147483647 h 246"/>
              <a:gd name="T12" fmla="*/ 2147483647 w 293"/>
              <a:gd name="T13" fmla="*/ 2147483647 h 246"/>
              <a:gd name="T14" fmla="*/ 2147483647 w 293"/>
              <a:gd name="T15" fmla="*/ 2147483647 h 246"/>
              <a:gd name="T16" fmla="*/ 2147483647 w 293"/>
              <a:gd name="T17" fmla="*/ 2147483647 h 246"/>
              <a:gd name="T18" fmla="*/ 2147483647 w 293"/>
              <a:gd name="T19" fmla="*/ 2147483647 h 246"/>
              <a:gd name="T20" fmla="*/ 2147483647 w 293"/>
              <a:gd name="T21" fmla="*/ 2147483647 h 246"/>
              <a:gd name="T22" fmla="*/ 2147483647 w 293"/>
              <a:gd name="T23" fmla="*/ 2147483647 h 246"/>
              <a:gd name="T24" fmla="*/ 2147483647 w 293"/>
              <a:gd name="T25" fmla="*/ 2147483647 h 246"/>
              <a:gd name="T26" fmla="*/ 2147483647 w 293"/>
              <a:gd name="T27" fmla="*/ 2147483647 h 246"/>
              <a:gd name="T28" fmla="*/ 2147483647 w 293"/>
              <a:gd name="T29" fmla="*/ 2147483647 h 246"/>
              <a:gd name="T30" fmla="*/ 2147483647 w 293"/>
              <a:gd name="T31" fmla="*/ 2147483647 h 246"/>
              <a:gd name="T32" fmla="*/ 2147483647 w 293"/>
              <a:gd name="T33" fmla="*/ 2147483647 h 246"/>
              <a:gd name="T34" fmla="*/ 2147483647 w 293"/>
              <a:gd name="T35" fmla="*/ 2147483647 h 246"/>
              <a:gd name="T36" fmla="*/ 2147483647 w 293"/>
              <a:gd name="T37" fmla="*/ 2147483647 h 246"/>
              <a:gd name="T38" fmla="*/ 2147483647 w 293"/>
              <a:gd name="T39" fmla="*/ 2147483647 h 246"/>
              <a:gd name="T40" fmla="*/ 2147483647 w 293"/>
              <a:gd name="T41" fmla="*/ 2147483647 h 246"/>
              <a:gd name="T42" fmla="*/ 2147483647 w 293"/>
              <a:gd name="T43" fmla="*/ 2147483647 h 246"/>
              <a:gd name="T44" fmla="*/ 2147483647 w 293"/>
              <a:gd name="T45" fmla="*/ 2147483647 h 246"/>
              <a:gd name="T46" fmla="*/ 2147483647 w 293"/>
              <a:gd name="T47" fmla="*/ 2147483647 h 246"/>
              <a:gd name="T48" fmla="*/ 2147483647 w 293"/>
              <a:gd name="T49" fmla="*/ 2147483647 h 246"/>
              <a:gd name="T50" fmla="*/ 2147483647 w 293"/>
              <a:gd name="T51" fmla="*/ 2147483647 h 246"/>
              <a:gd name="T52" fmla="*/ 2147483647 w 293"/>
              <a:gd name="T53" fmla="*/ 2147483647 h 246"/>
              <a:gd name="T54" fmla="*/ 2147483647 w 293"/>
              <a:gd name="T55" fmla="*/ 2147483647 h 246"/>
              <a:gd name="T56" fmla="*/ 2147483647 w 293"/>
              <a:gd name="T57" fmla="*/ 2147483647 h 246"/>
              <a:gd name="T58" fmla="*/ 2147483647 w 293"/>
              <a:gd name="T59" fmla="*/ 2147483647 h 246"/>
              <a:gd name="T60" fmla="*/ 2147483647 w 293"/>
              <a:gd name="T61" fmla="*/ 2147483647 h 246"/>
              <a:gd name="T62" fmla="*/ 0 w 293"/>
              <a:gd name="T63" fmla="*/ 2147483647 h 246"/>
              <a:gd name="T64" fmla="*/ 2147483647 w 293"/>
              <a:gd name="T65" fmla="*/ 2147483647 h 246"/>
              <a:gd name="T66" fmla="*/ 2147483647 w 293"/>
              <a:gd name="T67" fmla="*/ 2147483647 h 246"/>
              <a:gd name="T68" fmla="*/ 2147483647 w 293"/>
              <a:gd name="T69" fmla="*/ 2147483647 h 246"/>
              <a:gd name="T70" fmla="*/ 2147483647 w 293"/>
              <a:gd name="T71" fmla="*/ 2147483647 h 246"/>
              <a:gd name="T72" fmla="*/ 2147483647 w 293"/>
              <a:gd name="T73" fmla="*/ 2147483647 h 246"/>
              <a:gd name="T74" fmla="*/ 2147483647 w 293"/>
              <a:gd name="T75" fmla="*/ 2147483647 h 246"/>
              <a:gd name="T76" fmla="*/ 2147483647 w 293"/>
              <a:gd name="T77" fmla="*/ 2147483647 h 246"/>
              <a:gd name="T78" fmla="*/ 2147483647 w 293"/>
              <a:gd name="T79" fmla="*/ 2147483647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4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7127740" y="3398465"/>
            <a:ext cx="85725" cy="130175"/>
          </a:xfrm>
          <a:custGeom>
            <a:avLst/>
            <a:gdLst>
              <a:gd name="T0" fmla="*/ 2147483647 w 200"/>
              <a:gd name="T1" fmla="*/ 2147483647 h 246"/>
              <a:gd name="T2" fmla="*/ 2147483647 w 200"/>
              <a:gd name="T3" fmla="*/ 2147483647 h 246"/>
              <a:gd name="T4" fmla="*/ 2147483647 w 200"/>
              <a:gd name="T5" fmla="*/ 2147483647 h 246"/>
              <a:gd name="T6" fmla="*/ 2147483647 w 200"/>
              <a:gd name="T7" fmla="*/ 2147483647 h 246"/>
              <a:gd name="T8" fmla="*/ 2147483647 w 200"/>
              <a:gd name="T9" fmla="*/ 2147483647 h 246"/>
              <a:gd name="T10" fmla="*/ 2147483647 w 200"/>
              <a:gd name="T11" fmla="*/ 2147483647 h 246"/>
              <a:gd name="T12" fmla="*/ 2147483647 w 200"/>
              <a:gd name="T13" fmla="*/ 2147483647 h 246"/>
              <a:gd name="T14" fmla="*/ 2147483647 w 200"/>
              <a:gd name="T15" fmla="*/ 2147483647 h 246"/>
              <a:gd name="T16" fmla="*/ 2147483647 w 200"/>
              <a:gd name="T17" fmla="*/ 2147483647 h 246"/>
              <a:gd name="T18" fmla="*/ 2147483647 w 200"/>
              <a:gd name="T19" fmla="*/ 2147483647 h 246"/>
              <a:gd name="T20" fmla="*/ 2147483647 w 200"/>
              <a:gd name="T21" fmla="*/ 2147483647 h 246"/>
              <a:gd name="T22" fmla="*/ 2147483647 w 200"/>
              <a:gd name="T23" fmla="*/ 2147483647 h 246"/>
              <a:gd name="T24" fmla="*/ 2147483647 w 200"/>
              <a:gd name="T25" fmla="*/ 2147483647 h 246"/>
              <a:gd name="T26" fmla="*/ 2147483647 w 200"/>
              <a:gd name="T27" fmla="*/ 2147483647 h 246"/>
              <a:gd name="T28" fmla="*/ 2147483647 w 200"/>
              <a:gd name="T29" fmla="*/ 2147483647 h 246"/>
              <a:gd name="T30" fmla="*/ 2147483647 w 200"/>
              <a:gd name="T31" fmla="*/ 2147483647 h 246"/>
              <a:gd name="T32" fmla="*/ 2147483647 w 200"/>
              <a:gd name="T33" fmla="*/ 2147483647 h 246"/>
              <a:gd name="T34" fmla="*/ 2147483647 w 200"/>
              <a:gd name="T35" fmla="*/ 2147483647 h 246"/>
              <a:gd name="T36" fmla="*/ 2147483647 w 200"/>
              <a:gd name="T37" fmla="*/ 2147483647 h 246"/>
              <a:gd name="T38" fmla="*/ 2147483647 w 200"/>
              <a:gd name="T39" fmla="*/ 2147483647 h 246"/>
              <a:gd name="T40" fmla="*/ 2147483647 w 200"/>
              <a:gd name="T41" fmla="*/ 2147483647 h 246"/>
              <a:gd name="T42" fmla="*/ 2147483647 w 200"/>
              <a:gd name="T43" fmla="*/ 2147483647 h 246"/>
              <a:gd name="T44" fmla="*/ 2147483647 w 200"/>
              <a:gd name="T45" fmla="*/ 2147483647 h 246"/>
              <a:gd name="T46" fmla="*/ 2147483647 w 200"/>
              <a:gd name="T47" fmla="*/ 2147483647 h 246"/>
              <a:gd name="T48" fmla="*/ 2147483647 w 200"/>
              <a:gd name="T49" fmla="*/ 2147483647 h 246"/>
              <a:gd name="T50" fmla="*/ 2147483647 w 200"/>
              <a:gd name="T51" fmla="*/ 2147483647 h 246"/>
              <a:gd name="T52" fmla="*/ 2147483647 w 200"/>
              <a:gd name="T53" fmla="*/ 2147483647 h 246"/>
              <a:gd name="T54" fmla="*/ 2147483647 w 200"/>
              <a:gd name="T55" fmla="*/ 2147483647 h 246"/>
              <a:gd name="T56" fmla="*/ 2147483647 w 200"/>
              <a:gd name="T57" fmla="*/ 2147483647 h 246"/>
              <a:gd name="T58" fmla="*/ 2147483647 w 200"/>
              <a:gd name="T59" fmla="*/ 2147483647 h 246"/>
              <a:gd name="T60" fmla="*/ 2147483647 w 200"/>
              <a:gd name="T61" fmla="*/ 2147483647 h 246"/>
              <a:gd name="T62" fmla="*/ 2147483647 w 200"/>
              <a:gd name="T63" fmla="*/ 2147483647 h 246"/>
              <a:gd name="T64" fmla="*/ 2147483647 w 200"/>
              <a:gd name="T65" fmla="*/ 2147483647 h 246"/>
              <a:gd name="T66" fmla="*/ 2147483647 w 200"/>
              <a:gd name="T67" fmla="*/ 2147483647 h 246"/>
              <a:gd name="T68" fmla="*/ 2147483647 w 200"/>
              <a:gd name="T69" fmla="*/ 2147483647 h 246"/>
              <a:gd name="T70" fmla="*/ 2147483647 w 200"/>
              <a:gd name="T71" fmla="*/ 2147483647 h 246"/>
              <a:gd name="T72" fmla="*/ 2147483647 w 200"/>
              <a:gd name="T73" fmla="*/ 2147483647 h 246"/>
              <a:gd name="T74" fmla="*/ 2147483647 w 200"/>
              <a:gd name="T75" fmla="*/ 2147483647 h 246"/>
              <a:gd name="T76" fmla="*/ 2147483647 w 200"/>
              <a:gd name="T77" fmla="*/ 2147483647 h 246"/>
              <a:gd name="T78" fmla="*/ 2147483647 w 200"/>
              <a:gd name="T79" fmla="*/ 2147483647 h 246"/>
              <a:gd name="T80" fmla="*/ 2147483647 w 200"/>
              <a:gd name="T81" fmla="*/ 2147483647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696065" y="4695453"/>
            <a:ext cx="231775" cy="254000"/>
          </a:xfrm>
          <a:custGeom>
            <a:avLst/>
            <a:gdLst>
              <a:gd name="T0" fmla="*/ 2147483647 w 538"/>
              <a:gd name="T1" fmla="*/ 2147483647 h 487"/>
              <a:gd name="T2" fmla="*/ 2147483647 w 538"/>
              <a:gd name="T3" fmla="*/ 2147483647 h 487"/>
              <a:gd name="T4" fmla="*/ 2147483647 w 538"/>
              <a:gd name="T5" fmla="*/ 2147483647 h 487"/>
              <a:gd name="T6" fmla="*/ 2147483647 w 538"/>
              <a:gd name="T7" fmla="*/ 2147483647 h 487"/>
              <a:gd name="T8" fmla="*/ 2147483647 w 538"/>
              <a:gd name="T9" fmla="*/ 2147483647 h 487"/>
              <a:gd name="T10" fmla="*/ 2147483647 w 538"/>
              <a:gd name="T11" fmla="*/ 2147483647 h 487"/>
              <a:gd name="T12" fmla="*/ 2147483647 w 538"/>
              <a:gd name="T13" fmla="*/ 2147483647 h 487"/>
              <a:gd name="T14" fmla="*/ 2147483647 w 538"/>
              <a:gd name="T15" fmla="*/ 2147483647 h 487"/>
              <a:gd name="T16" fmla="*/ 2147483647 w 538"/>
              <a:gd name="T17" fmla="*/ 2147483647 h 487"/>
              <a:gd name="T18" fmla="*/ 2147483647 w 538"/>
              <a:gd name="T19" fmla="*/ 2147483647 h 487"/>
              <a:gd name="T20" fmla="*/ 2147483647 w 538"/>
              <a:gd name="T21" fmla="*/ 2147483647 h 487"/>
              <a:gd name="T22" fmla="*/ 2147483647 w 538"/>
              <a:gd name="T23" fmla="*/ 2147483647 h 487"/>
              <a:gd name="T24" fmla="*/ 2147483647 w 538"/>
              <a:gd name="T25" fmla="*/ 2147483647 h 487"/>
              <a:gd name="T26" fmla="*/ 2147483647 w 538"/>
              <a:gd name="T27" fmla="*/ 2147483647 h 487"/>
              <a:gd name="T28" fmla="*/ 2147483647 w 538"/>
              <a:gd name="T29" fmla="*/ 2147483647 h 487"/>
              <a:gd name="T30" fmla="*/ 2147483647 w 538"/>
              <a:gd name="T31" fmla="*/ 2147483647 h 487"/>
              <a:gd name="T32" fmla="*/ 2147483647 w 538"/>
              <a:gd name="T33" fmla="*/ 2147483647 h 487"/>
              <a:gd name="T34" fmla="*/ 2147483647 w 538"/>
              <a:gd name="T35" fmla="*/ 2147483647 h 487"/>
              <a:gd name="T36" fmla="*/ 2147483647 w 538"/>
              <a:gd name="T37" fmla="*/ 2147483647 h 487"/>
              <a:gd name="T38" fmla="*/ 2147483647 w 538"/>
              <a:gd name="T39" fmla="*/ 2147483647 h 487"/>
              <a:gd name="T40" fmla="*/ 2147483647 w 538"/>
              <a:gd name="T41" fmla="*/ 2147483647 h 487"/>
              <a:gd name="T42" fmla="*/ 2147483647 w 538"/>
              <a:gd name="T43" fmla="*/ 2147483647 h 487"/>
              <a:gd name="T44" fmla="*/ 2147483647 w 538"/>
              <a:gd name="T45" fmla="*/ 2147483647 h 487"/>
              <a:gd name="T46" fmla="*/ 2147483647 w 538"/>
              <a:gd name="T47" fmla="*/ 2147483647 h 487"/>
              <a:gd name="T48" fmla="*/ 2147483647 w 538"/>
              <a:gd name="T49" fmla="*/ 2147483647 h 487"/>
              <a:gd name="T50" fmla="*/ 2147483647 w 538"/>
              <a:gd name="T51" fmla="*/ 2147483647 h 487"/>
              <a:gd name="T52" fmla="*/ 2147483647 w 538"/>
              <a:gd name="T53" fmla="*/ 2147483647 h 487"/>
              <a:gd name="T54" fmla="*/ 2147483647 w 538"/>
              <a:gd name="T55" fmla="*/ 2147483647 h 487"/>
              <a:gd name="T56" fmla="*/ 2147483647 w 538"/>
              <a:gd name="T57" fmla="*/ 2147483647 h 487"/>
              <a:gd name="T58" fmla="*/ 2147483647 w 538"/>
              <a:gd name="T59" fmla="*/ 2147483647 h 487"/>
              <a:gd name="T60" fmla="*/ 2147483647 w 538"/>
              <a:gd name="T61" fmla="*/ 2147483647 h 487"/>
              <a:gd name="T62" fmla="*/ 2147483647 w 538"/>
              <a:gd name="T63" fmla="*/ 2147483647 h 487"/>
              <a:gd name="T64" fmla="*/ 2147483647 w 538"/>
              <a:gd name="T65" fmla="*/ 2147483647 h 487"/>
              <a:gd name="T66" fmla="*/ 2147483647 w 538"/>
              <a:gd name="T67" fmla="*/ 2147483647 h 487"/>
              <a:gd name="T68" fmla="*/ 2147483647 w 538"/>
              <a:gd name="T69" fmla="*/ 2147483647 h 487"/>
              <a:gd name="T70" fmla="*/ 2147483647 w 538"/>
              <a:gd name="T71" fmla="*/ 2147483647 h 487"/>
              <a:gd name="T72" fmla="*/ 2147483647 w 538"/>
              <a:gd name="T73" fmla="*/ 2147483647 h 487"/>
              <a:gd name="T74" fmla="*/ 2147483647 w 538"/>
              <a:gd name="T75" fmla="*/ 2147483647 h 487"/>
              <a:gd name="T76" fmla="*/ 2147483647 w 538"/>
              <a:gd name="T77" fmla="*/ 2147483647 h 487"/>
              <a:gd name="T78" fmla="*/ 2147483647 w 538"/>
              <a:gd name="T79" fmla="*/ 2147483647 h 487"/>
              <a:gd name="T80" fmla="*/ 2147483647 w 538"/>
              <a:gd name="T81" fmla="*/ 2147483647 h 487"/>
              <a:gd name="T82" fmla="*/ 2147483647 w 538"/>
              <a:gd name="T83" fmla="*/ 2147483647 h 487"/>
              <a:gd name="T84" fmla="*/ 2147483647 w 538"/>
              <a:gd name="T85" fmla="*/ 2147483647 h 487"/>
              <a:gd name="T86" fmla="*/ 2147483647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888153" y="4679578"/>
            <a:ext cx="106362" cy="128587"/>
          </a:xfrm>
          <a:custGeom>
            <a:avLst/>
            <a:gdLst>
              <a:gd name="T0" fmla="*/ 2147483647 w 253"/>
              <a:gd name="T1" fmla="*/ 2147483647 h 246"/>
              <a:gd name="T2" fmla="*/ 2147483647 w 253"/>
              <a:gd name="T3" fmla="*/ 2147483647 h 246"/>
              <a:gd name="T4" fmla="*/ 2147483647 w 253"/>
              <a:gd name="T5" fmla="*/ 2147483647 h 246"/>
              <a:gd name="T6" fmla="*/ 2147483647 w 253"/>
              <a:gd name="T7" fmla="*/ 2147483647 h 246"/>
              <a:gd name="T8" fmla="*/ 2147483647 w 253"/>
              <a:gd name="T9" fmla="*/ 2147483647 h 246"/>
              <a:gd name="T10" fmla="*/ 2147483647 w 253"/>
              <a:gd name="T11" fmla="*/ 2147483647 h 246"/>
              <a:gd name="T12" fmla="*/ 2147483647 w 253"/>
              <a:gd name="T13" fmla="*/ 2147483647 h 246"/>
              <a:gd name="T14" fmla="*/ 2147483647 w 253"/>
              <a:gd name="T15" fmla="*/ 2147483647 h 246"/>
              <a:gd name="T16" fmla="*/ 2147483647 w 253"/>
              <a:gd name="T17" fmla="*/ 2147483647 h 246"/>
              <a:gd name="T18" fmla="*/ 2147483647 w 253"/>
              <a:gd name="T19" fmla="*/ 2147483647 h 246"/>
              <a:gd name="T20" fmla="*/ 2147483647 w 253"/>
              <a:gd name="T21" fmla="*/ 2147483647 h 246"/>
              <a:gd name="T22" fmla="*/ 2147483647 w 253"/>
              <a:gd name="T23" fmla="*/ 2147483647 h 246"/>
              <a:gd name="T24" fmla="*/ 2147483647 w 253"/>
              <a:gd name="T25" fmla="*/ 2147483647 h 246"/>
              <a:gd name="T26" fmla="*/ 2147483647 w 253"/>
              <a:gd name="T27" fmla="*/ 2147483647 h 246"/>
              <a:gd name="T28" fmla="*/ 2147483647 w 253"/>
              <a:gd name="T29" fmla="*/ 2147483647 h 246"/>
              <a:gd name="T30" fmla="*/ 2147483647 w 253"/>
              <a:gd name="T31" fmla="*/ 2147483647 h 246"/>
              <a:gd name="T32" fmla="*/ 2147483647 w 253"/>
              <a:gd name="T33" fmla="*/ 2147483647 h 246"/>
              <a:gd name="T34" fmla="*/ 2147483647 w 253"/>
              <a:gd name="T35" fmla="*/ 2147483647 h 246"/>
              <a:gd name="T36" fmla="*/ 2147483647 w 253"/>
              <a:gd name="T37" fmla="*/ 2147483647 h 246"/>
              <a:gd name="T38" fmla="*/ 2147483647 w 253"/>
              <a:gd name="T39" fmla="*/ 2147483647 h 246"/>
              <a:gd name="T40" fmla="*/ 2147483647 w 253"/>
              <a:gd name="T41" fmla="*/ 2147483647 h 246"/>
              <a:gd name="T42" fmla="*/ 2147483647 w 253"/>
              <a:gd name="T43" fmla="*/ 2147483647 h 246"/>
              <a:gd name="T44" fmla="*/ 2147483647 w 253"/>
              <a:gd name="T45" fmla="*/ 2147483647 h 246"/>
              <a:gd name="T46" fmla="*/ 2147483647 w 253"/>
              <a:gd name="T47" fmla="*/ 2147483647 h 246"/>
              <a:gd name="T48" fmla="*/ 2147483647 w 253"/>
              <a:gd name="T49" fmla="*/ 2147483647 h 246"/>
              <a:gd name="T50" fmla="*/ 2147483647 w 253"/>
              <a:gd name="T51" fmla="*/ 2147483647 h 246"/>
              <a:gd name="T52" fmla="*/ 2147483647 w 253"/>
              <a:gd name="T53" fmla="*/ 2147483647 h 246"/>
              <a:gd name="T54" fmla="*/ 2147483647 w 253"/>
              <a:gd name="T55" fmla="*/ 2147483647 h 246"/>
              <a:gd name="T56" fmla="*/ 2147483647 w 253"/>
              <a:gd name="T57" fmla="*/ 2147483647 h 246"/>
              <a:gd name="T58" fmla="*/ 2147483647 w 253"/>
              <a:gd name="T59" fmla="*/ 2147483647 h 246"/>
              <a:gd name="T60" fmla="*/ 2147483647 w 253"/>
              <a:gd name="T61" fmla="*/ 2147483647 h 246"/>
              <a:gd name="T62" fmla="*/ 2147483647 w 253"/>
              <a:gd name="T63" fmla="*/ 2147483647 h 246"/>
              <a:gd name="T64" fmla="*/ 2147483647 w 253"/>
              <a:gd name="T65" fmla="*/ 2147483647 h 246"/>
              <a:gd name="T66" fmla="*/ 2147483647 w 253"/>
              <a:gd name="T67" fmla="*/ 2147483647 h 246"/>
              <a:gd name="T68" fmla="*/ 2147483647 w 253"/>
              <a:gd name="T69" fmla="*/ 2147483647 h 246"/>
              <a:gd name="T70" fmla="*/ 2147483647 w 253"/>
              <a:gd name="T71" fmla="*/ 2147483647 h 246"/>
              <a:gd name="T72" fmla="*/ 2147483647 w 253"/>
              <a:gd name="T73" fmla="*/ 2147483647 h 246"/>
              <a:gd name="T74" fmla="*/ 2147483647 w 253"/>
              <a:gd name="T75" fmla="*/ 2147483647 h 246"/>
              <a:gd name="T76" fmla="*/ 2147483647 w 253"/>
              <a:gd name="T77" fmla="*/ 2147483647 h 246"/>
              <a:gd name="T78" fmla="*/ 2147483647 w 253"/>
              <a:gd name="T79" fmla="*/ 2147483647 h 246"/>
              <a:gd name="T80" fmla="*/ 2147483647 w 253"/>
              <a:gd name="T81" fmla="*/ 2147483647 h 246"/>
              <a:gd name="T82" fmla="*/ 2147483647 w 253"/>
              <a:gd name="T83" fmla="*/ 2147483647 h 246"/>
              <a:gd name="T84" fmla="*/ 2147483647 w 253"/>
              <a:gd name="T85" fmla="*/ 2147483647 h 246"/>
              <a:gd name="T86" fmla="*/ 2147483647 w 253"/>
              <a:gd name="T87" fmla="*/ 2147483647 h 246"/>
              <a:gd name="T88" fmla="*/ 2147483647 w 253"/>
              <a:gd name="T89" fmla="*/ 2147483647 h 246"/>
              <a:gd name="T90" fmla="*/ 2147483647 w 253"/>
              <a:gd name="T91" fmla="*/ 2147483647 h 246"/>
              <a:gd name="T92" fmla="*/ 2147483647 w 253"/>
              <a:gd name="T93" fmla="*/ 2147483647 h 246"/>
              <a:gd name="T94" fmla="*/ 2147483647 w 253"/>
              <a:gd name="T95" fmla="*/ 2147483647 h 246"/>
              <a:gd name="T96" fmla="*/ 2147483647 w 253"/>
              <a:gd name="T97" fmla="*/ 2147483647 h 246"/>
              <a:gd name="T98" fmla="*/ 2147483647 w 253"/>
              <a:gd name="T99" fmla="*/ 2147483647 h 246"/>
              <a:gd name="T100" fmla="*/ 2147483647 w 253"/>
              <a:gd name="T101" fmla="*/ 2147483647 h 246"/>
              <a:gd name="T102" fmla="*/ 2147483647 w 253"/>
              <a:gd name="T103" fmla="*/ 2147483647 h 246"/>
              <a:gd name="T104" fmla="*/ 2147483647 w 253"/>
              <a:gd name="T105" fmla="*/ 2147483647 h 246"/>
              <a:gd name="T106" fmla="*/ 2147483647 w 253"/>
              <a:gd name="T107" fmla="*/ 2147483647 h 246"/>
              <a:gd name="T108" fmla="*/ 2147483647 w 253"/>
              <a:gd name="T109" fmla="*/ 2147483647 h 246"/>
              <a:gd name="T110" fmla="*/ 2147483647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164128" y="4312865"/>
            <a:ext cx="63500" cy="119063"/>
          </a:xfrm>
          <a:custGeom>
            <a:avLst/>
            <a:gdLst>
              <a:gd name="T0" fmla="*/ 2147483647 w 141"/>
              <a:gd name="T1" fmla="*/ 2147483647 h 228"/>
              <a:gd name="T2" fmla="*/ 2147483647 w 141"/>
              <a:gd name="T3" fmla="*/ 2147483647 h 228"/>
              <a:gd name="T4" fmla="*/ 2147483647 w 141"/>
              <a:gd name="T5" fmla="*/ 2147483647 h 228"/>
              <a:gd name="T6" fmla="*/ 2147483647 w 141"/>
              <a:gd name="T7" fmla="*/ 2147483647 h 228"/>
              <a:gd name="T8" fmla="*/ 2147483647 w 141"/>
              <a:gd name="T9" fmla="*/ 2147483647 h 228"/>
              <a:gd name="T10" fmla="*/ 2147483647 w 141"/>
              <a:gd name="T11" fmla="*/ 2147483647 h 228"/>
              <a:gd name="T12" fmla="*/ 2147483647 w 141"/>
              <a:gd name="T13" fmla="*/ 2147483647 h 228"/>
              <a:gd name="T14" fmla="*/ 2147483647 w 141"/>
              <a:gd name="T15" fmla="*/ 2147483647 h 228"/>
              <a:gd name="T16" fmla="*/ 0 w 141"/>
              <a:gd name="T17" fmla="*/ 2147483647 h 228"/>
              <a:gd name="T18" fmla="*/ 2147483647 w 141"/>
              <a:gd name="T19" fmla="*/ 2147483647 h 228"/>
              <a:gd name="T20" fmla="*/ 2147483647 w 141"/>
              <a:gd name="T21" fmla="*/ 2147483647 h 228"/>
              <a:gd name="T22" fmla="*/ 2147483647 w 141"/>
              <a:gd name="T23" fmla="*/ 2147483647 h 228"/>
              <a:gd name="T24" fmla="*/ 2147483647 w 141"/>
              <a:gd name="T25" fmla="*/ 2147483647 h 228"/>
              <a:gd name="T26" fmla="*/ 2147483647 w 141"/>
              <a:gd name="T27" fmla="*/ 2147483647 h 228"/>
              <a:gd name="T28" fmla="*/ 2147483647 w 141"/>
              <a:gd name="T29" fmla="*/ 0 h 228"/>
              <a:gd name="T30" fmla="*/ 2147483647 w 141"/>
              <a:gd name="T31" fmla="*/ 2147483647 h 228"/>
              <a:gd name="T32" fmla="*/ 2147483647 w 141"/>
              <a:gd name="T33" fmla="*/ 2147483647 h 228"/>
              <a:gd name="T34" fmla="*/ 2147483647 w 141"/>
              <a:gd name="T35" fmla="*/ 2147483647 h 228"/>
              <a:gd name="T36" fmla="*/ 2147483647 w 141"/>
              <a:gd name="T37" fmla="*/ 2147483647 h 228"/>
              <a:gd name="T38" fmla="*/ 2147483647 w 141"/>
              <a:gd name="T39" fmla="*/ 2147483647 h 228"/>
              <a:gd name="T40" fmla="*/ 2147483647 w 141"/>
              <a:gd name="T41" fmla="*/ 2147483647 h 228"/>
              <a:gd name="T42" fmla="*/ 2147483647 w 141"/>
              <a:gd name="T43" fmla="*/ 2147483647 h 228"/>
              <a:gd name="T44" fmla="*/ 2147483647 w 141"/>
              <a:gd name="T45" fmla="*/ 2147483647 h 228"/>
              <a:gd name="T46" fmla="*/ 2147483647 w 141"/>
              <a:gd name="T47" fmla="*/ 2147483647 h 228"/>
              <a:gd name="T48" fmla="*/ 2147483647 w 141"/>
              <a:gd name="T49" fmla="*/ 2147483647 h 228"/>
              <a:gd name="T50" fmla="*/ 2147483647 w 141"/>
              <a:gd name="T51" fmla="*/ 2147483647 h 228"/>
              <a:gd name="T52" fmla="*/ 2147483647 w 141"/>
              <a:gd name="T53" fmla="*/ 2147483647 h 228"/>
              <a:gd name="T54" fmla="*/ 2147483647 w 141"/>
              <a:gd name="T55" fmla="*/ 2147483647 h 228"/>
              <a:gd name="T56" fmla="*/ 2147483647 w 141"/>
              <a:gd name="T57" fmla="*/ 2147483647 h 228"/>
              <a:gd name="T58" fmla="*/ 2147483647 w 141"/>
              <a:gd name="T59" fmla="*/ 2147483647 h 228"/>
              <a:gd name="T60" fmla="*/ 2147483647 w 141"/>
              <a:gd name="T61" fmla="*/ 2147483647 h 228"/>
              <a:gd name="T62" fmla="*/ 2147483647 w 141"/>
              <a:gd name="T63" fmla="*/ 2147483647 h 228"/>
              <a:gd name="T64" fmla="*/ 2147483647 w 141"/>
              <a:gd name="T65" fmla="*/ 2147483647 h 228"/>
              <a:gd name="T66" fmla="*/ 2147483647 w 141"/>
              <a:gd name="T67" fmla="*/ 2147483647 h 228"/>
              <a:gd name="T68" fmla="*/ 2147483647 w 141"/>
              <a:gd name="T69" fmla="*/ 2147483647 h 228"/>
              <a:gd name="T70" fmla="*/ 2147483647 w 141"/>
              <a:gd name="T71" fmla="*/ 2147483647 h 228"/>
              <a:gd name="T72" fmla="*/ 2147483647 w 141"/>
              <a:gd name="T73" fmla="*/ 2147483647 h 228"/>
              <a:gd name="T74" fmla="*/ 2147483647 w 141"/>
              <a:gd name="T75" fmla="*/ 2147483647 h 228"/>
              <a:gd name="T76" fmla="*/ 2147483647 w 141"/>
              <a:gd name="T77" fmla="*/ 2147483647 h 228"/>
              <a:gd name="T78" fmla="*/ 2147483647 w 141"/>
              <a:gd name="T79" fmla="*/ 2147483647 h 228"/>
              <a:gd name="T80" fmla="*/ 2147483647 w 141"/>
              <a:gd name="T81" fmla="*/ 2147483647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258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7103928" y="4023940"/>
            <a:ext cx="233362" cy="439738"/>
            <a:chOff x="5062" y="2295"/>
            <a:chExt cx="177" cy="279"/>
          </a:xfrm>
          <a:solidFill>
            <a:schemeClr val="bg1">
              <a:lumMod val="75000"/>
            </a:schemeClr>
          </a:solidFill>
        </p:grpSpPr>
        <p:sp>
          <p:nvSpPr>
            <p:cNvPr id="2504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5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6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7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8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09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0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1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2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3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4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5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6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7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8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19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0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1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2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3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4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5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6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  <p:sp>
          <p:nvSpPr>
            <p:cNvPr id="2527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ea typeface="+mn-ea"/>
              </a:endParaRPr>
            </a:p>
          </p:txBody>
        </p:sp>
      </p:grpSp>
      <p:sp>
        <p:nvSpPr>
          <p:cNvPr id="2259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448415" y="4843090"/>
            <a:ext cx="14288" cy="55563"/>
          </a:xfrm>
          <a:custGeom>
            <a:avLst/>
            <a:gdLst>
              <a:gd name="T0" fmla="*/ 0 w 33"/>
              <a:gd name="T1" fmla="*/ 2147483647 h 43"/>
              <a:gd name="T2" fmla="*/ 2147483647 w 33"/>
              <a:gd name="T3" fmla="*/ 2147483647 h 43"/>
              <a:gd name="T4" fmla="*/ 2147483647 w 33"/>
              <a:gd name="T5" fmla="*/ 2147483647 h 43"/>
              <a:gd name="T6" fmla="*/ 2147483647 w 33"/>
              <a:gd name="T7" fmla="*/ 2147483647 h 43"/>
              <a:gd name="T8" fmla="*/ 2147483647 w 33"/>
              <a:gd name="T9" fmla="*/ 2147483647 h 43"/>
              <a:gd name="T10" fmla="*/ 2147483647 w 33"/>
              <a:gd name="T11" fmla="*/ 2147483647 h 43"/>
              <a:gd name="T12" fmla="*/ 2147483647 w 33"/>
              <a:gd name="T13" fmla="*/ 2147483647 h 43"/>
              <a:gd name="T14" fmla="*/ 2147483647 w 33"/>
              <a:gd name="T15" fmla="*/ 2147483647 h 43"/>
              <a:gd name="T16" fmla="*/ 2147483647 w 33"/>
              <a:gd name="T17" fmla="*/ 0 h 43"/>
              <a:gd name="T18" fmla="*/ 2147483647 w 33"/>
              <a:gd name="T19" fmla="*/ 2147483647 h 43"/>
              <a:gd name="T20" fmla="*/ 2147483647 w 33"/>
              <a:gd name="T21" fmla="*/ 2147483647 h 43"/>
              <a:gd name="T22" fmla="*/ 2147483647 w 33"/>
              <a:gd name="T23" fmla="*/ 2147483647 h 43"/>
              <a:gd name="T24" fmla="*/ 2147483647 w 33"/>
              <a:gd name="T25" fmla="*/ 2147483647 h 43"/>
              <a:gd name="T26" fmla="*/ 2147483647 w 33"/>
              <a:gd name="T27" fmla="*/ 2147483647 h 43"/>
              <a:gd name="T28" fmla="*/ 2147483647 w 33"/>
              <a:gd name="T29" fmla="*/ 2147483647 h 43"/>
              <a:gd name="T30" fmla="*/ 2147483647 w 33"/>
              <a:gd name="T31" fmla="*/ 2147483647 h 43"/>
              <a:gd name="T32" fmla="*/ 2147483647 w 33"/>
              <a:gd name="T33" fmla="*/ 2147483647 h 43"/>
              <a:gd name="T34" fmla="*/ 0 w 33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0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524615" y="4782765"/>
            <a:ext cx="22225" cy="58738"/>
          </a:xfrm>
          <a:custGeom>
            <a:avLst/>
            <a:gdLst>
              <a:gd name="T0" fmla="*/ 0 w 54"/>
              <a:gd name="T1" fmla="*/ 2147483647 h 92"/>
              <a:gd name="T2" fmla="*/ 2147483647 w 54"/>
              <a:gd name="T3" fmla="*/ 2147483647 h 92"/>
              <a:gd name="T4" fmla="*/ 2147483647 w 54"/>
              <a:gd name="T5" fmla="*/ 2147483647 h 92"/>
              <a:gd name="T6" fmla="*/ 2147483647 w 54"/>
              <a:gd name="T7" fmla="*/ 2147483647 h 92"/>
              <a:gd name="T8" fmla="*/ 2147483647 w 54"/>
              <a:gd name="T9" fmla="*/ 2147483647 h 92"/>
              <a:gd name="T10" fmla="*/ 2147483647 w 54"/>
              <a:gd name="T11" fmla="*/ 2147483647 h 92"/>
              <a:gd name="T12" fmla="*/ 2147483647 w 54"/>
              <a:gd name="T13" fmla="*/ 2147483647 h 92"/>
              <a:gd name="T14" fmla="*/ 2147483647 w 54"/>
              <a:gd name="T15" fmla="*/ 2147483647 h 92"/>
              <a:gd name="T16" fmla="*/ 2147483647 w 54"/>
              <a:gd name="T17" fmla="*/ 0 h 92"/>
              <a:gd name="T18" fmla="*/ 2147483647 w 54"/>
              <a:gd name="T19" fmla="*/ 2147483647 h 92"/>
              <a:gd name="T20" fmla="*/ 2147483647 w 54"/>
              <a:gd name="T21" fmla="*/ 2147483647 h 92"/>
              <a:gd name="T22" fmla="*/ 2147483647 w 54"/>
              <a:gd name="T23" fmla="*/ 2147483647 h 92"/>
              <a:gd name="T24" fmla="*/ 2147483647 w 54"/>
              <a:gd name="T25" fmla="*/ 2147483647 h 92"/>
              <a:gd name="T26" fmla="*/ 2147483647 w 54"/>
              <a:gd name="T27" fmla="*/ 2147483647 h 92"/>
              <a:gd name="T28" fmla="*/ 2147483647 w 54"/>
              <a:gd name="T29" fmla="*/ 2147483647 h 92"/>
              <a:gd name="T30" fmla="*/ 2147483647 w 54"/>
              <a:gd name="T31" fmla="*/ 2147483647 h 92"/>
              <a:gd name="T32" fmla="*/ 2147483647 w 54"/>
              <a:gd name="T33" fmla="*/ 2147483647 h 92"/>
              <a:gd name="T34" fmla="*/ 2147483647 w 54"/>
              <a:gd name="T35" fmla="*/ 2147483647 h 92"/>
              <a:gd name="T36" fmla="*/ 2147483647 w 54"/>
              <a:gd name="T37" fmla="*/ 2147483647 h 92"/>
              <a:gd name="T38" fmla="*/ 2147483647 w 54"/>
              <a:gd name="T39" fmla="*/ 2147483647 h 92"/>
              <a:gd name="T40" fmla="*/ 2147483647 w 54"/>
              <a:gd name="T41" fmla="*/ 2147483647 h 92"/>
              <a:gd name="T42" fmla="*/ 2147483647 w 54"/>
              <a:gd name="T43" fmla="*/ 2147483647 h 92"/>
              <a:gd name="T44" fmla="*/ 2147483647 w 54"/>
              <a:gd name="T45" fmla="*/ 2147483647 h 92"/>
              <a:gd name="T46" fmla="*/ 2147483647 w 54"/>
              <a:gd name="T47" fmla="*/ 2147483647 h 92"/>
              <a:gd name="T48" fmla="*/ 2147483647 w 54"/>
              <a:gd name="T49" fmla="*/ 2147483647 h 92"/>
              <a:gd name="T50" fmla="*/ 0 w 54"/>
              <a:gd name="T51" fmla="*/ 2147483647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1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572240" y="4662115"/>
            <a:ext cx="23813" cy="57150"/>
          </a:xfrm>
          <a:custGeom>
            <a:avLst/>
            <a:gdLst>
              <a:gd name="T0" fmla="*/ 0 w 60"/>
              <a:gd name="T1" fmla="*/ 0 h 18"/>
              <a:gd name="T2" fmla="*/ 2147483647 w 60"/>
              <a:gd name="T3" fmla="*/ 2147483647 h 18"/>
              <a:gd name="T4" fmla="*/ 2147483647 w 60"/>
              <a:gd name="T5" fmla="*/ 2147483647 h 18"/>
              <a:gd name="T6" fmla="*/ 2147483647 w 60"/>
              <a:gd name="T7" fmla="*/ 2147483647 h 18"/>
              <a:gd name="T8" fmla="*/ 2147483647 w 60"/>
              <a:gd name="T9" fmla="*/ 2147483647 h 18"/>
              <a:gd name="T10" fmla="*/ 2147483647 w 60"/>
              <a:gd name="T11" fmla="*/ 2147483647 h 18"/>
              <a:gd name="T12" fmla="*/ 2147483647 w 60"/>
              <a:gd name="T13" fmla="*/ 2147483647 h 18"/>
              <a:gd name="T14" fmla="*/ 2147483647 w 60"/>
              <a:gd name="T15" fmla="*/ 2147483647 h 18"/>
              <a:gd name="T16" fmla="*/ 2147483647 w 60"/>
              <a:gd name="T17" fmla="*/ 2147483647 h 18"/>
              <a:gd name="T18" fmla="*/ 2147483647 w 60"/>
              <a:gd name="T19" fmla="*/ 2147483647 h 18"/>
              <a:gd name="T20" fmla="*/ 0 w 60"/>
              <a:gd name="T21" fmla="*/ 2147483647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2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556365" y="4631953"/>
            <a:ext cx="25400" cy="57150"/>
          </a:xfrm>
          <a:custGeom>
            <a:avLst/>
            <a:gdLst>
              <a:gd name="T0" fmla="*/ 0 w 66"/>
              <a:gd name="T1" fmla="*/ 2147483647 h 18"/>
              <a:gd name="T2" fmla="*/ 2147483647 w 66"/>
              <a:gd name="T3" fmla="*/ 2147483647 h 18"/>
              <a:gd name="T4" fmla="*/ 2147483647 w 66"/>
              <a:gd name="T5" fmla="*/ 2147483647 h 18"/>
              <a:gd name="T6" fmla="*/ 2147483647 w 66"/>
              <a:gd name="T7" fmla="*/ 2147483647 h 18"/>
              <a:gd name="T8" fmla="*/ 2147483647 w 66"/>
              <a:gd name="T9" fmla="*/ 2147483647 h 18"/>
              <a:gd name="T10" fmla="*/ 2147483647 w 66"/>
              <a:gd name="T11" fmla="*/ 2147483647 h 18"/>
              <a:gd name="T12" fmla="*/ 2147483647 w 66"/>
              <a:gd name="T13" fmla="*/ 2147483647 h 18"/>
              <a:gd name="T14" fmla="*/ 2147483647 w 66"/>
              <a:gd name="T15" fmla="*/ 0 h 18"/>
              <a:gd name="T16" fmla="*/ 0 w 66"/>
              <a:gd name="T17" fmla="*/ 2147483647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3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381740" y="4528765"/>
            <a:ext cx="7938" cy="57150"/>
          </a:xfrm>
          <a:custGeom>
            <a:avLst/>
            <a:gdLst>
              <a:gd name="T0" fmla="*/ 0 w 17"/>
              <a:gd name="T1" fmla="*/ 2147483647 h 42"/>
              <a:gd name="T2" fmla="*/ 2147483647 w 17"/>
              <a:gd name="T3" fmla="*/ 2147483647 h 42"/>
              <a:gd name="T4" fmla="*/ 2147483647 w 17"/>
              <a:gd name="T5" fmla="*/ 2147483647 h 42"/>
              <a:gd name="T6" fmla="*/ 2147483647 w 17"/>
              <a:gd name="T7" fmla="*/ 2147483647 h 42"/>
              <a:gd name="T8" fmla="*/ 2147483647 w 17"/>
              <a:gd name="T9" fmla="*/ 2147483647 h 42"/>
              <a:gd name="T10" fmla="*/ 2147483647 w 17"/>
              <a:gd name="T11" fmla="*/ 2147483647 h 42"/>
              <a:gd name="T12" fmla="*/ 2147483647 w 17"/>
              <a:gd name="T13" fmla="*/ 2147483647 h 42"/>
              <a:gd name="T14" fmla="*/ 2147483647 w 17"/>
              <a:gd name="T15" fmla="*/ 0 h 42"/>
              <a:gd name="T16" fmla="*/ 0 w 17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4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308715" y="4663703"/>
            <a:ext cx="30163" cy="58737"/>
          </a:xfrm>
          <a:custGeom>
            <a:avLst/>
            <a:gdLst>
              <a:gd name="T0" fmla="*/ 2147483647 w 72"/>
              <a:gd name="T1" fmla="*/ 2147483647 h 29"/>
              <a:gd name="T2" fmla="*/ 2147483647 w 72"/>
              <a:gd name="T3" fmla="*/ 2147483647 h 29"/>
              <a:gd name="T4" fmla="*/ 2147483647 w 72"/>
              <a:gd name="T5" fmla="*/ 2147483647 h 29"/>
              <a:gd name="T6" fmla="*/ 2147483647 w 72"/>
              <a:gd name="T7" fmla="*/ 2147483647 h 29"/>
              <a:gd name="T8" fmla="*/ 2147483647 w 72"/>
              <a:gd name="T9" fmla="*/ 2147483647 h 29"/>
              <a:gd name="T10" fmla="*/ 2147483647 w 72"/>
              <a:gd name="T11" fmla="*/ 2147483647 h 29"/>
              <a:gd name="T12" fmla="*/ 2147483647 w 72"/>
              <a:gd name="T13" fmla="*/ 2147483647 h 29"/>
              <a:gd name="T14" fmla="*/ 2147483647 w 72"/>
              <a:gd name="T15" fmla="*/ 2147483647 h 29"/>
              <a:gd name="T16" fmla="*/ 2147483647 w 72"/>
              <a:gd name="T17" fmla="*/ 2147483647 h 29"/>
              <a:gd name="T18" fmla="*/ 2147483647 w 72"/>
              <a:gd name="T19" fmla="*/ 0 h 29"/>
              <a:gd name="T20" fmla="*/ 2147483647 w 72"/>
              <a:gd name="T21" fmla="*/ 0 h 29"/>
              <a:gd name="T22" fmla="*/ 2147483647 w 72"/>
              <a:gd name="T23" fmla="*/ 2147483647 h 29"/>
              <a:gd name="T24" fmla="*/ 2147483647 w 72"/>
              <a:gd name="T25" fmla="*/ 2147483647 h 29"/>
              <a:gd name="T26" fmla="*/ 2147483647 w 72"/>
              <a:gd name="T27" fmla="*/ 2147483647 h 29"/>
              <a:gd name="T28" fmla="*/ 2147483647 w 72"/>
              <a:gd name="T29" fmla="*/ 2147483647 h 29"/>
              <a:gd name="T30" fmla="*/ 0 w 72"/>
              <a:gd name="T31" fmla="*/ 2147483647 h 29"/>
              <a:gd name="T32" fmla="*/ 2147483647 w 72"/>
              <a:gd name="T33" fmla="*/ 2147483647 h 29"/>
              <a:gd name="T34" fmla="*/ 2147483647 w 72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5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316653" y="4849440"/>
            <a:ext cx="19050" cy="55563"/>
          </a:xfrm>
          <a:custGeom>
            <a:avLst/>
            <a:gdLst>
              <a:gd name="T0" fmla="*/ 0 w 46"/>
              <a:gd name="T1" fmla="*/ 0 h 37"/>
              <a:gd name="T2" fmla="*/ 2147483647 w 46"/>
              <a:gd name="T3" fmla="*/ 2147483647 h 37"/>
              <a:gd name="T4" fmla="*/ 2147483647 w 46"/>
              <a:gd name="T5" fmla="*/ 2147483647 h 37"/>
              <a:gd name="T6" fmla="*/ 2147483647 w 46"/>
              <a:gd name="T7" fmla="*/ 2147483647 h 37"/>
              <a:gd name="T8" fmla="*/ 2147483647 w 46"/>
              <a:gd name="T9" fmla="*/ 2147483647 h 37"/>
              <a:gd name="T10" fmla="*/ 2147483647 w 46"/>
              <a:gd name="T11" fmla="*/ 2147483647 h 37"/>
              <a:gd name="T12" fmla="*/ 2147483647 w 46"/>
              <a:gd name="T13" fmla="*/ 2147483647 h 37"/>
              <a:gd name="T14" fmla="*/ 2147483647 w 46"/>
              <a:gd name="T15" fmla="*/ 2147483647 h 37"/>
              <a:gd name="T16" fmla="*/ 2147483647 w 46"/>
              <a:gd name="T17" fmla="*/ 2147483647 h 37"/>
              <a:gd name="T18" fmla="*/ 2147483647 w 46"/>
              <a:gd name="T19" fmla="*/ 2147483647 h 37"/>
              <a:gd name="T20" fmla="*/ 2147483647 w 46"/>
              <a:gd name="T21" fmla="*/ 2147483647 h 37"/>
              <a:gd name="T22" fmla="*/ 2147483647 w 46"/>
              <a:gd name="T23" fmla="*/ 2147483647 h 37"/>
              <a:gd name="T24" fmla="*/ 2147483647 w 46"/>
              <a:gd name="T25" fmla="*/ 2147483647 h 37"/>
              <a:gd name="T26" fmla="*/ 2147483647 w 46"/>
              <a:gd name="T27" fmla="*/ 2147483647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6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429365" y="4668465"/>
            <a:ext cx="11113" cy="57150"/>
          </a:xfrm>
          <a:custGeom>
            <a:avLst/>
            <a:gdLst>
              <a:gd name="T0" fmla="*/ 0 w 26"/>
              <a:gd name="T1" fmla="*/ 0 h 19"/>
              <a:gd name="T2" fmla="*/ 2147483647 w 26"/>
              <a:gd name="T3" fmla="*/ 2147483647 h 19"/>
              <a:gd name="T4" fmla="*/ 2147483647 w 26"/>
              <a:gd name="T5" fmla="*/ 2147483647 h 19"/>
              <a:gd name="T6" fmla="*/ 2147483647 w 26"/>
              <a:gd name="T7" fmla="*/ 0 h 19"/>
              <a:gd name="T8" fmla="*/ 2147483647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7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289665" y="4663703"/>
            <a:ext cx="19050" cy="58737"/>
          </a:xfrm>
          <a:custGeom>
            <a:avLst/>
            <a:gdLst>
              <a:gd name="T0" fmla="*/ 2147483647 w 43"/>
              <a:gd name="T1" fmla="*/ 0 h 31"/>
              <a:gd name="T2" fmla="*/ 2147483647 w 43"/>
              <a:gd name="T3" fmla="*/ 2147483647 h 31"/>
              <a:gd name="T4" fmla="*/ 0 w 43"/>
              <a:gd name="T5" fmla="*/ 2147483647 h 31"/>
              <a:gd name="T6" fmla="*/ 0 w 43"/>
              <a:gd name="T7" fmla="*/ 2147483647 h 31"/>
              <a:gd name="T8" fmla="*/ 0 w 43"/>
              <a:gd name="T9" fmla="*/ 2147483647 h 31"/>
              <a:gd name="T10" fmla="*/ 0 w 43"/>
              <a:gd name="T11" fmla="*/ 2147483647 h 31"/>
              <a:gd name="T12" fmla="*/ 2147483647 w 43"/>
              <a:gd name="T13" fmla="*/ 2147483647 h 31"/>
              <a:gd name="T14" fmla="*/ 2147483647 w 43"/>
              <a:gd name="T15" fmla="*/ 2147483647 h 31"/>
              <a:gd name="T16" fmla="*/ 2147483647 w 43"/>
              <a:gd name="T17" fmla="*/ 2147483647 h 31"/>
              <a:gd name="T18" fmla="*/ 2147483647 w 43"/>
              <a:gd name="T19" fmla="*/ 2147483647 h 31"/>
              <a:gd name="T20" fmla="*/ 2147483647 w 43"/>
              <a:gd name="T21" fmla="*/ 0 h 31"/>
              <a:gd name="T22" fmla="*/ 2147483647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8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334115" y="4711328"/>
            <a:ext cx="30163" cy="57150"/>
          </a:xfrm>
          <a:custGeom>
            <a:avLst/>
            <a:gdLst>
              <a:gd name="T0" fmla="*/ 2147483647 w 71"/>
              <a:gd name="T1" fmla="*/ 2147483647 h 49"/>
              <a:gd name="T2" fmla="*/ 2147483647 w 71"/>
              <a:gd name="T3" fmla="*/ 2147483647 h 49"/>
              <a:gd name="T4" fmla="*/ 2147483647 w 71"/>
              <a:gd name="T5" fmla="*/ 2147483647 h 49"/>
              <a:gd name="T6" fmla="*/ 2147483647 w 71"/>
              <a:gd name="T7" fmla="*/ 2147483647 h 49"/>
              <a:gd name="T8" fmla="*/ 2147483647 w 71"/>
              <a:gd name="T9" fmla="*/ 2147483647 h 49"/>
              <a:gd name="T10" fmla="*/ 2147483647 w 71"/>
              <a:gd name="T11" fmla="*/ 2147483647 h 49"/>
              <a:gd name="T12" fmla="*/ 2147483647 w 71"/>
              <a:gd name="T13" fmla="*/ 2147483647 h 49"/>
              <a:gd name="T14" fmla="*/ 2147483647 w 71"/>
              <a:gd name="T15" fmla="*/ 2147483647 h 49"/>
              <a:gd name="T16" fmla="*/ 2147483647 w 71"/>
              <a:gd name="T17" fmla="*/ 2147483647 h 49"/>
              <a:gd name="T18" fmla="*/ 2147483647 w 71"/>
              <a:gd name="T19" fmla="*/ 2147483647 h 49"/>
              <a:gd name="T20" fmla="*/ 2147483647 w 71"/>
              <a:gd name="T21" fmla="*/ 2147483647 h 49"/>
              <a:gd name="T22" fmla="*/ 2147483647 w 71"/>
              <a:gd name="T23" fmla="*/ 2147483647 h 49"/>
              <a:gd name="T24" fmla="*/ 2147483647 w 71"/>
              <a:gd name="T25" fmla="*/ 2147483647 h 49"/>
              <a:gd name="T26" fmla="*/ 2147483647 w 71"/>
              <a:gd name="T27" fmla="*/ 2147483647 h 49"/>
              <a:gd name="T28" fmla="*/ 2147483647 w 71"/>
              <a:gd name="T29" fmla="*/ 2147483647 h 49"/>
              <a:gd name="T30" fmla="*/ 2147483647 w 71"/>
              <a:gd name="T31" fmla="*/ 2147483647 h 49"/>
              <a:gd name="T32" fmla="*/ 2147483647 w 71"/>
              <a:gd name="T33" fmla="*/ 2147483647 h 49"/>
              <a:gd name="T34" fmla="*/ 2147483647 w 71"/>
              <a:gd name="T35" fmla="*/ 2147483647 h 49"/>
              <a:gd name="T36" fmla="*/ 2147483647 w 71"/>
              <a:gd name="T37" fmla="*/ 2147483647 h 49"/>
              <a:gd name="T38" fmla="*/ 2147483647 w 71"/>
              <a:gd name="T39" fmla="*/ 2147483647 h 49"/>
              <a:gd name="T40" fmla="*/ 2147483647 w 71"/>
              <a:gd name="T41" fmla="*/ 2147483647 h 49"/>
              <a:gd name="T42" fmla="*/ 2147483647 w 71"/>
              <a:gd name="T43" fmla="*/ 2147483647 h 49"/>
              <a:gd name="T44" fmla="*/ 2147483647 w 71"/>
              <a:gd name="T45" fmla="*/ 0 h 49"/>
              <a:gd name="T46" fmla="*/ 2147483647 w 71"/>
              <a:gd name="T47" fmla="*/ 2147483647 h 49"/>
              <a:gd name="T48" fmla="*/ 2147483647 w 71"/>
              <a:gd name="T49" fmla="*/ 2147483647 h 49"/>
              <a:gd name="T50" fmla="*/ 0 w 71"/>
              <a:gd name="T51" fmla="*/ 2147483647 h 49"/>
              <a:gd name="T52" fmla="*/ 0 w 71"/>
              <a:gd name="T53" fmla="*/ 2147483647 h 49"/>
              <a:gd name="T54" fmla="*/ 2147483647 w 71"/>
              <a:gd name="T55" fmla="*/ 2147483647 h 49"/>
              <a:gd name="T56" fmla="*/ 2147483647 w 71"/>
              <a:gd name="T57" fmla="*/ 2147483647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69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135678" y="4914528"/>
            <a:ext cx="46037" cy="58737"/>
          </a:xfrm>
          <a:custGeom>
            <a:avLst/>
            <a:gdLst>
              <a:gd name="T0" fmla="*/ 2147483647 w 112"/>
              <a:gd name="T1" fmla="*/ 2147483647 h 26"/>
              <a:gd name="T2" fmla="*/ 2147483647 w 112"/>
              <a:gd name="T3" fmla="*/ 2147483647 h 26"/>
              <a:gd name="T4" fmla="*/ 2147483647 w 112"/>
              <a:gd name="T5" fmla="*/ 2147483647 h 26"/>
              <a:gd name="T6" fmla="*/ 2147483647 w 112"/>
              <a:gd name="T7" fmla="*/ 2147483647 h 26"/>
              <a:gd name="T8" fmla="*/ 2147483647 w 112"/>
              <a:gd name="T9" fmla="*/ 2147483647 h 26"/>
              <a:gd name="T10" fmla="*/ 2147483647 w 112"/>
              <a:gd name="T11" fmla="*/ 2147483647 h 26"/>
              <a:gd name="T12" fmla="*/ 2147483647 w 112"/>
              <a:gd name="T13" fmla="*/ 2147483647 h 26"/>
              <a:gd name="T14" fmla="*/ 2147483647 w 112"/>
              <a:gd name="T15" fmla="*/ 2147483647 h 26"/>
              <a:gd name="T16" fmla="*/ 2147483647 w 112"/>
              <a:gd name="T17" fmla="*/ 2147483647 h 26"/>
              <a:gd name="T18" fmla="*/ 2147483647 w 112"/>
              <a:gd name="T19" fmla="*/ 2147483647 h 26"/>
              <a:gd name="T20" fmla="*/ 2147483647 w 112"/>
              <a:gd name="T21" fmla="*/ 2147483647 h 26"/>
              <a:gd name="T22" fmla="*/ 2147483647 w 112"/>
              <a:gd name="T23" fmla="*/ 2147483647 h 26"/>
              <a:gd name="T24" fmla="*/ 2147483647 w 112"/>
              <a:gd name="T25" fmla="*/ 2147483647 h 26"/>
              <a:gd name="T26" fmla="*/ 2147483647 w 112"/>
              <a:gd name="T27" fmla="*/ 2147483647 h 26"/>
              <a:gd name="T28" fmla="*/ 2147483647 w 112"/>
              <a:gd name="T29" fmla="*/ 2147483647 h 26"/>
              <a:gd name="T30" fmla="*/ 2147483647 w 112"/>
              <a:gd name="T31" fmla="*/ 2147483647 h 26"/>
              <a:gd name="T32" fmla="*/ 2147483647 w 112"/>
              <a:gd name="T33" fmla="*/ 2147483647 h 26"/>
              <a:gd name="T34" fmla="*/ 2147483647 w 112"/>
              <a:gd name="T35" fmla="*/ 2147483647 h 26"/>
              <a:gd name="T36" fmla="*/ 0 w 112"/>
              <a:gd name="T37" fmla="*/ 2147483647 h 26"/>
              <a:gd name="T38" fmla="*/ 2147483647 w 112"/>
              <a:gd name="T39" fmla="*/ 2147483647 h 26"/>
              <a:gd name="T40" fmla="*/ 2147483647 w 112"/>
              <a:gd name="T41" fmla="*/ 2147483647 h 26"/>
              <a:gd name="T42" fmla="*/ 2147483647 w 112"/>
              <a:gd name="T43" fmla="*/ 2147483647 h 26"/>
              <a:gd name="T44" fmla="*/ 2147483647 w 112"/>
              <a:gd name="T45" fmla="*/ 0 h 26"/>
              <a:gd name="T46" fmla="*/ 2147483647 w 112"/>
              <a:gd name="T47" fmla="*/ 2147483647 h 26"/>
              <a:gd name="T48" fmla="*/ 2147483647 w 112"/>
              <a:gd name="T49" fmla="*/ 2147483647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0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234103" y="4952628"/>
            <a:ext cx="14287" cy="58737"/>
          </a:xfrm>
          <a:custGeom>
            <a:avLst/>
            <a:gdLst>
              <a:gd name="T0" fmla="*/ 0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2147483647 w 41"/>
              <a:gd name="T9" fmla="*/ 2147483647 h 25"/>
              <a:gd name="T10" fmla="*/ 0 w 41"/>
              <a:gd name="T11" fmla="*/ 214748364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1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7067415" y="4884365"/>
            <a:ext cx="36513" cy="55563"/>
          </a:xfrm>
          <a:custGeom>
            <a:avLst/>
            <a:gdLst>
              <a:gd name="T0" fmla="*/ 0 w 81"/>
              <a:gd name="T1" fmla="*/ 2147483647 h 31"/>
              <a:gd name="T2" fmla="*/ 0 w 81"/>
              <a:gd name="T3" fmla="*/ 2147483647 h 31"/>
              <a:gd name="T4" fmla="*/ 0 w 81"/>
              <a:gd name="T5" fmla="*/ 2147483647 h 31"/>
              <a:gd name="T6" fmla="*/ 0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2147483647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2147483647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0 w 81"/>
              <a:gd name="T47" fmla="*/ 2147483647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2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7111865" y="4870078"/>
            <a:ext cx="39688" cy="55562"/>
          </a:xfrm>
          <a:custGeom>
            <a:avLst/>
            <a:gdLst>
              <a:gd name="T0" fmla="*/ 2147483647 w 89"/>
              <a:gd name="T1" fmla="*/ 2147483647 h 49"/>
              <a:gd name="T2" fmla="*/ 2147483647 w 89"/>
              <a:gd name="T3" fmla="*/ 2147483647 h 49"/>
              <a:gd name="T4" fmla="*/ 2147483647 w 89"/>
              <a:gd name="T5" fmla="*/ 2147483647 h 49"/>
              <a:gd name="T6" fmla="*/ 2147483647 w 89"/>
              <a:gd name="T7" fmla="*/ 2147483647 h 49"/>
              <a:gd name="T8" fmla="*/ 2147483647 w 89"/>
              <a:gd name="T9" fmla="*/ 2147483647 h 49"/>
              <a:gd name="T10" fmla="*/ 2147483647 w 89"/>
              <a:gd name="T11" fmla="*/ 2147483647 h 49"/>
              <a:gd name="T12" fmla="*/ 2147483647 w 89"/>
              <a:gd name="T13" fmla="*/ 2147483647 h 49"/>
              <a:gd name="T14" fmla="*/ 2147483647 w 89"/>
              <a:gd name="T15" fmla="*/ 2147483647 h 49"/>
              <a:gd name="T16" fmla="*/ 2147483647 w 89"/>
              <a:gd name="T17" fmla="*/ 2147483647 h 49"/>
              <a:gd name="T18" fmla="*/ 2147483647 w 89"/>
              <a:gd name="T19" fmla="*/ 0 h 49"/>
              <a:gd name="T20" fmla="*/ 2147483647 w 89"/>
              <a:gd name="T21" fmla="*/ 2147483647 h 49"/>
              <a:gd name="T22" fmla="*/ 2147483647 w 89"/>
              <a:gd name="T23" fmla="*/ 2147483647 h 49"/>
              <a:gd name="T24" fmla="*/ 0 w 89"/>
              <a:gd name="T25" fmla="*/ 2147483647 h 49"/>
              <a:gd name="T26" fmla="*/ 0 w 89"/>
              <a:gd name="T27" fmla="*/ 2147483647 h 49"/>
              <a:gd name="T28" fmla="*/ 0 w 89"/>
              <a:gd name="T29" fmla="*/ 2147483647 h 49"/>
              <a:gd name="T30" fmla="*/ 2147483647 w 89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3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164253" y="4879603"/>
            <a:ext cx="36512" cy="58737"/>
          </a:xfrm>
          <a:custGeom>
            <a:avLst/>
            <a:gdLst>
              <a:gd name="T0" fmla="*/ 0 w 86"/>
              <a:gd name="T1" fmla="*/ 2147483647 h 46"/>
              <a:gd name="T2" fmla="*/ 2147483647 w 86"/>
              <a:gd name="T3" fmla="*/ 2147483647 h 46"/>
              <a:gd name="T4" fmla="*/ 2147483647 w 86"/>
              <a:gd name="T5" fmla="*/ 2147483647 h 46"/>
              <a:gd name="T6" fmla="*/ 2147483647 w 86"/>
              <a:gd name="T7" fmla="*/ 2147483647 h 46"/>
              <a:gd name="T8" fmla="*/ 2147483647 w 86"/>
              <a:gd name="T9" fmla="*/ 2147483647 h 46"/>
              <a:gd name="T10" fmla="*/ 2147483647 w 86"/>
              <a:gd name="T11" fmla="*/ 2147483647 h 46"/>
              <a:gd name="T12" fmla="*/ 2147483647 w 86"/>
              <a:gd name="T13" fmla="*/ 2147483647 h 46"/>
              <a:gd name="T14" fmla="*/ 2147483647 w 86"/>
              <a:gd name="T15" fmla="*/ 2147483647 h 46"/>
              <a:gd name="T16" fmla="*/ 2147483647 w 86"/>
              <a:gd name="T17" fmla="*/ 2147483647 h 46"/>
              <a:gd name="T18" fmla="*/ 2147483647 w 86"/>
              <a:gd name="T19" fmla="*/ 2147483647 h 46"/>
              <a:gd name="T20" fmla="*/ 2147483647 w 86"/>
              <a:gd name="T21" fmla="*/ 2147483647 h 46"/>
              <a:gd name="T22" fmla="*/ 2147483647 w 86"/>
              <a:gd name="T23" fmla="*/ 2147483647 h 46"/>
              <a:gd name="T24" fmla="*/ 2147483647 w 86"/>
              <a:gd name="T25" fmla="*/ 2147483647 h 46"/>
              <a:gd name="T26" fmla="*/ 2147483647 w 86"/>
              <a:gd name="T27" fmla="*/ 2147483647 h 46"/>
              <a:gd name="T28" fmla="*/ 2147483647 w 86"/>
              <a:gd name="T29" fmla="*/ 2147483647 h 46"/>
              <a:gd name="T30" fmla="*/ 2147483647 w 86"/>
              <a:gd name="T31" fmla="*/ 2147483647 h 46"/>
              <a:gd name="T32" fmla="*/ 2147483647 w 86"/>
              <a:gd name="T33" fmla="*/ 2147483647 h 46"/>
              <a:gd name="T34" fmla="*/ 2147483647 w 86"/>
              <a:gd name="T35" fmla="*/ 2147483647 h 46"/>
              <a:gd name="T36" fmla="*/ 2147483647 w 86"/>
              <a:gd name="T37" fmla="*/ 2147483647 h 46"/>
              <a:gd name="T38" fmla="*/ 2147483647 w 86"/>
              <a:gd name="T39" fmla="*/ 2147483647 h 46"/>
              <a:gd name="T40" fmla="*/ 2147483647 w 86"/>
              <a:gd name="T41" fmla="*/ 2147483647 h 46"/>
              <a:gd name="T42" fmla="*/ 2147483647 w 86"/>
              <a:gd name="T43" fmla="*/ 0 h 46"/>
              <a:gd name="T44" fmla="*/ 2147483647 w 86"/>
              <a:gd name="T45" fmla="*/ 0 h 46"/>
              <a:gd name="T46" fmla="*/ 2147483647 w 86"/>
              <a:gd name="T47" fmla="*/ 2147483647 h 46"/>
              <a:gd name="T48" fmla="*/ 2147483647 w 86"/>
              <a:gd name="T49" fmla="*/ 2147483647 h 46"/>
              <a:gd name="T50" fmla="*/ 2147483647 w 86"/>
              <a:gd name="T51" fmla="*/ 2147483647 h 46"/>
              <a:gd name="T52" fmla="*/ 2147483647 w 86"/>
              <a:gd name="T53" fmla="*/ 2147483647 h 46"/>
              <a:gd name="T54" fmla="*/ 2147483647 w 86"/>
              <a:gd name="T55" fmla="*/ 2147483647 h 46"/>
              <a:gd name="T56" fmla="*/ 0 w 86"/>
              <a:gd name="T57" fmla="*/ 2147483647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4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216640" y="488436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2147483647 h 18"/>
              <a:gd name="T4" fmla="*/ 2147483647 w 59"/>
              <a:gd name="T5" fmla="*/ 2147483647 h 18"/>
              <a:gd name="T6" fmla="*/ 2147483647 w 59"/>
              <a:gd name="T7" fmla="*/ 2147483647 h 18"/>
              <a:gd name="T8" fmla="*/ 2147483647 w 59"/>
              <a:gd name="T9" fmla="*/ 2147483647 h 18"/>
              <a:gd name="T10" fmla="*/ 2147483647 w 59"/>
              <a:gd name="T11" fmla="*/ 2147483647 h 18"/>
              <a:gd name="T12" fmla="*/ 2147483647 w 59"/>
              <a:gd name="T13" fmla="*/ 2147483647 h 18"/>
              <a:gd name="T14" fmla="*/ 2147483647 w 59"/>
              <a:gd name="T15" fmla="*/ 2147483647 h 18"/>
              <a:gd name="T16" fmla="*/ 2147483647 w 59"/>
              <a:gd name="T17" fmla="*/ 2147483647 h 18"/>
              <a:gd name="T18" fmla="*/ 2147483647 w 59"/>
              <a:gd name="T19" fmla="*/ 2147483647 h 18"/>
              <a:gd name="T20" fmla="*/ 2147483647 w 59"/>
              <a:gd name="T21" fmla="*/ 21474836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5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289665" y="4876428"/>
            <a:ext cx="1588" cy="55562"/>
          </a:xfrm>
          <a:custGeom>
            <a:avLst/>
            <a:gdLst>
              <a:gd name="T0" fmla="*/ 2147483647 w 4"/>
              <a:gd name="T1" fmla="*/ 2147483647 h 19"/>
              <a:gd name="T2" fmla="*/ 2147483647 w 4"/>
              <a:gd name="T3" fmla="*/ 0 h 19"/>
              <a:gd name="T4" fmla="*/ 2147483647 w 4"/>
              <a:gd name="T5" fmla="*/ 2147483647 h 19"/>
              <a:gd name="T6" fmla="*/ 2147483647 w 4"/>
              <a:gd name="T7" fmla="*/ 2147483647 h 19"/>
              <a:gd name="T8" fmla="*/ 0 w 4"/>
              <a:gd name="T9" fmla="*/ 2147483647 h 19"/>
              <a:gd name="T10" fmla="*/ 0 w 4"/>
              <a:gd name="T11" fmla="*/ 2147483647 h 19"/>
              <a:gd name="T12" fmla="*/ 0 w 4"/>
              <a:gd name="T13" fmla="*/ 2147483647 h 19"/>
              <a:gd name="T14" fmla="*/ 2147483647 w 4"/>
              <a:gd name="T15" fmla="*/ 2147483647 h 19"/>
              <a:gd name="T16" fmla="*/ 2147483647 w 4"/>
              <a:gd name="T17" fmla="*/ 2147483647 h 19"/>
              <a:gd name="T18" fmla="*/ 2147483647 w 4"/>
              <a:gd name="T19" fmla="*/ 2147483647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6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864215" y="4690690"/>
            <a:ext cx="20638" cy="58738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0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2147483647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0 w 46"/>
              <a:gd name="T23" fmla="*/ 2147483647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7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810240" y="4663703"/>
            <a:ext cx="30163" cy="58737"/>
          </a:xfrm>
          <a:custGeom>
            <a:avLst/>
            <a:gdLst>
              <a:gd name="T0" fmla="*/ 0 w 66"/>
              <a:gd name="T1" fmla="*/ 0 h 80"/>
              <a:gd name="T2" fmla="*/ 2147483647 w 66"/>
              <a:gd name="T3" fmla="*/ 0 h 80"/>
              <a:gd name="T4" fmla="*/ 2147483647 w 66"/>
              <a:gd name="T5" fmla="*/ 0 h 80"/>
              <a:gd name="T6" fmla="*/ 2147483647 w 66"/>
              <a:gd name="T7" fmla="*/ 0 h 80"/>
              <a:gd name="T8" fmla="*/ 2147483647 w 66"/>
              <a:gd name="T9" fmla="*/ 0 h 80"/>
              <a:gd name="T10" fmla="*/ 2147483647 w 66"/>
              <a:gd name="T11" fmla="*/ 2147483647 h 80"/>
              <a:gd name="T12" fmla="*/ 2147483647 w 66"/>
              <a:gd name="T13" fmla="*/ 2147483647 h 80"/>
              <a:gd name="T14" fmla="*/ 2147483647 w 66"/>
              <a:gd name="T15" fmla="*/ 2147483647 h 80"/>
              <a:gd name="T16" fmla="*/ 2147483647 w 66"/>
              <a:gd name="T17" fmla="*/ 2147483647 h 80"/>
              <a:gd name="T18" fmla="*/ 2147483647 w 66"/>
              <a:gd name="T19" fmla="*/ 2147483647 h 80"/>
              <a:gd name="T20" fmla="*/ 2147483647 w 66"/>
              <a:gd name="T21" fmla="*/ 2147483647 h 80"/>
              <a:gd name="T22" fmla="*/ 2147483647 w 66"/>
              <a:gd name="T23" fmla="*/ 2147483647 h 80"/>
              <a:gd name="T24" fmla="*/ 2147483647 w 66"/>
              <a:gd name="T25" fmla="*/ 2147483647 h 80"/>
              <a:gd name="T26" fmla="*/ 2147483647 w 66"/>
              <a:gd name="T27" fmla="*/ 2147483647 h 80"/>
              <a:gd name="T28" fmla="*/ 2147483647 w 66"/>
              <a:gd name="T29" fmla="*/ 2147483647 h 80"/>
              <a:gd name="T30" fmla="*/ 2147483647 w 66"/>
              <a:gd name="T31" fmla="*/ 2147483647 h 80"/>
              <a:gd name="T32" fmla="*/ 2147483647 w 66"/>
              <a:gd name="T33" fmla="*/ 2147483647 h 80"/>
              <a:gd name="T34" fmla="*/ 0 w 66"/>
              <a:gd name="T35" fmla="*/ 2147483647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8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645140" y="4647828"/>
            <a:ext cx="7938" cy="57150"/>
          </a:xfrm>
          <a:custGeom>
            <a:avLst/>
            <a:gdLst>
              <a:gd name="T0" fmla="*/ 2147483647 w 20"/>
              <a:gd name="T1" fmla="*/ 2147483647 h 48"/>
              <a:gd name="T2" fmla="*/ 2147483647 w 20"/>
              <a:gd name="T3" fmla="*/ 2147483647 h 48"/>
              <a:gd name="T4" fmla="*/ 2147483647 w 20"/>
              <a:gd name="T5" fmla="*/ 2147483647 h 48"/>
              <a:gd name="T6" fmla="*/ 2147483647 w 20"/>
              <a:gd name="T7" fmla="*/ 2147483647 h 48"/>
              <a:gd name="T8" fmla="*/ 2147483647 w 20"/>
              <a:gd name="T9" fmla="*/ 2147483647 h 48"/>
              <a:gd name="T10" fmla="*/ 2147483647 w 20"/>
              <a:gd name="T11" fmla="*/ 2147483647 h 48"/>
              <a:gd name="T12" fmla="*/ 2147483647 w 20"/>
              <a:gd name="T13" fmla="*/ 2147483647 h 48"/>
              <a:gd name="T14" fmla="*/ 2147483647 w 20"/>
              <a:gd name="T15" fmla="*/ 2147483647 h 48"/>
              <a:gd name="T16" fmla="*/ 0 w 20"/>
              <a:gd name="T17" fmla="*/ 0 h 48"/>
              <a:gd name="T18" fmla="*/ 0 w 20"/>
              <a:gd name="T19" fmla="*/ 2147483647 h 48"/>
              <a:gd name="T20" fmla="*/ 2147483647 w 20"/>
              <a:gd name="T21" fmla="*/ 2147483647 h 48"/>
              <a:gd name="T22" fmla="*/ 2147483647 w 20"/>
              <a:gd name="T23" fmla="*/ 2147483647 h 48"/>
              <a:gd name="T24" fmla="*/ 2147483647 w 20"/>
              <a:gd name="T25" fmla="*/ 2147483647 h 48"/>
              <a:gd name="T26" fmla="*/ 2147483647 w 20"/>
              <a:gd name="T27" fmla="*/ 2147483647 h 48"/>
              <a:gd name="T28" fmla="*/ 2147483647 w 20"/>
              <a:gd name="T29" fmla="*/ 2147483647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79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670540" y="468434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  <p:sp>
        <p:nvSpPr>
          <p:cNvPr id="2280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667365" y="4684340"/>
            <a:ext cx="7938" cy="5715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2147483647 h 12"/>
              <a:gd name="T10" fmla="*/ 2147483647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1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568940" y="4528765"/>
            <a:ext cx="22225" cy="57150"/>
          </a:xfrm>
          <a:custGeom>
            <a:avLst/>
            <a:gdLst>
              <a:gd name="T0" fmla="*/ 2147483647 w 53"/>
              <a:gd name="T1" fmla="*/ 0 h 30"/>
              <a:gd name="T2" fmla="*/ 2147483647 w 53"/>
              <a:gd name="T3" fmla="*/ 2147483647 h 30"/>
              <a:gd name="T4" fmla="*/ 2147483647 w 53"/>
              <a:gd name="T5" fmla="*/ 2147483647 h 30"/>
              <a:gd name="T6" fmla="*/ 2147483647 w 53"/>
              <a:gd name="T7" fmla="*/ 2147483647 h 30"/>
              <a:gd name="T8" fmla="*/ 2147483647 w 53"/>
              <a:gd name="T9" fmla="*/ 2147483647 h 30"/>
              <a:gd name="T10" fmla="*/ 2147483647 w 53"/>
              <a:gd name="T11" fmla="*/ 2147483647 h 30"/>
              <a:gd name="T12" fmla="*/ 2147483647 w 53"/>
              <a:gd name="T13" fmla="*/ 2147483647 h 30"/>
              <a:gd name="T14" fmla="*/ 2147483647 w 53"/>
              <a:gd name="T15" fmla="*/ 2147483647 h 30"/>
              <a:gd name="T16" fmla="*/ 2147483647 w 53"/>
              <a:gd name="T17" fmla="*/ 2147483647 h 30"/>
              <a:gd name="T18" fmla="*/ 2147483647 w 53"/>
              <a:gd name="T19" fmla="*/ 2147483647 h 30"/>
              <a:gd name="T20" fmla="*/ 2147483647 w 53"/>
              <a:gd name="T21" fmla="*/ 2147483647 h 30"/>
              <a:gd name="T22" fmla="*/ 2147483647 w 53"/>
              <a:gd name="T23" fmla="*/ 2147483647 h 30"/>
              <a:gd name="T24" fmla="*/ 0 w 53"/>
              <a:gd name="T25" fmla="*/ 2147483647 h 30"/>
              <a:gd name="T26" fmla="*/ 2147483647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2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7097578" y="4892303"/>
            <a:ext cx="11112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0 h 31"/>
              <a:gd name="T12" fmla="*/ 2147483647 w 33"/>
              <a:gd name="T13" fmla="*/ 0 h 31"/>
              <a:gd name="T14" fmla="*/ 2147483647 w 33"/>
              <a:gd name="T15" fmla="*/ 0 h 31"/>
              <a:gd name="T16" fmla="*/ 2147483647 w 33"/>
              <a:gd name="T17" fmla="*/ 0 h 31"/>
              <a:gd name="T18" fmla="*/ 0 w 33"/>
              <a:gd name="T19" fmla="*/ 0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3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613515" y="4849440"/>
            <a:ext cx="28575" cy="55563"/>
          </a:xfrm>
          <a:custGeom>
            <a:avLst/>
            <a:gdLst>
              <a:gd name="T0" fmla="*/ 2147483647 w 65"/>
              <a:gd name="T1" fmla="*/ 2147483647 h 68"/>
              <a:gd name="T2" fmla="*/ 2147483647 w 65"/>
              <a:gd name="T3" fmla="*/ 2147483647 h 68"/>
              <a:gd name="T4" fmla="*/ 2147483647 w 65"/>
              <a:gd name="T5" fmla="*/ 2147483647 h 68"/>
              <a:gd name="T6" fmla="*/ 2147483647 w 65"/>
              <a:gd name="T7" fmla="*/ 2147483647 h 68"/>
              <a:gd name="T8" fmla="*/ 2147483647 w 65"/>
              <a:gd name="T9" fmla="*/ 2147483647 h 68"/>
              <a:gd name="T10" fmla="*/ 2147483647 w 65"/>
              <a:gd name="T11" fmla="*/ 2147483647 h 68"/>
              <a:gd name="T12" fmla="*/ 2147483647 w 65"/>
              <a:gd name="T13" fmla="*/ 2147483647 h 68"/>
              <a:gd name="T14" fmla="*/ 0 w 65"/>
              <a:gd name="T15" fmla="*/ 2147483647 h 68"/>
              <a:gd name="T16" fmla="*/ 0 w 65"/>
              <a:gd name="T17" fmla="*/ 2147483647 h 68"/>
              <a:gd name="T18" fmla="*/ 0 w 65"/>
              <a:gd name="T19" fmla="*/ 2147483647 h 68"/>
              <a:gd name="T20" fmla="*/ 2147483647 w 65"/>
              <a:gd name="T21" fmla="*/ 2147483647 h 68"/>
              <a:gd name="T22" fmla="*/ 2147483647 w 65"/>
              <a:gd name="T23" fmla="*/ 2147483647 h 68"/>
              <a:gd name="T24" fmla="*/ 2147483647 w 65"/>
              <a:gd name="T25" fmla="*/ 2147483647 h 68"/>
              <a:gd name="T26" fmla="*/ 2147483647 w 65"/>
              <a:gd name="T27" fmla="*/ 2147483647 h 68"/>
              <a:gd name="T28" fmla="*/ 2147483647 w 65"/>
              <a:gd name="T29" fmla="*/ 2147483647 h 68"/>
              <a:gd name="T30" fmla="*/ 2147483647 w 65"/>
              <a:gd name="T31" fmla="*/ 2147483647 h 68"/>
              <a:gd name="T32" fmla="*/ 2147483647 w 65"/>
              <a:gd name="T33" fmla="*/ 0 h 68"/>
              <a:gd name="T34" fmla="*/ 2147483647 w 65"/>
              <a:gd name="T35" fmla="*/ 0 h 68"/>
              <a:gd name="T36" fmla="*/ 2147483647 w 65"/>
              <a:gd name="T37" fmla="*/ 0 h 68"/>
              <a:gd name="T38" fmla="*/ 2147483647 w 65"/>
              <a:gd name="T39" fmla="*/ 2147483647 h 68"/>
              <a:gd name="T40" fmla="*/ 2147483647 w 65"/>
              <a:gd name="T41" fmla="*/ 2147483647 h 68"/>
              <a:gd name="T42" fmla="*/ 2147483647 w 65"/>
              <a:gd name="T43" fmla="*/ 2147483647 h 68"/>
              <a:gd name="T44" fmla="*/ 2147483647 w 65"/>
              <a:gd name="T45" fmla="*/ 2147483647 h 68"/>
              <a:gd name="T46" fmla="*/ 2147483647 w 65"/>
              <a:gd name="T47" fmla="*/ 2147483647 h 68"/>
              <a:gd name="T48" fmla="*/ 2147483647 w 65"/>
              <a:gd name="T49" fmla="*/ 2147483647 h 68"/>
              <a:gd name="T50" fmla="*/ 2147483647 w 65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4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551478" y="4431928"/>
            <a:ext cx="274637" cy="368300"/>
          </a:xfrm>
          <a:custGeom>
            <a:avLst/>
            <a:gdLst>
              <a:gd name="T0" fmla="*/ 2147483647 w 625"/>
              <a:gd name="T1" fmla="*/ 2147483647 h 694"/>
              <a:gd name="T2" fmla="*/ 2147483647 w 625"/>
              <a:gd name="T3" fmla="*/ 2147483647 h 694"/>
              <a:gd name="T4" fmla="*/ 2147483647 w 625"/>
              <a:gd name="T5" fmla="*/ 2147483647 h 694"/>
              <a:gd name="T6" fmla="*/ 2147483647 w 625"/>
              <a:gd name="T7" fmla="*/ 2147483647 h 694"/>
              <a:gd name="T8" fmla="*/ 2147483647 w 625"/>
              <a:gd name="T9" fmla="*/ 2147483647 h 694"/>
              <a:gd name="T10" fmla="*/ 2147483647 w 625"/>
              <a:gd name="T11" fmla="*/ 2147483647 h 694"/>
              <a:gd name="T12" fmla="*/ 2147483647 w 625"/>
              <a:gd name="T13" fmla="*/ 2147483647 h 694"/>
              <a:gd name="T14" fmla="*/ 2147483647 w 625"/>
              <a:gd name="T15" fmla="*/ 2147483647 h 694"/>
              <a:gd name="T16" fmla="*/ 2147483647 w 625"/>
              <a:gd name="T17" fmla="*/ 2147483647 h 694"/>
              <a:gd name="T18" fmla="*/ 2147483647 w 625"/>
              <a:gd name="T19" fmla="*/ 2147483647 h 694"/>
              <a:gd name="T20" fmla="*/ 2147483647 w 625"/>
              <a:gd name="T21" fmla="*/ 2147483647 h 694"/>
              <a:gd name="T22" fmla="*/ 2147483647 w 625"/>
              <a:gd name="T23" fmla="*/ 2147483647 h 694"/>
              <a:gd name="T24" fmla="*/ 2147483647 w 625"/>
              <a:gd name="T25" fmla="*/ 2147483647 h 694"/>
              <a:gd name="T26" fmla="*/ 2147483647 w 625"/>
              <a:gd name="T27" fmla="*/ 2147483647 h 694"/>
              <a:gd name="T28" fmla="*/ 2147483647 w 625"/>
              <a:gd name="T29" fmla="*/ 2147483647 h 694"/>
              <a:gd name="T30" fmla="*/ 2147483647 w 625"/>
              <a:gd name="T31" fmla="*/ 2147483647 h 694"/>
              <a:gd name="T32" fmla="*/ 2147483647 w 625"/>
              <a:gd name="T33" fmla="*/ 2147483647 h 694"/>
              <a:gd name="T34" fmla="*/ 2147483647 w 625"/>
              <a:gd name="T35" fmla="*/ 2147483647 h 694"/>
              <a:gd name="T36" fmla="*/ 2147483647 w 625"/>
              <a:gd name="T37" fmla="*/ 2147483647 h 694"/>
              <a:gd name="T38" fmla="*/ 2147483647 w 625"/>
              <a:gd name="T39" fmla="*/ 2147483647 h 694"/>
              <a:gd name="T40" fmla="*/ 2147483647 w 625"/>
              <a:gd name="T41" fmla="*/ 2147483647 h 694"/>
              <a:gd name="T42" fmla="*/ 2147483647 w 625"/>
              <a:gd name="T43" fmla="*/ 2147483647 h 694"/>
              <a:gd name="T44" fmla="*/ 2147483647 w 625"/>
              <a:gd name="T45" fmla="*/ 2147483647 h 694"/>
              <a:gd name="T46" fmla="*/ 2147483647 w 625"/>
              <a:gd name="T47" fmla="*/ 2147483647 h 694"/>
              <a:gd name="T48" fmla="*/ 2147483647 w 625"/>
              <a:gd name="T49" fmla="*/ 2147483647 h 694"/>
              <a:gd name="T50" fmla="*/ 2147483647 w 625"/>
              <a:gd name="T51" fmla="*/ 2147483647 h 694"/>
              <a:gd name="T52" fmla="*/ 2147483647 w 625"/>
              <a:gd name="T53" fmla="*/ 2147483647 h 694"/>
              <a:gd name="T54" fmla="*/ 2147483647 w 625"/>
              <a:gd name="T55" fmla="*/ 2147483647 h 694"/>
              <a:gd name="T56" fmla="*/ 2147483647 w 625"/>
              <a:gd name="T57" fmla="*/ 2147483647 h 694"/>
              <a:gd name="T58" fmla="*/ 2147483647 w 625"/>
              <a:gd name="T59" fmla="*/ 2147483647 h 694"/>
              <a:gd name="T60" fmla="*/ 2147483647 w 625"/>
              <a:gd name="T61" fmla="*/ 2147483647 h 694"/>
              <a:gd name="T62" fmla="*/ 2147483647 w 625"/>
              <a:gd name="T63" fmla="*/ 2147483647 h 694"/>
              <a:gd name="T64" fmla="*/ 2147483647 w 625"/>
              <a:gd name="T65" fmla="*/ 2147483647 h 694"/>
              <a:gd name="T66" fmla="*/ 2147483647 w 625"/>
              <a:gd name="T67" fmla="*/ 2147483647 h 694"/>
              <a:gd name="T68" fmla="*/ 2147483647 w 625"/>
              <a:gd name="T69" fmla="*/ 2147483647 h 694"/>
              <a:gd name="T70" fmla="*/ 2147483647 w 625"/>
              <a:gd name="T71" fmla="*/ 2147483647 h 694"/>
              <a:gd name="T72" fmla="*/ 2147483647 w 625"/>
              <a:gd name="T73" fmla="*/ 2147483647 h 694"/>
              <a:gd name="T74" fmla="*/ 2147483647 w 625"/>
              <a:gd name="T75" fmla="*/ 2147483647 h 694"/>
              <a:gd name="T76" fmla="*/ 2147483647 w 625"/>
              <a:gd name="T77" fmla="*/ 2147483647 h 694"/>
              <a:gd name="T78" fmla="*/ 2147483647 w 625"/>
              <a:gd name="T79" fmla="*/ 2147483647 h 694"/>
              <a:gd name="T80" fmla="*/ 2147483647 w 625"/>
              <a:gd name="T81" fmla="*/ 2147483647 h 694"/>
              <a:gd name="T82" fmla="*/ 2147483647 w 625"/>
              <a:gd name="T83" fmla="*/ 2147483647 h 694"/>
              <a:gd name="T84" fmla="*/ 2147483647 w 625"/>
              <a:gd name="T85" fmla="*/ 2147483647 h 694"/>
              <a:gd name="T86" fmla="*/ 2147483647 w 625"/>
              <a:gd name="T87" fmla="*/ 2147483647 h 694"/>
              <a:gd name="T88" fmla="*/ 2147483647 w 625"/>
              <a:gd name="T89" fmla="*/ 2147483647 h 694"/>
              <a:gd name="T90" fmla="*/ 2147483647 w 625"/>
              <a:gd name="T91" fmla="*/ 2147483647 h 694"/>
              <a:gd name="T92" fmla="*/ 2147483647 w 625"/>
              <a:gd name="T93" fmla="*/ 2147483647 h 694"/>
              <a:gd name="T94" fmla="*/ 2147483647 w 625"/>
              <a:gd name="T95" fmla="*/ 2147483647 h 694"/>
              <a:gd name="T96" fmla="*/ 2147483647 w 625"/>
              <a:gd name="T97" fmla="*/ 2147483647 h 694"/>
              <a:gd name="T98" fmla="*/ 2147483647 w 625"/>
              <a:gd name="T99" fmla="*/ 2147483647 h 694"/>
              <a:gd name="T100" fmla="*/ 2147483647 w 625"/>
              <a:gd name="T101" fmla="*/ 2147483647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5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892790" y="4481140"/>
            <a:ext cx="254000" cy="257175"/>
          </a:xfrm>
          <a:custGeom>
            <a:avLst/>
            <a:gdLst>
              <a:gd name="T0" fmla="*/ 2147483647 w 585"/>
              <a:gd name="T1" fmla="*/ 2147483647 h 493"/>
              <a:gd name="T2" fmla="*/ 2147483647 w 585"/>
              <a:gd name="T3" fmla="*/ 2147483647 h 493"/>
              <a:gd name="T4" fmla="*/ 2147483647 w 585"/>
              <a:gd name="T5" fmla="*/ 2147483647 h 493"/>
              <a:gd name="T6" fmla="*/ 2147483647 w 585"/>
              <a:gd name="T7" fmla="*/ 2147483647 h 493"/>
              <a:gd name="T8" fmla="*/ 2147483647 w 585"/>
              <a:gd name="T9" fmla="*/ 2147483647 h 493"/>
              <a:gd name="T10" fmla="*/ 2147483647 w 585"/>
              <a:gd name="T11" fmla="*/ 2147483647 h 493"/>
              <a:gd name="T12" fmla="*/ 2147483647 w 585"/>
              <a:gd name="T13" fmla="*/ 2147483647 h 493"/>
              <a:gd name="T14" fmla="*/ 2147483647 w 585"/>
              <a:gd name="T15" fmla="*/ 2147483647 h 493"/>
              <a:gd name="T16" fmla="*/ 2147483647 w 585"/>
              <a:gd name="T17" fmla="*/ 2147483647 h 493"/>
              <a:gd name="T18" fmla="*/ 2147483647 w 585"/>
              <a:gd name="T19" fmla="*/ 2147483647 h 493"/>
              <a:gd name="T20" fmla="*/ 2147483647 w 585"/>
              <a:gd name="T21" fmla="*/ 2147483647 h 493"/>
              <a:gd name="T22" fmla="*/ 2147483647 w 585"/>
              <a:gd name="T23" fmla="*/ 2147483647 h 493"/>
              <a:gd name="T24" fmla="*/ 2147483647 w 585"/>
              <a:gd name="T25" fmla="*/ 2147483647 h 493"/>
              <a:gd name="T26" fmla="*/ 2147483647 w 585"/>
              <a:gd name="T27" fmla="*/ 2147483647 h 493"/>
              <a:gd name="T28" fmla="*/ 2147483647 w 585"/>
              <a:gd name="T29" fmla="*/ 2147483647 h 493"/>
              <a:gd name="T30" fmla="*/ 2147483647 w 585"/>
              <a:gd name="T31" fmla="*/ 2147483647 h 493"/>
              <a:gd name="T32" fmla="*/ 2147483647 w 585"/>
              <a:gd name="T33" fmla="*/ 2147483647 h 493"/>
              <a:gd name="T34" fmla="*/ 2147483647 w 585"/>
              <a:gd name="T35" fmla="*/ 2147483647 h 493"/>
              <a:gd name="T36" fmla="*/ 2147483647 w 585"/>
              <a:gd name="T37" fmla="*/ 2147483647 h 493"/>
              <a:gd name="T38" fmla="*/ 2147483647 w 585"/>
              <a:gd name="T39" fmla="*/ 2147483647 h 493"/>
              <a:gd name="T40" fmla="*/ 2147483647 w 585"/>
              <a:gd name="T41" fmla="*/ 2147483647 h 493"/>
              <a:gd name="T42" fmla="*/ 2147483647 w 585"/>
              <a:gd name="T43" fmla="*/ 2147483647 h 493"/>
              <a:gd name="T44" fmla="*/ 2147483647 w 585"/>
              <a:gd name="T45" fmla="*/ 2147483647 h 493"/>
              <a:gd name="T46" fmla="*/ 2147483647 w 585"/>
              <a:gd name="T47" fmla="*/ 2147483647 h 493"/>
              <a:gd name="T48" fmla="*/ 2147483647 w 585"/>
              <a:gd name="T49" fmla="*/ 2147483647 h 493"/>
              <a:gd name="T50" fmla="*/ 2147483647 w 585"/>
              <a:gd name="T51" fmla="*/ 2147483647 h 493"/>
              <a:gd name="T52" fmla="*/ 2147483647 w 585"/>
              <a:gd name="T53" fmla="*/ 2147483647 h 493"/>
              <a:gd name="T54" fmla="*/ 2147483647 w 585"/>
              <a:gd name="T55" fmla="*/ 2147483647 h 493"/>
              <a:gd name="T56" fmla="*/ 2147483647 w 585"/>
              <a:gd name="T57" fmla="*/ 2147483647 h 493"/>
              <a:gd name="T58" fmla="*/ 2147483647 w 585"/>
              <a:gd name="T59" fmla="*/ 2147483647 h 493"/>
              <a:gd name="T60" fmla="*/ 2147483647 w 585"/>
              <a:gd name="T61" fmla="*/ 2147483647 h 493"/>
              <a:gd name="T62" fmla="*/ 2147483647 w 585"/>
              <a:gd name="T63" fmla="*/ 2147483647 h 493"/>
              <a:gd name="T64" fmla="*/ 2147483647 w 585"/>
              <a:gd name="T65" fmla="*/ 2147483647 h 493"/>
              <a:gd name="T66" fmla="*/ 2147483647 w 585"/>
              <a:gd name="T67" fmla="*/ 2147483647 h 493"/>
              <a:gd name="T68" fmla="*/ 2147483647 w 585"/>
              <a:gd name="T69" fmla="*/ 2147483647 h 493"/>
              <a:gd name="T70" fmla="*/ 2147483647 w 585"/>
              <a:gd name="T71" fmla="*/ 2147483647 h 493"/>
              <a:gd name="T72" fmla="*/ 2147483647 w 585"/>
              <a:gd name="T73" fmla="*/ 2147483647 h 493"/>
              <a:gd name="T74" fmla="*/ 2147483647 w 585"/>
              <a:gd name="T75" fmla="*/ 2147483647 h 493"/>
              <a:gd name="T76" fmla="*/ 2147483647 w 585"/>
              <a:gd name="T77" fmla="*/ 2147483647 h 493"/>
              <a:gd name="T78" fmla="*/ 2147483647 w 585"/>
              <a:gd name="T79" fmla="*/ 2147483647 h 493"/>
              <a:gd name="T80" fmla="*/ 2147483647 w 585"/>
              <a:gd name="T81" fmla="*/ 2147483647 h 493"/>
              <a:gd name="T82" fmla="*/ 2147483647 w 585"/>
              <a:gd name="T83" fmla="*/ 2147483647 h 493"/>
              <a:gd name="T84" fmla="*/ 2147483647 w 585"/>
              <a:gd name="T85" fmla="*/ 2147483647 h 493"/>
              <a:gd name="T86" fmla="*/ 2147483647 w 585"/>
              <a:gd name="T87" fmla="*/ 2147483647 h 493"/>
              <a:gd name="T88" fmla="*/ 2147483647 w 585"/>
              <a:gd name="T89" fmla="*/ 2147483647 h 493"/>
              <a:gd name="T90" fmla="*/ 2147483647 w 585"/>
              <a:gd name="T91" fmla="*/ 2147483647 h 493"/>
              <a:gd name="T92" fmla="*/ 2147483647 w 585"/>
              <a:gd name="T93" fmla="*/ 2147483647 h 493"/>
              <a:gd name="T94" fmla="*/ 2147483647 w 585"/>
              <a:gd name="T95" fmla="*/ 2147483647 h 493"/>
              <a:gd name="T96" fmla="*/ 2147483647 w 585"/>
              <a:gd name="T97" fmla="*/ 2147483647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6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248390" y="4887540"/>
            <a:ext cx="92075" cy="57150"/>
          </a:xfrm>
          <a:custGeom>
            <a:avLst/>
            <a:gdLst>
              <a:gd name="T0" fmla="*/ 0 w 212"/>
              <a:gd name="T1" fmla="*/ 2147483647 h 105"/>
              <a:gd name="T2" fmla="*/ 2147483647 w 212"/>
              <a:gd name="T3" fmla="*/ 2147483647 h 105"/>
              <a:gd name="T4" fmla="*/ 2147483647 w 212"/>
              <a:gd name="T5" fmla="*/ 2147483647 h 105"/>
              <a:gd name="T6" fmla="*/ 2147483647 w 212"/>
              <a:gd name="T7" fmla="*/ 2147483647 h 105"/>
              <a:gd name="T8" fmla="*/ 2147483647 w 212"/>
              <a:gd name="T9" fmla="*/ 2147483647 h 105"/>
              <a:gd name="T10" fmla="*/ 2147483647 w 212"/>
              <a:gd name="T11" fmla="*/ 2147483647 h 105"/>
              <a:gd name="T12" fmla="*/ 2147483647 w 212"/>
              <a:gd name="T13" fmla="*/ 2147483647 h 105"/>
              <a:gd name="T14" fmla="*/ 2147483647 w 212"/>
              <a:gd name="T15" fmla="*/ 2147483647 h 105"/>
              <a:gd name="T16" fmla="*/ 2147483647 w 212"/>
              <a:gd name="T17" fmla="*/ 2147483647 h 105"/>
              <a:gd name="T18" fmla="*/ 2147483647 w 212"/>
              <a:gd name="T19" fmla="*/ 2147483647 h 105"/>
              <a:gd name="T20" fmla="*/ 2147483647 w 212"/>
              <a:gd name="T21" fmla="*/ 2147483647 h 105"/>
              <a:gd name="T22" fmla="*/ 2147483647 w 212"/>
              <a:gd name="T23" fmla="*/ 2147483647 h 105"/>
              <a:gd name="T24" fmla="*/ 2147483647 w 212"/>
              <a:gd name="T25" fmla="*/ 0 h 105"/>
              <a:gd name="T26" fmla="*/ 2147483647 w 212"/>
              <a:gd name="T27" fmla="*/ 0 h 105"/>
              <a:gd name="T28" fmla="*/ 2147483647 w 212"/>
              <a:gd name="T29" fmla="*/ 2147483647 h 105"/>
              <a:gd name="T30" fmla="*/ 2147483647 w 212"/>
              <a:gd name="T31" fmla="*/ 2147483647 h 105"/>
              <a:gd name="T32" fmla="*/ 2147483647 w 212"/>
              <a:gd name="T33" fmla="*/ 2147483647 h 105"/>
              <a:gd name="T34" fmla="*/ 2147483647 w 212"/>
              <a:gd name="T35" fmla="*/ 2147483647 h 105"/>
              <a:gd name="T36" fmla="*/ 2147483647 w 212"/>
              <a:gd name="T37" fmla="*/ 2147483647 h 105"/>
              <a:gd name="T38" fmla="*/ 2147483647 w 212"/>
              <a:gd name="T39" fmla="*/ 2147483647 h 105"/>
              <a:gd name="T40" fmla="*/ 2147483647 w 212"/>
              <a:gd name="T41" fmla="*/ 2147483647 h 105"/>
              <a:gd name="T42" fmla="*/ 2147483647 w 212"/>
              <a:gd name="T43" fmla="*/ 2147483647 h 105"/>
              <a:gd name="T44" fmla="*/ 2147483647 w 212"/>
              <a:gd name="T45" fmla="*/ 2147483647 h 105"/>
              <a:gd name="T46" fmla="*/ 0 w 212"/>
              <a:gd name="T47" fmla="*/ 2147483647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7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364278" y="4554165"/>
            <a:ext cx="42862" cy="88900"/>
          </a:xfrm>
          <a:custGeom>
            <a:avLst/>
            <a:gdLst>
              <a:gd name="T0" fmla="*/ 0 w 92"/>
              <a:gd name="T1" fmla="*/ 2147483647 h 166"/>
              <a:gd name="T2" fmla="*/ 0 w 92"/>
              <a:gd name="T3" fmla="*/ 2147483647 h 166"/>
              <a:gd name="T4" fmla="*/ 2147483647 w 92"/>
              <a:gd name="T5" fmla="*/ 2147483647 h 166"/>
              <a:gd name="T6" fmla="*/ 2147483647 w 92"/>
              <a:gd name="T7" fmla="*/ 2147483647 h 166"/>
              <a:gd name="T8" fmla="*/ 2147483647 w 92"/>
              <a:gd name="T9" fmla="*/ 2147483647 h 166"/>
              <a:gd name="T10" fmla="*/ 2147483647 w 92"/>
              <a:gd name="T11" fmla="*/ 2147483647 h 166"/>
              <a:gd name="T12" fmla="*/ 2147483647 w 92"/>
              <a:gd name="T13" fmla="*/ 2147483647 h 166"/>
              <a:gd name="T14" fmla="*/ 2147483647 w 92"/>
              <a:gd name="T15" fmla="*/ 2147483647 h 166"/>
              <a:gd name="T16" fmla="*/ 2147483647 w 92"/>
              <a:gd name="T17" fmla="*/ 2147483647 h 166"/>
              <a:gd name="T18" fmla="*/ 2147483647 w 92"/>
              <a:gd name="T19" fmla="*/ 2147483647 h 166"/>
              <a:gd name="T20" fmla="*/ 2147483647 w 92"/>
              <a:gd name="T21" fmla="*/ 2147483647 h 166"/>
              <a:gd name="T22" fmla="*/ 2147483647 w 92"/>
              <a:gd name="T23" fmla="*/ 2147483647 h 166"/>
              <a:gd name="T24" fmla="*/ 2147483647 w 92"/>
              <a:gd name="T25" fmla="*/ 2147483647 h 166"/>
              <a:gd name="T26" fmla="*/ 2147483647 w 92"/>
              <a:gd name="T27" fmla="*/ 2147483647 h 166"/>
              <a:gd name="T28" fmla="*/ 2147483647 w 92"/>
              <a:gd name="T29" fmla="*/ 2147483647 h 166"/>
              <a:gd name="T30" fmla="*/ 2147483647 w 92"/>
              <a:gd name="T31" fmla="*/ 2147483647 h 166"/>
              <a:gd name="T32" fmla="*/ 2147483647 w 92"/>
              <a:gd name="T33" fmla="*/ 2147483647 h 166"/>
              <a:gd name="T34" fmla="*/ 2147483647 w 92"/>
              <a:gd name="T35" fmla="*/ 2147483647 h 166"/>
              <a:gd name="T36" fmla="*/ 2147483647 w 92"/>
              <a:gd name="T37" fmla="*/ 2147483647 h 166"/>
              <a:gd name="T38" fmla="*/ 2147483647 w 92"/>
              <a:gd name="T39" fmla="*/ 2147483647 h 166"/>
              <a:gd name="T40" fmla="*/ 2147483647 w 92"/>
              <a:gd name="T41" fmla="*/ 2147483647 h 166"/>
              <a:gd name="T42" fmla="*/ 2147483647 w 92"/>
              <a:gd name="T43" fmla="*/ 2147483647 h 166"/>
              <a:gd name="T44" fmla="*/ 2147483647 w 92"/>
              <a:gd name="T45" fmla="*/ 2147483647 h 166"/>
              <a:gd name="T46" fmla="*/ 2147483647 w 92"/>
              <a:gd name="T47" fmla="*/ 2147483647 h 166"/>
              <a:gd name="T48" fmla="*/ 2147483647 w 92"/>
              <a:gd name="T49" fmla="*/ 2147483647 h 166"/>
              <a:gd name="T50" fmla="*/ 2147483647 w 92"/>
              <a:gd name="T51" fmla="*/ 2147483647 h 166"/>
              <a:gd name="T52" fmla="*/ 2147483647 w 92"/>
              <a:gd name="T53" fmla="*/ 2147483647 h 166"/>
              <a:gd name="T54" fmla="*/ 2147483647 w 92"/>
              <a:gd name="T55" fmla="*/ 2147483647 h 166"/>
              <a:gd name="T56" fmla="*/ 2147483647 w 92"/>
              <a:gd name="T57" fmla="*/ 2147483647 h 166"/>
              <a:gd name="T58" fmla="*/ 2147483647 w 92"/>
              <a:gd name="T59" fmla="*/ 2147483647 h 166"/>
              <a:gd name="T60" fmla="*/ 2147483647 w 92"/>
              <a:gd name="T61" fmla="*/ 2147483647 h 166"/>
              <a:gd name="T62" fmla="*/ 2147483647 w 92"/>
              <a:gd name="T63" fmla="*/ 2147483647 h 166"/>
              <a:gd name="T64" fmla="*/ 2147483647 w 92"/>
              <a:gd name="T65" fmla="*/ 2147483647 h 166"/>
              <a:gd name="T66" fmla="*/ 2147483647 w 92"/>
              <a:gd name="T67" fmla="*/ 2147483647 h 166"/>
              <a:gd name="T68" fmla="*/ 2147483647 w 92"/>
              <a:gd name="T69" fmla="*/ 2147483647 h 166"/>
              <a:gd name="T70" fmla="*/ 2147483647 w 92"/>
              <a:gd name="T71" fmla="*/ 2147483647 h 166"/>
              <a:gd name="T72" fmla="*/ 2147483647 w 92"/>
              <a:gd name="T73" fmla="*/ 2147483647 h 166"/>
              <a:gd name="T74" fmla="*/ 2147483647 w 92"/>
              <a:gd name="T75" fmla="*/ 2147483647 h 166"/>
              <a:gd name="T76" fmla="*/ 2147483647 w 92"/>
              <a:gd name="T77" fmla="*/ 2147483647 h 166"/>
              <a:gd name="T78" fmla="*/ 2147483647 w 92"/>
              <a:gd name="T79" fmla="*/ 2147483647 h 166"/>
              <a:gd name="T80" fmla="*/ 2147483647 w 92"/>
              <a:gd name="T81" fmla="*/ 2147483647 h 166"/>
              <a:gd name="T82" fmla="*/ 2147483647 w 92"/>
              <a:gd name="T83" fmla="*/ 2147483647 h 166"/>
              <a:gd name="T84" fmla="*/ 2147483647 w 92"/>
              <a:gd name="T85" fmla="*/ 2147483647 h 166"/>
              <a:gd name="T86" fmla="*/ 2147483647 w 92"/>
              <a:gd name="T87" fmla="*/ 2147483647 h 166"/>
              <a:gd name="T88" fmla="*/ 2147483647 w 92"/>
              <a:gd name="T89" fmla="*/ 2147483647 h 166"/>
              <a:gd name="T90" fmla="*/ 0 w 92"/>
              <a:gd name="T91" fmla="*/ 0 h 166"/>
              <a:gd name="T92" fmla="*/ 0 w 92"/>
              <a:gd name="T93" fmla="*/ 2147483647 h 166"/>
              <a:gd name="T94" fmla="*/ 0 w 92"/>
              <a:gd name="T95" fmla="*/ 2147483647 h 166"/>
              <a:gd name="T96" fmla="*/ 0 w 92"/>
              <a:gd name="T97" fmla="*/ 2147483647 h 166"/>
              <a:gd name="T98" fmla="*/ 0 w 92"/>
              <a:gd name="T99" fmla="*/ 2147483647 h 166"/>
              <a:gd name="T100" fmla="*/ 0 w 92"/>
              <a:gd name="T101" fmla="*/ 2147483647 h 166"/>
              <a:gd name="T102" fmla="*/ 0 w 92"/>
              <a:gd name="T103" fmla="*/ 2147483647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8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376978" y="4698628"/>
            <a:ext cx="71437" cy="55562"/>
          </a:xfrm>
          <a:custGeom>
            <a:avLst/>
            <a:gdLst>
              <a:gd name="T0" fmla="*/ 2147483647 w 166"/>
              <a:gd name="T1" fmla="*/ 0 h 62"/>
              <a:gd name="T2" fmla="*/ 2147483647 w 166"/>
              <a:gd name="T3" fmla="*/ 2147483647 h 62"/>
              <a:gd name="T4" fmla="*/ 2147483647 w 166"/>
              <a:gd name="T5" fmla="*/ 2147483647 h 62"/>
              <a:gd name="T6" fmla="*/ 2147483647 w 166"/>
              <a:gd name="T7" fmla="*/ 2147483647 h 62"/>
              <a:gd name="T8" fmla="*/ 2147483647 w 166"/>
              <a:gd name="T9" fmla="*/ 2147483647 h 62"/>
              <a:gd name="T10" fmla="*/ 2147483647 w 166"/>
              <a:gd name="T11" fmla="*/ 2147483647 h 62"/>
              <a:gd name="T12" fmla="*/ 2147483647 w 166"/>
              <a:gd name="T13" fmla="*/ 2147483647 h 62"/>
              <a:gd name="T14" fmla="*/ 2147483647 w 166"/>
              <a:gd name="T15" fmla="*/ 2147483647 h 62"/>
              <a:gd name="T16" fmla="*/ 2147483647 w 166"/>
              <a:gd name="T17" fmla="*/ 2147483647 h 62"/>
              <a:gd name="T18" fmla="*/ 2147483647 w 166"/>
              <a:gd name="T19" fmla="*/ 2147483647 h 62"/>
              <a:gd name="T20" fmla="*/ 2147483647 w 166"/>
              <a:gd name="T21" fmla="*/ 0 h 62"/>
              <a:gd name="T22" fmla="*/ 2147483647 w 166"/>
              <a:gd name="T23" fmla="*/ 2147483647 h 62"/>
              <a:gd name="T24" fmla="*/ 2147483647 w 166"/>
              <a:gd name="T25" fmla="*/ 2147483647 h 62"/>
              <a:gd name="T26" fmla="*/ 2147483647 w 166"/>
              <a:gd name="T27" fmla="*/ 2147483647 h 62"/>
              <a:gd name="T28" fmla="*/ 2147483647 w 166"/>
              <a:gd name="T29" fmla="*/ 2147483647 h 62"/>
              <a:gd name="T30" fmla="*/ 2147483647 w 166"/>
              <a:gd name="T31" fmla="*/ 2147483647 h 62"/>
              <a:gd name="T32" fmla="*/ 2147483647 w 166"/>
              <a:gd name="T33" fmla="*/ 2147483647 h 62"/>
              <a:gd name="T34" fmla="*/ 2147483647 w 166"/>
              <a:gd name="T35" fmla="*/ 2147483647 h 62"/>
              <a:gd name="T36" fmla="*/ 2147483647 w 166"/>
              <a:gd name="T37" fmla="*/ 2147483647 h 62"/>
              <a:gd name="T38" fmla="*/ 2147483647 w 166"/>
              <a:gd name="T39" fmla="*/ 2147483647 h 62"/>
              <a:gd name="T40" fmla="*/ 2147483647 w 166"/>
              <a:gd name="T41" fmla="*/ 2147483647 h 62"/>
              <a:gd name="T42" fmla="*/ 2147483647 w 166"/>
              <a:gd name="T43" fmla="*/ 2147483647 h 62"/>
              <a:gd name="T44" fmla="*/ 2147483647 w 166"/>
              <a:gd name="T45" fmla="*/ 2147483647 h 62"/>
              <a:gd name="T46" fmla="*/ 2147483647 w 166"/>
              <a:gd name="T47" fmla="*/ 2147483647 h 62"/>
              <a:gd name="T48" fmla="*/ 2147483647 w 166"/>
              <a:gd name="T49" fmla="*/ 2147483647 h 62"/>
              <a:gd name="T50" fmla="*/ 2147483647 w 166"/>
              <a:gd name="T51" fmla="*/ 2147483647 h 62"/>
              <a:gd name="T52" fmla="*/ 2147483647 w 166"/>
              <a:gd name="T53" fmla="*/ 2147483647 h 62"/>
              <a:gd name="T54" fmla="*/ 2147483647 w 166"/>
              <a:gd name="T55" fmla="*/ 2147483647 h 62"/>
              <a:gd name="T56" fmla="*/ 2147483647 w 166"/>
              <a:gd name="T57" fmla="*/ 2147483647 h 62"/>
              <a:gd name="T58" fmla="*/ 2147483647 w 166"/>
              <a:gd name="T59" fmla="*/ 2147483647 h 62"/>
              <a:gd name="T60" fmla="*/ 2147483647 w 166"/>
              <a:gd name="T61" fmla="*/ 2147483647 h 62"/>
              <a:gd name="T62" fmla="*/ 2147483647 w 166"/>
              <a:gd name="T63" fmla="*/ 2147483647 h 62"/>
              <a:gd name="T64" fmla="*/ 2147483647 w 166"/>
              <a:gd name="T65" fmla="*/ 2147483647 h 62"/>
              <a:gd name="T66" fmla="*/ 2147483647 w 166"/>
              <a:gd name="T67" fmla="*/ 2147483647 h 62"/>
              <a:gd name="T68" fmla="*/ 2147483647 w 166"/>
              <a:gd name="T69" fmla="*/ 2147483647 h 62"/>
              <a:gd name="T70" fmla="*/ 2147483647 w 166"/>
              <a:gd name="T71" fmla="*/ 2147483647 h 62"/>
              <a:gd name="T72" fmla="*/ 2147483647 w 166"/>
              <a:gd name="T73" fmla="*/ 2147483647 h 62"/>
              <a:gd name="T74" fmla="*/ 2147483647 w 166"/>
              <a:gd name="T75" fmla="*/ 2147483647 h 62"/>
              <a:gd name="T76" fmla="*/ 2147483647 w 166"/>
              <a:gd name="T77" fmla="*/ 2147483647 h 62"/>
              <a:gd name="T78" fmla="*/ 2147483647 w 166"/>
              <a:gd name="T79" fmla="*/ 2147483647 h 62"/>
              <a:gd name="T80" fmla="*/ 2147483647 w 166"/>
              <a:gd name="T81" fmla="*/ 2147483647 h 62"/>
              <a:gd name="T82" fmla="*/ 2147483647 w 166"/>
              <a:gd name="T83" fmla="*/ 2147483647 h 62"/>
              <a:gd name="T84" fmla="*/ 2147483647 w 166"/>
              <a:gd name="T85" fmla="*/ 2147483647 h 62"/>
              <a:gd name="T86" fmla="*/ 0 w 166"/>
              <a:gd name="T87" fmla="*/ 2147483647 h 62"/>
              <a:gd name="T88" fmla="*/ 2147483647 w 166"/>
              <a:gd name="T89" fmla="*/ 2147483647 h 62"/>
              <a:gd name="T90" fmla="*/ 2147483647 w 166"/>
              <a:gd name="T91" fmla="*/ 2147483647 h 62"/>
              <a:gd name="T92" fmla="*/ 2147483647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89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453178" y="4622428"/>
            <a:ext cx="85725" cy="63500"/>
          </a:xfrm>
          <a:custGeom>
            <a:avLst/>
            <a:gdLst>
              <a:gd name="T0" fmla="*/ 2147483647 w 193"/>
              <a:gd name="T1" fmla="*/ 2147483647 h 121"/>
              <a:gd name="T2" fmla="*/ 2147483647 w 193"/>
              <a:gd name="T3" fmla="*/ 2147483647 h 121"/>
              <a:gd name="T4" fmla="*/ 2147483647 w 193"/>
              <a:gd name="T5" fmla="*/ 2147483647 h 121"/>
              <a:gd name="T6" fmla="*/ 2147483647 w 193"/>
              <a:gd name="T7" fmla="*/ 2147483647 h 121"/>
              <a:gd name="T8" fmla="*/ 2147483647 w 193"/>
              <a:gd name="T9" fmla="*/ 2147483647 h 121"/>
              <a:gd name="T10" fmla="*/ 2147483647 w 193"/>
              <a:gd name="T11" fmla="*/ 2147483647 h 121"/>
              <a:gd name="T12" fmla="*/ 2147483647 w 193"/>
              <a:gd name="T13" fmla="*/ 2147483647 h 121"/>
              <a:gd name="T14" fmla="*/ 2147483647 w 193"/>
              <a:gd name="T15" fmla="*/ 2147483647 h 121"/>
              <a:gd name="T16" fmla="*/ 2147483647 w 193"/>
              <a:gd name="T17" fmla="*/ 2147483647 h 121"/>
              <a:gd name="T18" fmla="*/ 2147483647 w 193"/>
              <a:gd name="T19" fmla="*/ 2147483647 h 121"/>
              <a:gd name="T20" fmla="*/ 2147483647 w 193"/>
              <a:gd name="T21" fmla="*/ 2147483647 h 121"/>
              <a:gd name="T22" fmla="*/ 2147483647 w 193"/>
              <a:gd name="T23" fmla="*/ 2147483647 h 121"/>
              <a:gd name="T24" fmla="*/ 2147483647 w 193"/>
              <a:gd name="T25" fmla="*/ 2147483647 h 121"/>
              <a:gd name="T26" fmla="*/ 2147483647 w 193"/>
              <a:gd name="T27" fmla="*/ 2147483647 h 121"/>
              <a:gd name="T28" fmla="*/ 2147483647 w 193"/>
              <a:gd name="T29" fmla="*/ 2147483647 h 121"/>
              <a:gd name="T30" fmla="*/ 2147483647 w 193"/>
              <a:gd name="T31" fmla="*/ 2147483647 h 121"/>
              <a:gd name="T32" fmla="*/ 2147483647 w 193"/>
              <a:gd name="T33" fmla="*/ 2147483647 h 121"/>
              <a:gd name="T34" fmla="*/ 2147483647 w 193"/>
              <a:gd name="T35" fmla="*/ 2147483647 h 121"/>
              <a:gd name="T36" fmla="*/ 2147483647 w 193"/>
              <a:gd name="T37" fmla="*/ 2147483647 h 121"/>
              <a:gd name="T38" fmla="*/ 2147483647 w 193"/>
              <a:gd name="T39" fmla="*/ 2147483647 h 121"/>
              <a:gd name="T40" fmla="*/ 2147483647 w 193"/>
              <a:gd name="T41" fmla="*/ 2147483647 h 121"/>
              <a:gd name="T42" fmla="*/ 2147483647 w 193"/>
              <a:gd name="T43" fmla="*/ 2147483647 h 121"/>
              <a:gd name="T44" fmla="*/ 2147483647 w 193"/>
              <a:gd name="T45" fmla="*/ 2147483647 h 121"/>
              <a:gd name="T46" fmla="*/ 2147483647 w 193"/>
              <a:gd name="T47" fmla="*/ 2147483647 h 121"/>
              <a:gd name="T48" fmla="*/ 2147483647 w 193"/>
              <a:gd name="T49" fmla="*/ 2147483647 h 121"/>
              <a:gd name="T50" fmla="*/ 2147483647 w 193"/>
              <a:gd name="T51" fmla="*/ 2147483647 h 121"/>
              <a:gd name="T52" fmla="*/ 2147483647 w 193"/>
              <a:gd name="T53" fmla="*/ 2147483647 h 121"/>
              <a:gd name="T54" fmla="*/ 2147483647 w 193"/>
              <a:gd name="T55" fmla="*/ 2147483647 h 121"/>
              <a:gd name="T56" fmla="*/ 2147483647 w 193"/>
              <a:gd name="T57" fmla="*/ 2147483647 h 121"/>
              <a:gd name="T58" fmla="*/ 0 w 193"/>
              <a:gd name="T59" fmla="*/ 2147483647 h 121"/>
              <a:gd name="T60" fmla="*/ 2147483647 w 193"/>
              <a:gd name="T61" fmla="*/ 2147483647 h 121"/>
              <a:gd name="T62" fmla="*/ 2147483647 w 193"/>
              <a:gd name="T63" fmla="*/ 2147483647 h 121"/>
              <a:gd name="T64" fmla="*/ 2147483647 w 193"/>
              <a:gd name="T65" fmla="*/ 2147483647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0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142028" y="4560515"/>
            <a:ext cx="166687" cy="230188"/>
          </a:xfrm>
          <a:custGeom>
            <a:avLst/>
            <a:gdLst>
              <a:gd name="T0" fmla="*/ 2147483647 w 379"/>
              <a:gd name="T1" fmla="*/ 2147483647 h 437"/>
              <a:gd name="T2" fmla="*/ 2147483647 w 379"/>
              <a:gd name="T3" fmla="*/ 2147483647 h 437"/>
              <a:gd name="T4" fmla="*/ 2147483647 w 379"/>
              <a:gd name="T5" fmla="*/ 2147483647 h 437"/>
              <a:gd name="T6" fmla="*/ 2147483647 w 379"/>
              <a:gd name="T7" fmla="*/ 2147483647 h 437"/>
              <a:gd name="T8" fmla="*/ 2147483647 w 379"/>
              <a:gd name="T9" fmla="*/ 2147483647 h 437"/>
              <a:gd name="T10" fmla="*/ 2147483647 w 379"/>
              <a:gd name="T11" fmla="*/ 2147483647 h 437"/>
              <a:gd name="T12" fmla="*/ 2147483647 w 379"/>
              <a:gd name="T13" fmla="*/ 2147483647 h 437"/>
              <a:gd name="T14" fmla="*/ 2147483647 w 379"/>
              <a:gd name="T15" fmla="*/ 2147483647 h 437"/>
              <a:gd name="T16" fmla="*/ 2147483647 w 379"/>
              <a:gd name="T17" fmla="*/ 2147483647 h 437"/>
              <a:gd name="T18" fmla="*/ 2147483647 w 379"/>
              <a:gd name="T19" fmla="*/ 2147483647 h 437"/>
              <a:gd name="T20" fmla="*/ 2147483647 w 379"/>
              <a:gd name="T21" fmla="*/ 2147483647 h 437"/>
              <a:gd name="T22" fmla="*/ 2147483647 w 379"/>
              <a:gd name="T23" fmla="*/ 2147483647 h 437"/>
              <a:gd name="T24" fmla="*/ 2147483647 w 379"/>
              <a:gd name="T25" fmla="*/ 2147483647 h 437"/>
              <a:gd name="T26" fmla="*/ 2147483647 w 379"/>
              <a:gd name="T27" fmla="*/ 2147483647 h 437"/>
              <a:gd name="T28" fmla="*/ 2147483647 w 379"/>
              <a:gd name="T29" fmla="*/ 2147483647 h 437"/>
              <a:gd name="T30" fmla="*/ 2147483647 w 379"/>
              <a:gd name="T31" fmla="*/ 2147483647 h 437"/>
              <a:gd name="T32" fmla="*/ 2147483647 w 379"/>
              <a:gd name="T33" fmla="*/ 2147483647 h 437"/>
              <a:gd name="T34" fmla="*/ 2147483647 w 379"/>
              <a:gd name="T35" fmla="*/ 2147483647 h 437"/>
              <a:gd name="T36" fmla="*/ 2147483647 w 379"/>
              <a:gd name="T37" fmla="*/ 2147483647 h 437"/>
              <a:gd name="T38" fmla="*/ 2147483647 w 379"/>
              <a:gd name="T39" fmla="*/ 2147483647 h 437"/>
              <a:gd name="T40" fmla="*/ 2147483647 w 379"/>
              <a:gd name="T41" fmla="*/ 2147483647 h 437"/>
              <a:gd name="T42" fmla="*/ 2147483647 w 379"/>
              <a:gd name="T43" fmla="*/ 2147483647 h 437"/>
              <a:gd name="T44" fmla="*/ 2147483647 w 379"/>
              <a:gd name="T45" fmla="*/ 2147483647 h 437"/>
              <a:gd name="T46" fmla="*/ 2147483647 w 379"/>
              <a:gd name="T47" fmla="*/ 2147483647 h 437"/>
              <a:gd name="T48" fmla="*/ 2147483647 w 379"/>
              <a:gd name="T49" fmla="*/ 2147483647 h 437"/>
              <a:gd name="T50" fmla="*/ 2147483647 w 379"/>
              <a:gd name="T51" fmla="*/ 2147483647 h 437"/>
              <a:gd name="T52" fmla="*/ 2147483647 w 379"/>
              <a:gd name="T53" fmla="*/ 2147483647 h 437"/>
              <a:gd name="T54" fmla="*/ 2147483647 w 379"/>
              <a:gd name="T55" fmla="*/ 2147483647 h 437"/>
              <a:gd name="T56" fmla="*/ 2147483647 w 379"/>
              <a:gd name="T57" fmla="*/ 2147483647 h 437"/>
              <a:gd name="T58" fmla="*/ 2147483647 w 379"/>
              <a:gd name="T59" fmla="*/ 2147483647 h 437"/>
              <a:gd name="T60" fmla="*/ 2147483647 w 379"/>
              <a:gd name="T61" fmla="*/ 2147483647 h 437"/>
              <a:gd name="T62" fmla="*/ 2147483647 w 379"/>
              <a:gd name="T63" fmla="*/ 2147483647 h 437"/>
              <a:gd name="T64" fmla="*/ 2147483647 w 379"/>
              <a:gd name="T65" fmla="*/ 2147483647 h 437"/>
              <a:gd name="T66" fmla="*/ 2147483647 w 379"/>
              <a:gd name="T67" fmla="*/ 2147483647 h 437"/>
              <a:gd name="T68" fmla="*/ 2147483647 w 379"/>
              <a:gd name="T69" fmla="*/ 2147483647 h 437"/>
              <a:gd name="T70" fmla="*/ 2147483647 w 379"/>
              <a:gd name="T71" fmla="*/ 2147483647 h 437"/>
              <a:gd name="T72" fmla="*/ 2147483647 w 379"/>
              <a:gd name="T73" fmla="*/ 2147483647 h 437"/>
              <a:gd name="T74" fmla="*/ 2147483647 w 379"/>
              <a:gd name="T75" fmla="*/ 2147483647 h 437"/>
              <a:gd name="T76" fmla="*/ 2147483647 w 379"/>
              <a:gd name="T77" fmla="*/ 2147483647 h 437"/>
              <a:gd name="T78" fmla="*/ 2147483647 w 379"/>
              <a:gd name="T79" fmla="*/ 2147483647 h 437"/>
              <a:gd name="T80" fmla="*/ 2147483647 w 379"/>
              <a:gd name="T81" fmla="*/ 2147483647 h 437"/>
              <a:gd name="T82" fmla="*/ 2147483647 w 379"/>
              <a:gd name="T83" fmla="*/ 2147483647 h 437"/>
              <a:gd name="T84" fmla="*/ 2147483647 w 379"/>
              <a:gd name="T85" fmla="*/ 2147483647 h 437"/>
              <a:gd name="T86" fmla="*/ 2147483647 w 379"/>
              <a:gd name="T87" fmla="*/ 2147483647 h 437"/>
              <a:gd name="T88" fmla="*/ 2147483647 w 379"/>
              <a:gd name="T89" fmla="*/ 2147483647 h 437"/>
              <a:gd name="T90" fmla="*/ 2147483647 w 379"/>
              <a:gd name="T91" fmla="*/ 2147483647 h 437"/>
              <a:gd name="T92" fmla="*/ 2147483647 w 379"/>
              <a:gd name="T93" fmla="*/ 2147483647 h 437"/>
              <a:gd name="T94" fmla="*/ 2147483647 w 379"/>
              <a:gd name="T95" fmla="*/ 2147483647 h 437"/>
              <a:gd name="T96" fmla="*/ 2147483647 w 379"/>
              <a:gd name="T97" fmla="*/ 2147483647 h 437"/>
              <a:gd name="T98" fmla="*/ 2147483647 w 379"/>
              <a:gd name="T99" fmla="*/ 2147483647 h 437"/>
              <a:gd name="T100" fmla="*/ 2147483647 w 379"/>
              <a:gd name="T101" fmla="*/ 2147483647 h 437"/>
              <a:gd name="T102" fmla="*/ 2147483647 w 379"/>
              <a:gd name="T103" fmla="*/ 2147483647 h 437"/>
              <a:gd name="T104" fmla="*/ 2147483647 w 379"/>
              <a:gd name="T105" fmla="*/ 2147483647 h 437"/>
              <a:gd name="T106" fmla="*/ 2147483647 w 379"/>
              <a:gd name="T107" fmla="*/ 2147483647 h 437"/>
              <a:gd name="T108" fmla="*/ 2147483647 w 379"/>
              <a:gd name="T109" fmla="*/ 2147483647 h 437"/>
              <a:gd name="T110" fmla="*/ 2147483647 w 379"/>
              <a:gd name="T111" fmla="*/ 2147483647 h 437"/>
              <a:gd name="T112" fmla="*/ 2147483647 w 379"/>
              <a:gd name="T113" fmla="*/ 2147483647 h 437"/>
              <a:gd name="T114" fmla="*/ 2147483647 w 379"/>
              <a:gd name="T115" fmla="*/ 2147483647 h 437"/>
              <a:gd name="T116" fmla="*/ 2147483647 w 379"/>
              <a:gd name="T117" fmla="*/ 2147483647 h 437"/>
              <a:gd name="T118" fmla="*/ 2147483647 w 379"/>
              <a:gd name="T119" fmla="*/ 2147483647 h 437"/>
              <a:gd name="T120" fmla="*/ 2147483647 w 379"/>
              <a:gd name="T121" fmla="*/ 214748364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1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807065" y="4801815"/>
            <a:ext cx="250825" cy="95250"/>
          </a:xfrm>
          <a:custGeom>
            <a:avLst/>
            <a:gdLst>
              <a:gd name="T0" fmla="*/ 2147483647 w 578"/>
              <a:gd name="T1" fmla="*/ 2147483647 h 184"/>
              <a:gd name="T2" fmla="*/ 2147483647 w 578"/>
              <a:gd name="T3" fmla="*/ 2147483647 h 184"/>
              <a:gd name="T4" fmla="*/ 2147483647 w 578"/>
              <a:gd name="T5" fmla="*/ 2147483647 h 184"/>
              <a:gd name="T6" fmla="*/ 2147483647 w 578"/>
              <a:gd name="T7" fmla="*/ 0 h 184"/>
              <a:gd name="T8" fmla="*/ 2147483647 w 578"/>
              <a:gd name="T9" fmla="*/ 2147483647 h 184"/>
              <a:gd name="T10" fmla="*/ 2147483647 w 578"/>
              <a:gd name="T11" fmla="*/ 2147483647 h 184"/>
              <a:gd name="T12" fmla="*/ 2147483647 w 578"/>
              <a:gd name="T13" fmla="*/ 2147483647 h 184"/>
              <a:gd name="T14" fmla="*/ 2147483647 w 578"/>
              <a:gd name="T15" fmla="*/ 2147483647 h 184"/>
              <a:gd name="T16" fmla="*/ 2147483647 w 578"/>
              <a:gd name="T17" fmla="*/ 2147483647 h 184"/>
              <a:gd name="T18" fmla="*/ 2147483647 w 578"/>
              <a:gd name="T19" fmla="*/ 2147483647 h 184"/>
              <a:gd name="T20" fmla="*/ 2147483647 w 578"/>
              <a:gd name="T21" fmla="*/ 2147483647 h 184"/>
              <a:gd name="T22" fmla="*/ 2147483647 w 578"/>
              <a:gd name="T23" fmla="*/ 2147483647 h 184"/>
              <a:gd name="T24" fmla="*/ 2147483647 w 578"/>
              <a:gd name="T25" fmla="*/ 2147483647 h 184"/>
              <a:gd name="T26" fmla="*/ 2147483647 w 578"/>
              <a:gd name="T27" fmla="*/ 2147483647 h 184"/>
              <a:gd name="T28" fmla="*/ 2147483647 w 578"/>
              <a:gd name="T29" fmla="*/ 2147483647 h 184"/>
              <a:gd name="T30" fmla="*/ 2147483647 w 578"/>
              <a:gd name="T31" fmla="*/ 2147483647 h 184"/>
              <a:gd name="T32" fmla="*/ 2147483647 w 578"/>
              <a:gd name="T33" fmla="*/ 2147483647 h 184"/>
              <a:gd name="T34" fmla="*/ 2147483647 w 578"/>
              <a:gd name="T35" fmla="*/ 2147483647 h 184"/>
              <a:gd name="T36" fmla="*/ 2147483647 w 578"/>
              <a:gd name="T37" fmla="*/ 2147483647 h 184"/>
              <a:gd name="T38" fmla="*/ 2147483647 w 578"/>
              <a:gd name="T39" fmla="*/ 2147483647 h 184"/>
              <a:gd name="T40" fmla="*/ 2147483647 w 578"/>
              <a:gd name="T41" fmla="*/ 2147483647 h 184"/>
              <a:gd name="T42" fmla="*/ 2147483647 w 578"/>
              <a:gd name="T43" fmla="*/ 2147483647 h 184"/>
              <a:gd name="T44" fmla="*/ 2147483647 w 578"/>
              <a:gd name="T45" fmla="*/ 2147483647 h 184"/>
              <a:gd name="T46" fmla="*/ 2147483647 w 578"/>
              <a:gd name="T47" fmla="*/ 2147483647 h 184"/>
              <a:gd name="T48" fmla="*/ 2147483647 w 578"/>
              <a:gd name="T49" fmla="*/ 2147483647 h 184"/>
              <a:gd name="T50" fmla="*/ 2147483647 w 578"/>
              <a:gd name="T51" fmla="*/ 2147483647 h 184"/>
              <a:gd name="T52" fmla="*/ 2147483647 w 578"/>
              <a:gd name="T53" fmla="*/ 2147483647 h 184"/>
              <a:gd name="T54" fmla="*/ 2147483647 w 578"/>
              <a:gd name="T55" fmla="*/ 2147483647 h 184"/>
              <a:gd name="T56" fmla="*/ 2147483647 w 578"/>
              <a:gd name="T57" fmla="*/ 2147483647 h 184"/>
              <a:gd name="T58" fmla="*/ 2147483647 w 578"/>
              <a:gd name="T59" fmla="*/ 2147483647 h 184"/>
              <a:gd name="T60" fmla="*/ 2147483647 w 578"/>
              <a:gd name="T61" fmla="*/ 2147483647 h 184"/>
              <a:gd name="T62" fmla="*/ 2147483647 w 578"/>
              <a:gd name="T63" fmla="*/ 2147483647 h 184"/>
              <a:gd name="T64" fmla="*/ 2147483647 w 578"/>
              <a:gd name="T65" fmla="*/ 2147483647 h 184"/>
              <a:gd name="T66" fmla="*/ 2147483647 w 578"/>
              <a:gd name="T67" fmla="*/ 2147483647 h 184"/>
              <a:gd name="T68" fmla="*/ 2147483647 w 578"/>
              <a:gd name="T69" fmla="*/ 2147483647 h 184"/>
              <a:gd name="T70" fmla="*/ 2147483647 w 578"/>
              <a:gd name="T71" fmla="*/ 2147483647 h 184"/>
              <a:gd name="T72" fmla="*/ 2147483647 w 578"/>
              <a:gd name="T73" fmla="*/ 2147483647 h 184"/>
              <a:gd name="T74" fmla="*/ 2147483647 w 578"/>
              <a:gd name="T75" fmla="*/ 2147483647 h 184"/>
              <a:gd name="T76" fmla="*/ 2147483647 w 578"/>
              <a:gd name="T77" fmla="*/ 2147483647 h 184"/>
              <a:gd name="T78" fmla="*/ 2147483647 w 578"/>
              <a:gd name="T79" fmla="*/ 2147483647 h 184"/>
              <a:gd name="T80" fmla="*/ 2147483647 w 578"/>
              <a:gd name="T81" fmla="*/ 2147483647 h 184"/>
              <a:gd name="T82" fmla="*/ 2147483647 w 578"/>
              <a:gd name="T83" fmla="*/ 2147483647 h 184"/>
              <a:gd name="T84" fmla="*/ 2147483647 w 578"/>
              <a:gd name="T85" fmla="*/ 2147483647 h 184"/>
              <a:gd name="T86" fmla="*/ 2147483647 w 578"/>
              <a:gd name="T87" fmla="*/ 2147483647 h 184"/>
              <a:gd name="T88" fmla="*/ 2147483647 w 578"/>
              <a:gd name="T89" fmla="*/ 2147483647 h 184"/>
              <a:gd name="T90" fmla="*/ 2147483647 w 578"/>
              <a:gd name="T91" fmla="*/ 2147483647 h 184"/>
              <a:gd name="T92" fmla="*/ 2147483647 w 578"/>
              <a:gd name="T93" fmla="*/ 2147483647 h 184"/>
              <a:gd name="T94" fmla="*/ 2147483647 w 578"/>
              <a:gd name="T95" fmla="*/ 2147483647 h 184"/>
              <a:gd name="T96" fmla="*/ 2147483647 w 578"/>
              <a:gd name="T97" fmla="*/ 2147483647 h 184"/>
              <a:gd name="T98" fmla="*/ 2147483647 w 578"/>
              <a:gd name="T99" fmla="*/ 2147483647 h 184"/>
              <a:gd name="T100" fmla="*/ 2147483647 w 578"/>
              <a:gd name="T101" fmla="*/ 2147483647 h 184"/>
              <a:gd name="T102" fmla="*/ 2147483647 w 578"/>
              <a:gd name="T103" fmla="*/ 2147483647 h 184"/>
              <a:gd name="T104" fmla="*/ 2147483647 w 578"/>
              <a:gd name="T105" fmla="*/ 2147483647 h 184"/>
              <a:gd name="T106" fmla="*/ 0 w 578"/>
              <a:gd name="T107" fmla="*/ 2147483647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2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488103" y="4658940"/>
            <a:ext cx="214312" cy="252413"/>
          </a:xfrm>
          <a:custGeom>
            <a:avLst/>
            <a:gdLst>
              <a:gd name="T0" fmla="*/ 2147483647 w 491"/>
              <a:gd name="T1" fmla="*/ 2147483647 h 481"/>
              <a:gd name="T2" fmla="*/ 2147483647 w 491"/>
              <a:gd name="T3" fmla="*/ 2147483647 h 481"/>
              <a:gd name="T4" fmla="*/ 2147483647 w 491"/>
              <a:gd name="T5" fmla="*/ 2147483647 h 481"/>
              <a:gd name="T6" fmla="*/ 2147483647 w 491"/>
              <a:gd name="T7" fmla="*/ 2147483647 h 481"/>
              <a:gd name="T8" fmla="*/ 2147483647 w 491"/>
              <a:gd name="T9" fmla="*/ 2147483647 h 481"/>
              <a:gd name="T10" fmla="*/ 2147483647 w 491"/>
              <a:gd name="T11" fmla="*/ 2147483647 h 481"/>
              <a:gd name="T12" fmla="*/ 2147483647 w 491"/>
              <a:gd name="T13" fmla="*/ 2147483647 h 481"/>
              <a:gd name="T14" fmla="*/ 2147483647 w 491"/>
              <a:gd name="T15" fmla="*/ 2147483647 h 481"/>
              <a:gd name="T16" fmla="*/ 2147483647 w 491"/>
              <a:gd name="T17" fmla="*/ 2147483647 h 481"/>
              <a:gd name="T18" fmla="*/ 2147483647 w 491"/>
              <a:gd name="T19" fmla="*/ 2147483647 h 481"/>
              <a:gd name="T20" fmla="*/ 2147483647 w 491"/>
              <a:gd name="T21" fmla="*/ 2147483647 h 481"/>
              <a:gd name="T22" fmla="*/ 2147483647 w 491"/>
              <a:gd name="T23" fmla="*/ 2147483647 h 481"/>
              <a:gd name="T24" fmla="*/ 2147483647 w 491"/>
              <a:gd name="T25" fmla="*/ 2147483647 h 481"/>
              <a:gd name="T26" fmla="*/ 2147483647 w 491"/>
              <a:gd name="T27" fmla="*/ 2147483647 h 481"/>
              <a:gd name="T28" fmla="*/ 2147483647 w 491"/>
              <a:gd name="T29" fmla="*/ 2147483647 h 481"/>
              <a:gd name="T30" fmla="*/ 2147483647 w 491"/>
              <a:gd name="T31" fmla="*/ 2147483647 h 481"/>
              <a:gd name="T32" fmla="*/ 2147483647 w 491"/>
              <a:gd name="T33" fmla="*/ 2147483647 h 481"/>
              <a:gd name="T34" fmla="*/ 2147483647 w 491"/>
              <a:gd name="T35" fmla="*/ 2147483647 h 481"/>
              <a:gd name="T36" fmla="*/ 2147483647 w 491"/>
              <a:gd name="T37" fmla="*/ 2147483647 h 481"/>
              <a:gd name="T38" fmla="*/ 2147483647 w 491"/>
              <a:gd name="T39" fmla="*/ 2147483647 h 481"/>
              <a:gd name="T40" fmla="*/ 2147483647 w 491"/>
              <a:gd name="T41" fmla="*/ 2147483647 h 481"/>
              <a:gd name="T42" fmla="*/ 2147483647 w 491"/>
              <a:gd name="T43" fmla="*/ 2147483647 h 481"/>
              <a:gd name="T44" fmla="*/ 2147483647 w 491"/>
              <a:gd name="T45" fmla="*/ 2147483647 h 481"/>
              <a:gd name="T46" fmla="*/ 2147483647 w 491"/>
              <a:gd name="T47" fmla="*/ 2147483647 h 481"/>
              <a:gd name="T48" fmla="*/ 2147483647 w 491"/>
              <a:gd name="T49" fmla="*/ 2147483647 h 481"/>
              <a:gd name="T50" fmla="*/ 2147483647 w 491"/>
              <a:gd name="T51" fmla="*/ 2147483647 h 481"/>
              <a:gd name="T52" fmla="*/ 2147483647 w 491"/>
              <a:gd name="T53" fmla="*/ 2147483647 h 481"/>
              <a:gd name="T54" fmla="*/ 2147483647 w 491"/>
              <a:gd name="T55" fmla="*/ 2147483647 h 481"/>
              <a:gd name="T56" fmla="*/ 2147483647 w 491"/>
              <a:gd name="T57" fmla="*/ 2147483647 h 481"/>
              <a:gd name="T58" fmla="*/ 2147483647 w 491"/>
              <a:gd name="T59" fmla="*/ 2147483647 h 481"/>
              <a:gd name="T60" fmla="*/ 2147483647 w 491"/>
              <a:gd name="T61" fmla="*/ 2147483647 h 481"/>
              <a:gd name="T62" fmla="*/ 0 w 491"/>
              <a:gd name="T63" fmla="*/ 2147483647 h 481"/>
              <a:gd name="T64" fmla="*/ 2147483647 w 491"/>
              <a:gd name="T65" fmla="*/ 2147483647 h 481"/>
              <a:gd name="T66" fmla="*/ 2147483647 w 491"/>
              <a:gd name="T67" fmla="*/ 2147483647 h 481"/>
              <a:gd name="T68" fmla="*/ 2147483647 w 491"/>
              <a:gd name="T69" fmla="*/ 2147483647 h 481"/>
              <a:gd name="T70" fmla="*/ 2147483647 w 491"/>
              <a:gd name="T71" fmla="*/ 2147483647 h 481"/>
              <a:gd name="T72" fmla="*/ 2147483647 w 491"/>
              <a:gd name="T73" fmla="*/ 2147483647 h 481"/>
              <a:gd name="T74" fmla="*/ 2147483647 w 491"/>
              <a:gd name="T75" fmla="*/ 2147483647 h 481"/>
              <a:gd name="T76" fmla="*/ 2147483647 w 491"/>
              <a:gd name="T77" fmla="*/ 2147483647 h 481"/>
              <a:gd name="T78" fmla="*/ 2147483647 w 491"/>
              <a:gd name="T79" fmla="*/ 2147483647 h 481"/>
              <a:gd name="T80" fmla="*/ 2147483647 w 491"/>
              <a:gd name="T81" fmla="*/ 2147483647 h 481"/>
              <a:gd name="T82" fmla="*/ 2147483647 w 491"/>
              <a:gd name="T83" fmla="*/ 2147483647 h 481"/>
              <a:gd name="T84" fmla="*/ 2147483647 w 491"/>
              <a:gd name="T85" fmla="*/ 2147483647 h 481"/>
              <a:gd name="T86" fmla="*/ 2147483647 w 491"/>
              <a:gd name="T87" fmla="*/ 2147483647 h 481"/>
              <a:gd name="T88" fmla="*/ 2147483647 w 491"/>
              <a:gd name="T89" fmla="*/ 2147483647 h 481"/>
              <a:gd name="T90" fmla="*/ 2147483647 w 491"/>
              <a:gd name="T91" fmla="*/ 2147483647 h 481"/>
              <a:gd name="T92" fmla="*/ 2147483647 w 491"/>
              <a:gd name="T93" fmla="*/ 2147483647 h 481"/>
              <a:gd name="T94" fmla="*/ 2147483647 w 491"/>
              <a:gd name="T95" fmla="*/ 0 h 481"/>
              <a:gd name="T96" fmla="*/ 2147483647 w 491"/>
              <a:gd name="T97" fmla="*/ 2147483647 h 481"/>
              <a:gd name="T98" fmla="*/ 2147483647 w 491"/>
              <a:gd name="T99" fmla="*/ 2147483647 h 481"/>
              <a:gd name="T100" fmla="*/ 2147483647 w 491"/>
              <a:gd name="T101" fmla="*/ 2147483647 h 481"/>
              <a:gd name="T102" fmla="*/ 2147483647 w 491"/>
              <a:gd name="T103" fmla="*/ 2147483647 h 481"/>
              <a:gd name="T104" fmla="*/ 2147483647 w 491"/>
              <a:gd name="T105" fmla="*/ 2147483647 h 481"/>
              <a:gd name="T106" fmla="*/ 2147483647 w 491"/>
              <a:gd name="T107" fmla="*/ 2147483647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3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6019665" y="3490540"/>
            <a:ext cx="53975" cy="60325"/>
          </a:xfrm>
          <a:custGeom>
            <a:avLst/>
            <a:gdLst>
              <a:gd name="T0" fmla="*/ 0 w 133"/>
              <a:gd name="T1" fmla="*/ 2147483647 h 117"/>
              <a:gd name="T2" fmla="*/ 2147483647 w 133"/>
              <a:gd name="T3" fmla="*/ 0 h 117"/>
              <a:gd name="T4" fmla="*/ 2147483647 w 133"/>
              <a:gd name="T5" fmla="*/ 2147483647 h 117"/>
              <a:gd name="T6" fmla="*/ 2147483647 w 133"/>
              <a:gd name="T7" fmla="*/ 2147483647 h 117"/>
              <a:gd name="T8" fmla="*/ 2147483647 w 133"/>
              <a:gd name="T9" fmla="*/ 2147483647 h 117"/>
              <a:gd name="T10" fmla="*/ 2147483647 w 133"/>
              <a:gd name="T11" fmla="*/ 2147483647 h 117"/>
              <a:gd name="T12" fmla="*/ 2147483647 w 133"/>
              <a:gd name="T13" fmla="*/ 2147483647 h 117"/>
              <a:gd name="T14" fmla="*/ 2147483647 w 133"/>
              <a:gd name="T15" fmla="*/ 2147483647 h 117"/>
              <a:gd name="T16" fmla="*/ 2147483647 w 133"/>
              <a:gd name="T17" fmla="*/ 2147483647 h 117"/>
              <a:gd name="T18" fmla="*/ 2147483647 w 133"/>
              <a:gd name="T19" fmla="*/ 2147483647 h 117"/>
              <a:gd name="T20" fmla="*/ 2147483647 w 133"/>
              <a:gd name="T21" fmla="*/ 2147483647 h 117"/>
              <a:gd name="T22" fmla="*/ 2147483647 w 133"/>
              <a:gd name="T23" fmla="*/ 2147483647 h 117"/>
              <a:gd name="T24" fmla="*/ 2147483647 w 133"/>
              <a:gd name="T25" fmla="*/ 2147483647 h 117"/>
              <a:gd name="T26" fmla="*/ 2147483647 w 133"/>
              <a:gd name="T27" fmla="*/ 2147483647 h 117"/>
              <a:gd name="T28" fmla="*/ 2147483647 w 133"/>
              <a:gd name="T29" fmla="*/ 2147483647 h 117"/>
              <a:gd name="T30" fmla="*/ 2147483647 w 133"/>
              <a:gd name="T31" fmla="*/ 2147483647 h 117"/>
              <a:gd name="T32" fmla="*/ 2147483647 w 133"/>
              <a:gd name="T33" fmla="*/ 2147483647 h 117"/>
              <a:gd name="T34" fmla="*/ 2147483647 w 133"/>
              <a:gd name="T35" fmla="*/ 2147483647 h 117"/>
              <a:gd name="T36" fmla="*/ 2147483647 w 133"/>
              <a:gd name="T37" fmla="*/ 2147483647 h 117"/>
              <a:gd name="T38" fmla="*/ 2147483647 w 133"/>
              <a:gd name="T39" fmla="*/ 2147483647 h 117"/>
              <a:gd name="T40" fmla="*/ 2147483647 w 133"/>
              <a:gd name="T41" fmla="*/ 2147483647 h 117"/>
              <a:gd name="T42" fmla="*/ 2147483647 w 133"/>
              <a:gd name="T43" fmla="*/ 2147483647 h 117"/>
              <a:gd name="T44" fmla="*/ 2147483647 w 133"/>
              <a:gd name="T45" fmla="*/ 2147483647 h 117"/>
              <a:gd name="T46" fmla="*/ 2147483647 w 133"/>
              <a:gd name="T47" fmla="*/ 2147483647 h 117"/>
              <a:gd name="T48" fmla="*/ 2147483647 w 133"/>
              <a:gd name="T49" fmla="*/ 2147483647 h 117"/>
              <a:gd name="T50" fmla="*/ 0 w 133"/>
              <a:gd name="T51" fmla="*/ 2147483647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94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476615" y="2895228"/>
            <a:ext cx="220663" cy="177800"/>
          </a:xfrm>
          <a:custGeom>
            <a:avLst/>
            <a:gdLst>
              <a:gd name="T0" fmla="*/ 2147483647 w 505"/>
              <a:gd name="T1" fmla="*/ 2147483647 h 339"/>
              <a:gd name="T2" fmla="*/ 2147483647 w 505"/>
              <a:gd name="T3" fmla="*/ 2147483647 h 339"/>
              <a:gd name="T4" fmla="*/ 2147483647 w 505"/>
              <a:gd name="T5" fmla="*/ 2147483647 h 339"/>
              <a:gd name="T6" fmla="*/ 2147483647 w 505"/>
              <a:gd name="T7" fmla="*/ 2147483647 h 339"/>
              <a:gd name="T8" fmla="*/ 2147483647 w 505"/>
              <a:gd name="T9" fmla="*/ 2147483647 h 339"/>
              <a:gd name="T10" fmla="*/ 2147483647 w 505"/>
              <a:gd name="T11" fmla="*/ 2147483647 h 339"/>
              <a:gd name="T12" fmla="*/ 2147483647 w 505"/>
              <a:gd name="T13" fmla="*/ 2147483647 h 339"/>
              <a:gd name="T14" fmla="*/ 2147483647 w 505"/>
              <a:gd name="T15" fmla="*/ 2147483647 h 339"/>
              <a:gd name="T16" fmla="*/ 2147483647 w 505"/>
              <a:gd name="T17" fmla="*/ 2147483647 h 339"/>
              <a:gd name="T18" fmla="*/ 2147483647 w 505"/>
              <a:gd name="T19" fmla="*/ 2147483647 h 339"/>
              <a:gd name="T20" fmla="*/ 2147483647 w 505"/>
              <a:gd name="T21" fmla="*/ 2147483647 h 339"/>
              <a:gd name="T22" fmla="*/ 2147483647 w 505"/>
              <a:gd name="T23" fmla="*/ 2147483647 h 339"/>
              <a:gd name="T24" fmla="*/ 2147483647 w 505"/>
              <a:gd name="T25" fmla="*/ 2147483647 h 339"/>
              <a:gd name="T26" fmla="*/ 2147483647 w 505"/>
              <a:gd name="T27" fmla="*/ 2147483647 h 339"/>
              <a:gd name="T28" fmla="*/ 2147483647 w 505"/>
              <a:gd name="T29" fmla="*/ 2147483647 h 339"/>
              <a:gd name="T30" fmla="*/ 2147483647 w 505"/>
              <a:gd name="T31" fmla="*/ 2147483647 h 339"/>
              <a:gd name="T32" fmla="*/ 2147483647 w 505"/>
              <a:gd name="T33" fmla="*/ 2147483647 h 339"/>
              <a:gd name="T34" fmla="*/ 2147483647 w 505"/>
              <a:gd name="T35" fmla="*/ 2147483647 h 339"/>
              <a:gd name="T36" fmla="*/ 2147483647 w 505"/>
              <a:gd name="T37" fmla="*/ 2147483647 h 339"/>
              <a:gd name="T38" fmla="*/ 2147483647 w 505"/>
              <a:gd name="T39" fmla="*/ 2147483647 h 339"/>
              <a:gd name="T40" fmla="*/ 2147483647 w 505"/>
              <a:gd name="T41" fmla="*/ 2147483647 h 339"/>
              <a:gd name="T42" fmla="*/ 2147483647 w 505"/>
              <a:gd name="T43" fmla="*/ 2147483647 h 339"/>
              <a:gd name="T44" fmla="*/ 2147483647 w 505"/>
              <a:gd name="T45" fmla="*/ 2147483647 h 339"/>
              <a:gd name="T46" fmla="*/ 2147483647 w 505"/>
              <a:gd name="T47" fmla="*/ 2147483647 h 339"/>
              <a:gd name="T48" fmla="*/ 2147483647 w 505"/>
              <a:gd name="T49" fmla="*/ 2147483647 h 339"/>
              <a:gd name="T50" fmla="*/ 2147483647 w 505"/>
              <a:gd name="T51" fmla="*/ 2147483647 h 339"/>
              <a:gd name="T52" fmla="*/ 2147483647 w 505"/>
              <a:gd name="T53" fmla="*/ 2147483647 h 339"/>
              <a:gd name="T54" fmla="*/ 2147483647 w 505"/>
              <a:gd name="T55" fmla="*/ 2147483647 h 339"/>
              <a:gd name="T56" fmla="*/ 2147483647 w 505"/>
              <a:gd name="T57" fmla="*/ 2147483647 h 339"/>
              <a:gd name="T58" fmla="*/ 2147483647 w 505"/>
              <a:gd name="T59" fmla="*/ 2147483647 h 339"/>
              <a:gd name="T60" fmla="*/ 2147483647 w 505"/>
              <a:gd name="T61" fmla="*/ 2147483647 h 339"/>
              <a:gd name="T62" fmla="*/ 2147483647 w 505"/>
              <a:gd name="T63" fmla="*/ 2147483647 h 339"/>
              <a:gd name="T64" fmla="*/ 2147483647 w 505"/>
              <a:gd name="T65" fmla="*/ 2147483647 h 339"/>
              <a:gd name="T66" fmla="*/ 2147483647 w 505"/>
              <a:gd name="T67" fmla="*/ 2147483647 h 339"/>
              <a:gd name="T68" fmla="*/ 2147483647 w 505"/>
              <a:gd name="T69" fmla="*/ 2147483647 h 339"/>
              <a:gd name="T70" fmla="*/ 2147483647 w 505"/>
              <a:gd name="T71" fmla="*/ 2147483647 h 339"/>
              <a:gd name="T72" fmla="*/ 2147483647 w 505"/>
              <a:gd name="T73" fmla="*/ 2147483647 h 339"/>
              <a:gd name="T74" fmla="*/ 2147483647 w 505"/>
              <a:gd name="T75" fmla="*/ 2147483647 h 339"/>
              <a:gd name="T76" fmla="*/ 2147483647 w 505"/>
              <a:gd name="T77" fmla="*/ 2147483647 h 339"/>
              <a:gd name="T78" fmla="*/ 2147483647 w 505"/>
              <a:gd name="T79" fmla="*/ 2147483647 h 339"/>
              <a:gd name="T80" fmla="*/ 2147483647 w 505"/>
              <a:gd name="T81" fmla="*/ 2147483647 h 339"/>
              <a:gd name="T82" fmla="*/ 2147483647 w 505"/>
              <a:gd name="T83" fmla="*/ 2147483647 h 339"/>
              <a:gd name="T84" fmla="*/ 2147483647 w 505"/>
              <a:gd name="T85" fmla="*/ 2147483647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95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540115" y="3100015"/>
            <a:ext cx="146050" cy="71438"/>
          </a:xfrm>
          <a:custGeom>
            <a:avLst/>
            <a:gdLst>
              <a:gd name="T0" fmla="*/ 2147483647 w 338"/>
              <a:gd name="T1" fmla="*/ 0 h 141"/>
              <a:gd name="T2" fmla="*/ 2147483647 w 338"/>
              <a:gd name="T3" fmla="*/ 0 h 141"/>
              <a:gd name="T4" fmla="*/ 2147483647 w 338"/>
              <a:gd name="T5" fmla="*/ 2147483647 h 141"/>
              <a:gd name="T6" fmla="*/ 2147483647 w 338"/>
              <a:gd name="T7" fmla="*/ 2147483647 h 141"/>
              <a:gd name="T8" fmla="*/ 2147483647 w 338"/>
              <a:gd name="T9" fmla="*/ 2147483647 h 141"/>
              <a:gd name="T10" fmla="*/ 2147483647 w 338"/>
              <a:gd name="T11" fmla="*/ 2147483647 h 141"/>
              <a:gd name="T12" fmla="*/ 2147483647 w 338"/>
              <a:gd name="T13" fmla="*/ 2147483647 h 141"/>
              <a:gd name="T14" fmla="*/ 2147483647 w 338"/>
              <a:gd name="T15" fmla="*/ 2147483647 h 141"/>
              <a:gd name="T16" fmla="*/ 2147483647 w 338"/>
              <a:gd name="T17" fmla="*/ 2147483647 h 141"/>
              <a:gd name="T18" fmla="*/ 2147483647 w 338"/>
              <a:gd name="T19" fmla="*/ 2147483647 h 141"/>
              <a:gd name="T20" fmla="*/ 2147483647 w 338"/>
              <a:gd name="T21" fmla="*/ 2147483647 h 141"/>
              <a:gd name="T22" fmla="*/ 2147483647 w 338"/>
              <a:gd name="T23" fmla="*/ 2147483647 h 141"/>
              <a:gd name="T24" fmla="*/ 2147483647 w 338"/>
              <a:gd name="T25" fmla="*/ 2147483647 h 141"/>
              <a:gd name="T26" fmla="*/ 2147483647 w 338"/>
              <a:gd name="T27" fmla="*/ 2147483647 h 141"/>
              <a:gd name="T28" fmla="*/ 2147483647 w 338"/>
              <a:gd name="T29" fmla="*/ 2147483647 h 141"/>
              <a:gd name="T30" fmla="*/ 2147483647 w 338"/>
              <a:gd name="T31" fmla="*/ 2147483647 h 141"/>
              <a:gd name="T32" fmla="*/ 2147483647 w 338"/>
              <a:gd name="T33" fmla="*/ 2147483647 h 141"/>
              <a:gd name="T34" fmla="*/ 2147483647 w 338"/>
              <a:gd name="T35" fmla="*/ 2147483647 h 141"/>
              <a:gd name="T36" fmla="*/ 2147483647 w 338"/>
              <a:gd name="T37" fmla="*/ 2147483647 h 141"/>
              <a:gd name="T38" fmla="*/ 2147483647 w 338"/>
              <a:gd name="T39" fmla="*/ 2147483647 h 141"/>
              <a:gd name="T40" fmla="*/ 2147483647 w 338"/>
              <a:gd name="T41" fmla="*/ 2147483647 h 141"/>
              <a:gd name="T42" fmla="*/ 0 w 338"/>
              <a:gd name="T43" fmla="*/ 2147483647 h 141"/>
              <a:gd name="T44" fmla="*/ 2147483647 w 338"/>
              <a:gd name="T45" fmla="*/ 2147483647 h 141"/>
              <a:gd name="T46" fmla="*/ 2147483647 w 338"/>
              <a:gd name="T47" fmla="*/ 2147483647 h 141"/>
              <a:gd name="T48" fmla="*/ 2147483647 w 338"/>
              <a:gd name="T49" fmla="*/ 2147483647 h 141"/>
              <a:gd name="T50" fmla="*/ 2147483647 w 338"/>
              <a:gd name="T51" fmla="*/ 2147483647 h 141"/>
              <a:gd name="T52" fmla="*/ 2147483647 w 338"/>
              <a:gd name="T53" fmla="*/ 2147483647 h 141"/>
              <a:gd name="T54" fmla="*/ 2147483647 w 338"/>
              <a:gd name="T55" fmla="*/ 2147483647 h 141"/>
              <a:gd name="T56" fmla="*/ 2147483647 w 338"/>
              <a:gd name="T57" fmla="*/ 2147483647 h 141"/>
              <a:gd name="T58" fmla="*/ 2147483647 w 338"/>
              <a:gd name="T59" fmla="*/ 2147483647 h 141"/>
              <a:gd name="T60" fmla="*/ 2147483647 w 338"/>
              <a:gd name="T61" fmla="*/ 2147483647 h 141"/>
              <a:gd name="T62" fmla="*/ 2147483647 w 338"/>
              <a:gd name="T63" fmla="*/ 2147483647 h 141"/>
              <a:gd name="T64" fmla="*/ 2147483647 w 338"/>
              <a:gd name="T65" fmla="*/ 2147483647 h 141"/>
              <a:gd name="T66" fmla="*/ 2147483647 w 338"/>
              <a:gd name="T67" fmla="*/ 2147483647 h 141"/>
              <a:gd name="T68" fmla="*/ 2147483647 w 338"/>
              <a:gd name="T69" fmla="*/ 2147483647 h 141"/>
              <a:gd name="T70" fmla="*/ 2147483647 w 338"/>
              <a:gd name="T71" fmla="*/ 2147483647 h 141"/>
              <a:gd name="T72" fmla="*/ 2147483647 w 338"/>
              <a:gd name="T73" fmla="*/ 2147483647 h 141"/>
              <a:gd name="T74" fmla="*/ 2147483647 w 338"/>
              <a:gd name="T75" fmla="*/ 2147483647 h 141"/>
              <a:gd name="T76" fmla="*/ 2147483647 w 338"/>
              <a:gd name="T77" fmla="*/ 2147483647 h 141"/>
              <a:gd name="T78" fmla="*/ 2147483647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296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640128" y="2755528"/>
            <a:ext cx="111125" cy="65087"/>
          </a:xfrm>
          <a:custGeom>
            <a:avLst/>
            <a:gdLst>
              <a:gd name="T0" fmla="*/ 2147483647 w 259"/>
              <a:gd name="T1" fmla="*/ 2147483647 h 129"/>
              <a:gd name="T2" fmla="*/ 2147483647 w 259"/>
              <a:gd name="T3" fmla="*/ 2147483647 h 129"/>
              <a:gd name="T4" fmla="*/ 2147483647 w 259"/>
              <a:gd name="T5" fmla="*/ 2147483647 h 129"/>
              <a:gd name="T6" fmla="*/ 2147483647 w 259"/>
              <a:gd name="T7" fmla="*/ 2147483647 h 129"/>
              <a:gd name="T8" fmla="*/ 2147483647 w 259"/>
              <a:gd name="T9" fmla="*/ 2147483647 h 129"/>
              <a:gd name="T10" fmla="*/ 2147483647 w 259"/>
              <a:gd name="T11" fmla="*/ 2147483647 h 129"/>
              <a:gd name="T12" fmla="*/ 2147483647 w 259"/>
              <a:gd name="T13" fmla="*/ 2147483647 h 129"/>
              <a:gd name="T14" fmla="*/ 2147483647 w 259"/>
              <a:gd name="T15" fmla="*/ 2147483647 h 129"/>
              <a:gd name="T16" fmla="*/ 2147483647 w 259"/>
              <a:gd name="T17" fmla="*/ 2147483647 h 129"/>
              <a:gd name="T18" fmla="*/ 2147483647 w 259"/>
              <a:gd name="T19" fmla="*/ 2147483647 h 129"/>
              <a:gd name="T20" fmla="*/ 2147483647 w 259"/>
              <a:gd name="T21" fmla="*/ 2147483647 h 129"/>
              <a:gd name="T22" fmla="*/ 2147483647 w 259"/>
              <a:gd name="T23" fmla="*/ 2147483647 h 129"/>
              <a:gd name="T24" fmla="*/ 2147483647 w 259"/>
              <a:gd name="T25" fmla="*/ 2147483647 h 129"/>
              <a:gd name="T26" fmla="*/ 2147483647 w 259"/>
              <a:gd name="T27" fmla="*/ 2147483647 h 129"/>
              <a:gd name="T28" fmla="*/ 2147483647 w 259"/>
              <a:gd name="T29" fmla="*/ 2147483647 h 129"/>
              <a:gd name="T30" fmla="*/ 2147483647 w 259"/>
              <a:gd name="T31" fmla="*/ 2147483647 h 129"/>
              <a:gd name="T32" fmla="*/ 2147483647 w 259"/>
              <a:gd name="T33" fmla="*/ 2147483647 h 129"/>
              <a:gd name="T34" fmla="*/ 2147483647 w 259"/>
              <a:gd name="T35" fmla="*/ 2147483647 h 129"/>
              <a:gd name="T36" fmla="*/ 2147483647 w 259"/>
              <a:gd name="T37" fmla="*/ 2147483647 h 129"/>
              <a:gd name="T38" fmla="*/ 2147483647 w 259"/>
              <a:gd name="T39" fmla="*/ 2147483647 h 129"/>
              <a:gd name="T40" fmla="*/ 2147483647 w 259"/>
              <a:gd name="T41" fmla="*/ 2147483647 h 129"/>
              <a:gd name="T42" fmla="*/ 2147483647 w 259"/>
              <a:gd name="T43" fmla="*/ 2147483647 h 129"/>
              <a:gd name="T44" fmla="*/ 2147483647 w 259"/>
              <a:gd name="T45" fmla="*/ 0 h 129"/>
              <a:gd name="T46" fmla="*/ 2147483647 w 259"/>
              <a:gd name="T47" fmla="*/ 0 h 129"/>
              <a:gd name="T48" fmla="*/ 2147483647 w 259"/>
              <a:gd name="T49" fmla="*/ 0 h 129"/>
              <a:gd name="T50" fmla="*/ 2147483647 w 259"/>
              <a:gd name="T51" fmla="*/ 0 h 129"/>
              <a:gd name="T52" fmla="*/ 2147483647 w 259"/>
              <a:gd name="T53" fmla="*/ 2147483647 h 129"/>
              <a:gd name="T54" fmla="*/ 2147483647 w 259"/>
              <a:gd name="T55" fmla="*/ 2147483647 h 129"/>
              <a:gd name="T56" fmla="*/ 2147483647 w 259"/>
              <a:gd name="T57" fmla="*/ 2147483647 h 129"/>
              <a:gd name="T58" fmla="*/ 2147483647 w 259"/>
              <a:gd name="T59" fmla="*/ 2147483647 h 129"/>
              <a:gd name="T60" fmla="*/ 2147483647 w 259"/>
              <a:gd name="T61" fmla="*/ 2147483647 h 129"/>
              <a:gd name="T62" fmla="*/ 2147483647 w 259"/>
              <a:gd name="T63" fmla="*/ 2147483647 h 129"/>
              <a:gd name="T64" fmla="*/ 2147483647 w 259"/>
              <a:gd name="T65" fmla="*/ 2147483647 h 129"/>
              <a:gd name="T66" fmla="*/ 0 w 259"/>
              <a:gd name="T67" fmla="*/ 2147483647 h 129"/>
              <a:gd name="T68" fmla="*/ 0 w 259"/>
              <a:gd name="T69" fmla="*/ 2147483647 h 129"/>
              <a:gd name="T70" fmla="*/ 0 w 259"/>
              <a:gd name="T71" fmla="*/ 2147483647 h 129"/>
              <a:gd name="T72" fmla="*/ 2147483647 w 259"/>
              <a:gd name="T73" fmla="*/ 2147483647 h 129"/>
              <a:gd name="T74" fmla="*/ 2147483647 w 259"/>
              <a:gd name="T75" fmla="*/ 2147483647 h 129"/>
              <a:gd name="T76" fmla="*/ 2147483647 w 259"/>
              <a:gd name="T77" fmla="*/ 2147483647 h 129"/>
              <a:gd name="T78" fmla="*/ 2147483647 w 259"/>
              <a:gd name="T79" fmla="*/ 2147483647 h 129"/>
              <a:gd name="T80" fmla="*/ 2147483647 w 259"/>
              <a:gd name="T81" fmla="*/ 2147483647 h 129"/>
              <a:gd name="T82" fmla="*/ 2147483647 w 259"/>
              <a:gd name="T83" fmla="*/ 2147483647 h 129"/>
              <a:gd name="T84" fmla="*/ 2147483647 w 259"/>
              <a:gd name="T85" fmla="*/ 2147483647 h 129"/>
              <a:gd name="T86" fmla="*/ 2147483647 w 259"/>
              <a:gd name="T87" fmla="*/ 2147483647 h 129"/>
              <a:gd name="T88" fmla="*/ 2147483647 w 259"/>
              <a:gd name="T89" fmla="*/ 2147483647 h 129"/>
              <a:gd name="T90" fmla="*/ 2147483647 w 259"/>
              <a:gd name="T91" fmla="*/ 2147483647 h 129"/>
              <a:gd name="T92" fmla="*/ 2147483647 w 259"/>
              <a:gd name="T93" fmla="*/ 2147483647 h 129"/>
              <a:gd name="T94" fmla="*/ 2147483647 w 259"/>
              <a:gd name="T95" fmla="*/ 2147483647 h 129"/>
              <a:gd name="T96" fmla="*/ 2147483647 w 259"/>
              <a:gd name="T97" fmla="*/ 2147483647 h 129"/>
              <a:gd name="T98" fmla="*/ 2147483647 w 259"/>
              <a:gd name="T99" fmla="*/ 2147483647 h 129"/>
              <a:gd name="T100" fmla="*/ 2147483647 w 259"/>
              <a:gd name="T101" fmla="*/ 2147483647 h 129"/>
              <a:gd name="T102" fmla="*/ 2147483647 w 259"/>
              <a:gd name="T103" fmla="*/ 2147483647 h 129"/>
              <a:gd name="T104" fmla="*/ 2147483647 w 259"/>
              <a:gd name="T105" fmla="*/ 2147483647 h 129"/>
              <a:gd name="T106" fmla="*/ 2147483647 w 259"/>
              <a:gd name="T107" fmla="*/ 2147483647 h 129"/>
              <a:gd name="T108" fmla="*/ 2147483647 w 259"/>
              <a:gd name="T109" fmla="*/ 2147483647 h 129"/>
              <a:gd name="T110" fmla="*/ 2147483647 w 259"/>
              <a:gd name="T111" fmla="*/ 2147483647 h 129"/>
              <a:gd name="T112" fmla="*/ 2147483647 w 259"/>
              <a:gd name="T113" fmla="*/ 2147483647 h 129"/>
              <a:gd name="T114" fmla="*/ 2147483647 w 259"/>
              <a:gd name="T115" fmla="*/ 2147483647 h 129"/>
              <a:gd name="T116" fmla="*/ 2147483647 w 259"/>
              <a:gd name="T117" fmla="*/ 214748364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7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652828" y="3103190"/>
            <a:ext cx="179387" cy="142875"/>
          </a:xfrm>
          <a:custGeom>
            <a:avLst/>
            <a:gdLst>
              <a:gd name="T0" fmla="*/ 2147483647 w 425"/>
              <a:gd name="T1" fmla="*/ 2147483647 h 272"/>
              <a:gd name="T2" fmla="*/ 2147483647 w 425"/>
              <a:gd name="T3" fmla="*/ 2147483647 h 272"/>
              <a:gd name="T4" fmla="*/ 2147483647 w 425"/>
              <a:gd name="T5" fmla="*/ 2147483647 h 272"/>
              <a:gd name="T6" fmla="*/ 2147483647 w 425"/>
              <a:gd name="T7" fmla="*/ 2147483647 h 272"/>
              <a:gd name="T8" fmla="*/ 2147483647 w 425"/>
              <a:gd name="T9" fmla="*/ 2147483647 h 272"/>
              <a:gd name="T10" fmla="*/ 2147483647 w 425"/>
              <a:gd name="T11" fmla="*/ 2147483647 h 272"/>
              <a:gd name="T12" fmla="*/ 2147483647 w 425"/>
              <a:gd name="T13" fmla="*/ 2147483647 h 272"/>
              <a:gd name="T14" fmla="*/ 2147483647 w 425"/>
              <a:gd name="T15" fmla="*/ 2147483647 h 272"/>
              <a:gd name="T16" fmla="*/ 2147483647 w 425"/>
              <a:gd name="T17" fmla="*/ 2147483647 h 272"/>
              <a:gd name="T18" fmla="*/ 2147483647 w 425"/>
              <a:gd name="T19" fmla="*/ 2147483647 h 272"/>
              <a:gd name="T20" fmla="*/ 2147483647 w 425"/>
              <a:gd name="T21" fmla="*/ 2147483647 h 272"/>
              <a:gd name="T22" fmla="*/ 2147483647 w 425"/>
              <a:gd name="T23" fmla="*/ 2147483647 h 272"/>
              <a:gd name="T24" fmla="*/ 2147483647 w 425"/>
              <a:gd name="T25" fmla="*/ 2147483647 h 272"/>
              <a:gd name="T26" fmla="*/ 2147483647 w 425"/>
              <a:gd name="T27" fmla="*/ 2147483647 h 272"/>
              <a:gd name="T28" fmla="*/ 2147483647 w 425"/>
              <a:gd name="T29" fmla="*/ 2147483647 h 272"/>
              <a:gd name="T30" fmla="*/ 2147483647 w 425"/>
              <a:gd name="T31" fmla="*/ 2147483647 h 272"/>
              <a:gd name="T32" fmla="*/ 2147483647 w 425"/>
              <a:gd name="T33" fmla="*/ 2147483647 h 272"/>
              <a:gd name="T34" fmla="*/ 2147483647 w 425"/>
              <a:gd name="T35" fmla="*/ 2147483647 h 272"/>
              <a:gd name="T36" fmla="*/ 2147483647 w 425"/>
              <a:gd name="T37" fmla="*/ 2147483647 h 272"/>
              <a:gd name="T38" fmla="*/ 0 w 425"/>
              <a:gd name="T39" fmla="*/ 2147483647 h 272"/>
              <a:gd name="T40" fmla="*/ 2147483647 w 425"/>
              <a:gd name="T41" fmla="*/ 2147483647 h 272"/>
              <a:gd name="T42" fmla="*/ 2147483647 w 425"/>
              <a:gd name="T43" fmla="*/ 2147483647 h 272"/>
              <a:gd name="T44" fmla="*/ 2147483647 w 425"/>
              <a:gd name="T45" fmla="*/ 2147483647 h 272"/>
              <a:gd name="T46" fmla="*/ 2147483647 w 425"/>
              <a:gd name="T47" fmla="*/ 2147483647 h 272"/>
              <a:gd name="T48" fmla="*/ 2147483647 w 425"/>
              <a:gd name="T49" fmla="*/ 2147483647 h 272"/>
              <a:gd name="T50" fmla="*/ 2147483647 w 425"/>
              <a:gd name="T51" fmla="*/ 2147483647 h 272"/>
              <a:gd name="T52" fmla="*/ 2147483647 w 425"/>
              <a:gd name="T53" fmla="*/ 2147483647 h 272"/>
              <a:gd name="T54" fmla="*/ 2147483647 w 425"/>
              <a:gd name="T55" fmla="*/ 2147483647 h 272"/>
              <a:gd name="T56" fmla="*/ 2147483647 w 425"/>
              <a:gd name="T57" fmla="*/ 2147483647 h 272"/>
              <a:gd name="T58" fmla="*/ 2147483647 w 425"/>
              <a:gd name="T59" fmla="*/ 2147483647 h 272"/>
              <a:gd name="T60" fmla="*/ 2147483647 w 425"/>
              <a:gd name="T61" fmla="*/ 2147483647 h 272"/>
              <a:gd name="T62" fmla="*/ 2147483647 w 425"/>
              <a:gd name="T63" fmla="*/ 2147483647 h 272"/>
              <a:gd name="T64" fmla="*/ 2147483647 w 425"/>
              <a:gd name="T65" fmla="*/ 2147483647 h 272"/>
              <a:gd name="T66" fmla="*/ 2147483647 w 425"/>
              <a:gd name="T67" fmla="*/ 0 h 272"/>
              <a:gd name="T68" fmla="*/ 2147483647 w 425"/>
              <a:gd name="T69" fmla="*/ 2147483647 h 272"/>
              <a:gd name="T70" fmla="*/ 2147483647 w 425"/>
              <a:gd name="T71" fmla="*/ 2147483647 h 272"/>
              <a:gd name="T72" fmla="*/ 2147483647 w 425"/>
              <a:gd name="T73" fmla="*/ 2147483647 h 272"/>
              <a:gd name="T74" fmla="*/ 2147483647 w 425"/>
              <a:gd name="T75" fmla="*/ 2147483647 h 272"/>
              <a:gd name="T76" fmla="*/ 2147483647 w 425"/>
              <a:gd name="T77" fmla="*/ 2147483647 h 272"/>
              <a:gd name="T78" fmla="*/ 2147483647 w 425"/>
              <a:gd name="T79" fmla="*/ 2147483647 h 272"/>
              <a:gd name="T80" fmla="*/ 2147483647 w 425"/>
              <a:gd name="T81" fmla="*/ 2147483647 h 272"/>
              <a:gd name="T82" fmla="*/ 2147483647 w 425"/>
              <a:gd name="T83" fmla="*/ 2147483647 h 272"/>
              <a:gd name="T84" fmla="*/ 2147483647 w 425"/>
              <a:gd name="T85" fmla="*/ 2147483647 h 272"/>
              <a:gd name="T86" fmla="*/ 2147483647 w 425"/>
              <a:gd name="T87" fmla="*/ 2147483647 h 272"/>
              <a:gd name="T88" fmla="*/ 2147483647 w 425"/>
              <a:gd name="T89" fmla="*/ 2147483647 h 272"/>
              <a:gd name="T90" fmla="*/ 2147483647 w 425"/>
              <a:gd name="T91" fmla="*/ 2147483647 h 272"/>
              <a:gd name="T92" fmla="*/ 2147483647 w 425"/>
              <a:gd name="T93" fmla="*/ 2147483647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298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652578" y="4141415"/>
            <a:ext cx="14287" cy="55563"/>
          </a:xfrm>
          <a:custGeom>
            <a:avLst/>
            <a:gdLst>
              <a:gd name="T0" fmla="*/ 2147483647 w 33"/>
              <a:gd name="T1" fmla="*/ 2147483647 h 31"/>
              <a:gd name="T2" fmla="*/ 0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0 h 31"/>
              <a:gd name="T18" fmla="*/ 2147483647 w 33"/>
              <a:gd name="T19" fmla="*/ 0 h 31"/>
              <a:gd name="T20" fmla="*/ 2147483647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99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757603" y="3095253"/>
            <a:ext cx="85725" cy="79375"/>
          </a:xfrm>
          <a:custGeom>
            <a:avLst/>
            <a:gdLst>
              <a:gd name="T0" fmla="*/ 2147483647 w 192"/>
              <a:gd name="T1" fmla="*/ 2147483647 h 154"/>
              <a:gd name="T2" fmla="*/ 2147483647 w 192"/>
              <a:gd name="T3" fmla="*/ 0 h 154"/>
              <a:gd name="T4" fmla="*/ 2147483647 w 192"/>
              <a:gd name="T5" fmla="*/ 2147483647 h 154"/>
              <a:gd name="T6" fmla="*/ 2147483647 w 192"/>
              <a:gd name="T7" fmla="*/ 2147483647 h 154"/>
              <a:gd name="T8" fmla="*/ 2147483647 w 192"/>
              <a:gd name="T9" fmla="*/ 2147483647 h 154"/>
              <a:gd name="T10" fmla="*/ 2147483647 w 192"/>
              <a:gd name="T11" fmla="*/ 2147483647 h 154"/>
              <a:gd name="T12" fmla="*/ 2147483647 w 192"/>
              <a:gd name="T13" fmla="*/ 2147483647 h 154"/>
              <a:gd name="T14" fmla="*/ 2147483647 w 192"/>
              <a:gd name="T15" fmla="*/ 2147483647 h 154"/>
              <a:gd name="T16" fmla="*/ 2147483647 w 192"/>
              <a:gd name="T17" fmla="*/ 2147483647 h 154"/>
              <a:gd name="T18" fmla="*/ 2147483647 w 192"/>
              <a:gd name="T19" fmla="*/ 2147483647 h 154"/>
              <a:gd name="T20" fmla="*/ 2147483647 w 192"/>
              <a:gd name="T21" fmla="*/ 2147483647 h 154"/>
              <a:gd name="T22" fmla="*/ 2147483647 w 192"/>
              <a:gd name="T23" fmla="*/ 2147483647 h 154"/>
              <a:gd name="T24" fmla="*/ 2147483647 w 192"/>
              <a:gd name="T25" fmla="*/ 2147483647 h 154"/>
              <a:gd name="T26" fmla="*/ 2147483647 w 192"/>
              <a:gd name="T27" fmla="*/ 2147483647 h 154"/>
              <a:gd name="T28" fmla="*/ 2147483647 w 192"/>
              <a:gd name="T29" fmla="*/ 2147483647 h 154"/>
              <a:gd name="T30" fmla="*/ 2147483647 w 192"/>
              <a:gd name="T31" fmla="*/ 2147483647 h 154"/>
              <a:gd name="T32" fmla="*/ 2147483647 w 192"/>
              <a:gd name="T33" fmla="*/ 2147483647 h 154"/>
              <a:gd name="T34" fmla="*/ 2147483647 w 192"/>
              <a:gd name="T35" fmla="*/ 2147483647 h 154"/>
              <a:gd name="T36" fmla="*/ 2147483647 w 192"/>
              <a:gd name="T37" fmla="*/ 2147483647 h 154"/>
              <a:gd name="T38" fmla="*/ 2147483647 w 192"/>
              <a:gd name="T39" fmla="*/ 2147483647 h 154"/>
              <a:gd name="T40" fmla="*/ 2147483647 w 192"/>
              <a:gd name="T41" fmla="*/ 2147483647 h 154"/>
              <a:gd name="T42" fmla="*/ 2147483647 w 192"/>
              <a:gd name="T43" fmla="*/ 2147483647 h 154"/>
              <a:gd name="T44" fmla="*/ 2147483647 w 192"/>
              <a:gd name="T45" fmla="*/ 2147483647 h 154"/>
              <a:gd name="T46" fmla="*/ 2147483647 w 192"/>
              <a:gd name="T47" fmla="*/ 2147483647 h 154"/>
              <a:gd name="T48" fmla="*/ 2147483647 w 192"/>
              <a:gd name="T49" fmla="*/ 2147483647 h 154"/>
              <a:gd name="T50" fmla="*/ 2147483647 w 192"/>
              <a:gd name="T51" fmla="*/ 2147483647 h 154"/>
              <a:gd name="T52" fmla="*/ 0 w 192"/>
              <a:gd name="T53" fmla="*/ 2147483647 h 154"/>
              <a:gd name="T54" fmla="*/ 2147483647 w 192"/>
              <a:gd name="T55" fmla="*/ 2147483647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0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675053" y="2977778"/>
            <a:ext cx="381000" cy="247650"/>
          </a:xfrm>
          <a:custGeom>
            <a:avLst/>
            <a:gdLst>
              <a:gd name="T0" fmla="*/ 2147483647 w 877"/>
              <a:gd name="T1" fmla="*/ 2147483647 h 469"/>
              <a:gd name="T2" fmla="*/ 2147483647 w 877"/>
              <a:gd name="T3" fmla="*/ 2147483647 h 469"/>
              <a:gd name="T4" fmla="*/ 2147483647 w 877"/>
              <a:gd name="T5" fmla="*/ 2147483647 h 469"/>
              <a:gd name="T6" fmla="*/ 2147483647 w 877"/>
              <a:gd name="T7" fmla="*/ 2147483647 h 469"/>
              <a:gd name="T8" fmla="*/ 2147483647 w 877"/>
              <a:gd name="T9" fmla="*/ 2147483647 h 469"/>
              <a:gd name="T10" fmla="*/ 2147483647 w 877"/>
              <a:gd name="T11" fmla="*/ 2147483647 h 469"/>
              <a:gd name="T12" fmla="*/ 2147483647 w 877"/>
              <a:gd name="T13" fmla="*/ 2147483647 h 469"/>
              <a:gd name="T14" fmla="*/ 2147483647 w 877"/>
              <a:gd name="T15" fmla="*/ 2147483647 h 469"/>
              <a:gd name="T16" fmla="*/ 2147483647 w 877"/>
              <a:gd name="T17" fmla="*/ 2147483647 h 469"/>
              <a:gd name="T18" fmla="*/ 2147483647 w 877"/>
              <a:gd name="T19" fmla="*/ 2147483647 h 469"/>
              <a:gd name="T20" fmla="*/ 2147483647 w 877"/>
              <a:gd name="T21" fmla="*/ 2147483647 h 469"/>
              <a:gd name="T22" fmla="*/ 2147483647 w 877"/>
              <a:gd name="T23" fmla="*/ 2147483647 h 469"/>
              <a:gd name="T24" fmla="*/ 2147483647 w 877"/>
              <a:gd name="T25" fmla="*/ 2147483647 h 469"/>
              <a:gd name="T26" fmla="*/ 2147483647 w 877"/>
              <a:gd name="T27" fmla="*/ 2147483647 h 469"/>
              <a:gd name="T28" fmla="*/ 2147483647 w 877"/>
              <a:gd name="T29" fmla="*/ 2147483647 h 469"/>
              <a:gd name="T30" fmla="*/ 2147483647 w 877"/>
              <a:gd name="T31" fmla="*/ 2147483647 h 469"/>
              <a:gd name="T32" fmla="*/ 2147483647 w 877"/>
              <a:gd name="T33" fmla="*/ 2147483647 h 469"/>
              <a:gd name="T34" fmla="*/ 2147483647 w 877"/>
              <a:gd name="T35" fmla="*/ 2147483647 h 469"/>
              <a:gd name="T36" fmla="*/ 2147483647 w 877"/>
              <a:gd name="T37" fmla="*/ 2147483647 h 469"/>
              <a:gd name="T38" fmla="*/ 2147483647 w 877"/>
              <a:gd name="T39" fmla="*/ 2147483647 h 469"/>
              <a:gd name="T40" fmla="*/ 2147483647 w 877"/>
              <a:gd name="T41" fmla="*/ 0 h 469"/>
              <a:gd name="T42" fmla="*/ 2147483647 w 877"/>
              <a:gd name="T43" fmla="*/ 2147483647 h 469"/>
              <a:gd name="T44" fmla="*/ 2147483647 w 877"/>
              <a:gd name="T45" fmla="*/ 2147483647 h 469"/>
              <a:gd name="T46" fmla="*/ 2147483647 w 877"/>
              <a:gd name="T47" fmla="*/ 2147483647 h 469"/>
              <a:gd name="T48" fmla="*/ 2147483647 w 877"/>
              <a:gd name="T49" fmla="*/ 2147483647 h 469"/>
              <a:gd name="T50" fmla="*/ 2147483647 w 877"/>
              <a:gd name="T51" fmla="*/ 2147483647 h 469"/>
              <a:gd name="T52" fmla="*/ 2147483647 w 877"/>
              <a:gd name="T53" fmla="*/ 2147483647 h 469"/>
              <a:gd name="T54" fmla="*/ 2147483647 w 877"/>
              <a:gd name="T55" fmla="*/ 2147483647 h 469"/>
              <a:gd name="T56" fmla="*/ 2147483647 w 877"/>
              <a:gd name="T57" fmla="*/ 2147483647 h 469"/>
              <a:gd name="T58" fmla="*/ 2147483647 w 877"/>
              <a:gd name="T59" fmla="*/ 2147483647 h 469"/>
              <a:gd name="T60" fmla="*/ 2147483647 w 877"/>
              <a:gd name="T61" fmla="*/ 2147483647 h 469"/>
              <a:gd name="T62" fmla="*/ 2147483647 w 877"/>
              <a:gd name="T63" fmla="*/ 2147483647 h 469"/>
              <a:gd name="T64" fmla="*/ 2147483647 w 877"/>
              <a:gd name="T65" fmla="*/ 2147483647 h 469"/>
              <a:gd name="T66" fmla="*/ 2147483647 w 877"/>
              <a:gd name="T67" fmla="*/ 2147483647 h 469"/>
              <a:gd name="T68" fmla="*/ 2147483647 w 877"/>
              <a:gd name="T69" fmla="*/ 2147483647 h 469"/>
              <a:gd name="T70" fmla="*/ 2147483647 w 877"/>
              <a:gd name="T71" fmla="*/ 2147483647 h 469"/>
              <a:gd name="T72" fmla="*/ 2147483647 w 877"/>
              <a:gd name="T73" fmla="*/ 2147483647 h 469"/>
              <a:gd name="T74" fmla="*/ 2147483647 w 877"/>
              <a:gd name="T75" fmla="*/ 2147483647 h 469"/>
              <a:gd name="T76" fmla="*/ 2147483647 w 877"/>
              <a:gd name="T77" fmla="*/ 2147483647 h 469"/>
              <a:gd name="T78" fmla="*/ 2147483647 w 877"/>
              <a:gd name="T79" fmla="*/ 2147483647 h 469"/>
              <a:gd name="T80" fmla="*/ 2147483647 w 877"/>
              <a:gd name="T81" fmla="*/ 2147483647 h 469"/>
              <a:gd name="T82" fmla="*/ 2147483647 w 877"/>
              <a:gd name="T83" fmla="*/ 2147483647 h 469"/>
              <a:gd name="T84" fmla="*/ 2147483647 w 877"/>
              <a:gd name="T85" fmla="*/ 2147483647 h 469"/>
              <a:gd name="T86" fmla="*/ 2147483647 w 877"/>
              <a:gd name="T87" fmla="*/ 2147483647 h 469"/>
              <a:gd name="T88" fmla="*/ 2147483647 w 877"/>
              <a:gd name="T89" fmla="*/ 2147483647 h 469"/>
              <a:gd name="T90" fmla="*/ 2147483647 w 877"/>
              <a:gd name="T91" fmla="*/ 2147483647 h 469"/>
              <a:gd name="T92" fmla="*/ 2147483647 w 877"/>
              <a:gd name="T93" fmla="*/ 2147483647 h 469"/>
              <a:gd name="T94" fmla="*/ 2147483647 w 877"/>
              <a:gd name="T95" fmla="*/ 2147483647 h 469"/>
              <a:gd name="T96" fmla="*/ 2147483647 w 877"/>
              <a:gd name="T97" fmla="*/ 2147483647 h 469"/>
              <a:gd name="T98" fmla="*/ 2147483647 w 877"/>
              <a:gd name="T99" fmla="*/ 2147483647 h 469"/>
              <a:gd name="T100" fmla="*/ 2147483647 w 877"/>
              <a:gd name="T101" fmla="*/ 2147483647 h 469"/>
              <a:gd name="T102" fmla="*/ 2147483647 w 877"/>
              <a:gd name="T103" fmla="*/ 2147483647 h 469"/>
              <a:gd name="T104" fmla="*/ 2147483647 w 877"/>
              <a:gd name="T105" fmla="*/ 2147483647 h 469"/>
              <a:gd name="T106" fmla="*/ 2147483647 w 877"/>
              <a:gd name="T107" fmla="*/ 2147483647 h 469"/>
              <a:gd name="T108" fmla="*/ 2147483647 w 877"/>
              <a:gd name="T109" fmla="*/ 2147483647 h 469"/>
              <a:gd name="T110" fmla="*/ 2147483647 w 877"/>
              <a:gd name="T111" fmla="*/ 2147483647 h 469"/>
              <a:gd name="T112" fmla="*/ 2147483647 w 877"/>
              <a:gd name="T113" fmla="*/ 2147483647 h 469"/>
              <a:gd name="T114" fmla="*/ 2147483647 w 877"/>
              <a:gd name="T115" fmla="*/ 2147483647 h 469"/>
              <a:gd name="T116" fmla="*/ 2147483647 w 877"/>
              <a:gd name="T117" fmla="*/ 2147483647 h 469"/>
              <a:gd name="T118" fmla="*/ 2147483647 w 877"/>
              <a:gd name="T119" fmla="*/ 2147483647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1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186228" y="3320678"/>
            <a:ext cx="47625" cy="63500"/>
          </a:xfrm>
          <a:custGeom>
            <a:avLst/>
            <a:gdLst>
              <a:gd name="T0" fmla="*/ 2147483647 w 107"/>
              <a:gd name="T1" fmla="*/ 0 h 123"/>
              <a:gd name="T2" fmla="*/ 2147483647 w 107"/>
              <a:gd name="T3" fmla="*/ 2147483647 h 123"/>
              <a:gd name="T4" fmla="*/ 2147483647 w 107"/>
              <a:gd name="T5" fmla="*/ 2147483647 h 123"/>
              <a:gd name="T6" fmla="*/ 2147483647 w 107"/>
              <a:gd name="T7" fmla="*/ 2147483647 h 123"/>
              <a:gd name="T8" fmla="*/ 2147483647 w 107"/>
              <a:gd name="T9" fmla="*/ 2147483647 h 123"/>
              <a:gd name="T10" fmla="*/ 2147483647 w 107"/>
              <a:gd name="T11" fmla="*/ 2147483647 h 123"/>
              <a:gd name="T12" fmla="*/ 2147483647 w 107"/>
              <a:gd name="T13" fmla="*/ 2147483647 h 123"/>
              <a:gd name="T14" fmla="*/ 2147483647 w 107"/>
              <a:gd name="T15" fmla="*/ 2147483647 h 123"/>
              <a:gd name="T16" fmla="*/ 2147483647 w 107"/>
              <a:gd name="T17" fmla="*/ 2147483647 h 123"/>
              <a:gd name="T18" fmla="*/ 2147483647 w 107"/>
              <a:gd name="T19" fmla="*/ 2147483647 h 123"/>
              <a:gd name="T20" fmla="*/ 2147483647 w 107"/>
              <a:gd name="T21" fmla="*/ 2147483647 h 123"/>
              <a:gd name="T22" fmla="*/ 2147483647 w 107"/>
              <a:gd name="T23" fmla="*/ 2147483647 h 123"/>
              <a:gd name="T24" fmla="*/ 2147483647 w 107"/>
              <a:gd name="T25" fmla="*/ 2147483647 h 123"/>
              <a:gd name="T26" fmla="*/ 2147483647 w 107"/>
              <a:gd name="T27" fmla="*/ 2147483647 h 123"/>
              <a:gd name="T28" fmla="*/ 2147483647 w 107"/>
              <a:gd name="T29" fmla="*/ 2147483647 h 123"/>
              <a:gd name="T30" fmla="*/ 2147483647 w 107"/>
              <a:gd name="T31" fmla="*/ 2147483647 h 123"/>
              <a:gd name="T32" fmla="*/ 2147483647 w 107"/>
              <a:gd name="T33" fmla="*/ 2147483647 h 123"/>
              <a:gd name="T34" fmla="*/ 2147483647 w 107"/>
              <a:gd name="T35" fmla="*/ 2147483647 h 123"/>
              <a:gd name="T36" fmla="*/ 2147483647 w 107"/>
              <a:gd name="T37" fmla="*/ 2147483647 h 123"/>
              <a:gd name="T38" fmla="*/ 2147483647 w 107"/>
              <a:gd name="T39" fmla="*/ 2147483647 h 123"/>
              <a:gd name="T40" fmla="*/ 2147483647 w 107"/>
              <a:gd name="T41" fmla="*/ 2147483647 h 123"/>
              <a:gd name="T42" fmla="*/ 0 w 107"/>
              <a:gd name="T43" fmla="*/ 2147483647 h 123"/>
              <a:gd name="T44" fmla="*/ 2147483647 w 107"/>
              <a:gd name="T45" fmla="*/ 0 h 123"/>
              <a:gd name="T46" fmla="*/ 214748364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2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729153" y="3334965"/>
            <a:ext cx="207962" cy="122238"/>
          </a:xfrm>
          <a:custGeom>
            <a:avLst/>
            <a:gdLst>
              <a:gd name="T0" fmla="*/ 2147483647 w 471"/>
              <a:gd name="T1" fmla="*/ 2147483647 h 234"/>
              <a:gd name="T2" fmla="*/ 2147483647 w 471"/>
              <a:gd name="T3" fmla="*/ 2147483647 h 234"/>
              <a:gd name="T4" fmla="*/ 2147483647 w 471"/>
              <a:gd name="T5" fmla="*/ 2147483647 h 234"/>
              <a:gd name="T6" fmla="*/ 2147483647 w 471"/>
              <a:gd name="T7" fmla="*/ 2147483647 h 234"/>
              <a:gd name="T8" fmla="*/ 2147483647 w 471"/>
              <a:gd name="T9" fmla="*/ 2147483647 h 234"/>
              <a:gd name="T10" fmla="*/ 2147483647 w 471"/>
              <a:gd name="T11" fmla="*/ 2147483647 h 234"/>
              <a:gd name="T12" fmla="*/ 2147483647 w 471"/>
              <a:gd name="T13" fmla="*/ 2147483647 h 234"/>
              <a:gd name="T14" fmla="*/ 2147483647 w 471"/>
              <a:gd name="T15" fmla="*/ 2147483647 h 234"/>
              <a:gd name="T16" fmla="*/ 2147483647 w 471"/>
              <a:gd name="T17" fmla="*/ 2147483647 h 234"/>
              <a:gd name="T18" fmla="*/ 2147483647 w 471"/>
              <a:gd name="T19" fmla="*/ 2147483647 h 234"/>
              <a:gd name="T20" fmla="*/ 2147483647 w 471"/>
              <a:gd name="T21" fmla="*/ 2147483647 h 234"/>
              <a:gd name="T22" fmla="*/ 2147483647 w 471"/>
              <a:gd name="T23" fmla="*/ 2147483647 h 234"/>
              <a:gd name="T24" fmla="*/ 2147483647 w 471"/>
              <a:gd name="T25" fmla="*/ 2147483647 h 234"/>
              <a:gd name="T26" fmla="*/ 2147483647 w 471"/>
              <a:gd name="T27" fmla="*/ 2147483647 h 234"/>
              <a:gd name="T28" fmla="*/ 2147483647 w 471"/>
              <a:gd name="T29" fmla="*/ 2147483647 h 234"/>
              <a:gd name="T30" fmla="*/ 2147483647 w 471"/>
              <a:gd name="T31" fmla="*/ 2147483647 h 234"/>
              <a:gd name="T32" fmla="*/ 2147483647 w 471"/>
              <a:gd name="T33" fmla="*/ 2147483647 h 234"/>
              <a:gd name="T34" fmla="*/ 2147483647 w 471"/>
              <a:gd name="T35" fmla="*/ 2147483647 h 234"/>
              <a:gd name="T36" fmla="*/ 2147483647 w 471"/>
              <a:gd name="T37" fmla="*/ 2147483647 h 234"/>
              <a:gd name="T38" fmla="*/ 2147483647 w 471"/>
              <a:gd name="T39" fmla="*/ 2147483647 h 234"/>
              <a:gd name="T40" fmla="*/ 2147483647 w 471"/>
              <a:gd name="T41" fmla="*/ 2147483647 h 234"/>
              <a:gd name="T42" fmla="*/ 2147483647 w 471"/>
              <a:gd name="T43" fmla="*/ 2147483647 h 234"/>
              <a:gd name="T44" fmla="*/ 2147483647 w 471"/>
              <a:gd name="T45" fmla="*/ 2147483647 h 234"/>
              <a:gd name="T46" fmla="*/ 2147483647 w 471"/>
              <a:gd name="T47" fmla="*/ 2147483647 h 234"/>
              <a:gd name="T48" fmla="*/ 2147483647 w 471"/>
              <a:gd name="T49" fmla="*/ 2147483647 h 234"/>
              <a:gd name="T50" fmla="*/ 2147483647 w 471"/>
              <a:gd name="T51" fmla="*/ 2147483647 h 234"/>
              <a:gd name="T52" fmla="*/ 2147483647 w 471"/>
              <a:gd name="T53" fmla="*/ 2147483647 h 234"/>
              <a:gd name="T54" fmla="*/ 2147483647 w 471"/>
              <a:gd name="T55" fmla="*/ 2147483647 h 234"/>
              <a:gd name="T56" fmla="*/ 2147483647 w 471"/>
              <a:gd name="T57" fmla="*/ 2147483647 h 234"/>
              <a:gd name="T58" fmla="*/ 2147483647 w 471"/>
              <a:gd name="T59" fmla="*/ 2147483647 h 234"/>
              <a:gd name="T60" fmla="*/ 2147483647 w 471"/>
              <a:gd name="T61" fmla="*/ 2147483647 h 234"/>
              <a:gd name="T62" fmla="*/ 2147483647 w 471"/>
              <a:gd name="T63" fmla="*/ 2147483647 h 234"/>
              <a:gd name="T64" fmla="*/ 2147483647 w 471"/>
              <a:gd name="T65" fmla="*/ 2147483647 h 234"/>
              <a:gd name="T66" fmla="*/ 2147483647 w 471"/>
              <a:gd name="T67" fmla="*/ 2147483647 h 234"/>
              <a:gd name="T68" fmla="*/ 2147483647 w 471"/>
              <a:gd name="T69" fmla="*/ 2147483647 h 234"/>
              <a:gd name="T70" fmla="*/ 2147483647 w 471"/>
              <a:gd name="T71" fmla="*/ 2147483647 h 234"/>
              <a:gd name="T72" fmla="*/ 2147483647 w 471"/>
              <a:gd name="T73" fmla="*/ 2147483647 h 234"/>
              <a:gd name="T74" fmla="*/ 2147483647 w 471"/>
              <a:gd name="T75" fmla="*/ 2147483647 h 234"/>
              <a:gd name="T76" fmla="*/ 2147483647 w 471"/>
              <a:gd name="T77" fmla="*/ 2147483647 h 234"/>
              <a:gd name="T78" fmla="*/ 0 w 471"/>
              <a:gd name="T79" fmla="*/ 2147483647 h 234"/>
              <a:gd name="T80" fmla="*/ 2147483647 w 471"/>
              <a:gd name="T81" fmla="*/ 2147483647 h 234"/>
              <a:gd name="T82" fmla="*/ 2147483647 w 471"/>
              <a:gd name="T83" fmla="*/ 2147483647 h 234"/>
              <a:gd name="T84" fmla="*/ 2147483647 w 471"/>
              <a:gd name="T85" fmla="*/ 0 h 234"/>
              <a:gd name="T86" fmla="*/ 2147483647 w 471"/>
              <a:gd name="T87" fmla="*/ 2147483647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3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778365" y="3263528"/>
            <a:ext cx="225425" cy="125412"/>
          </a:xfrm>
          <a:custGeom>
            <a:avLst/>
            <a:gdLst>
              <a:gd name="T0" fmla="*/ 2147483647 w 525"/>
              <a:gd name="T1" fmla="*/ 2147483647 h 241"/>
              <a:gd name="T2" fmla="*/ 2147483647 w 525"/>
              <a:gd name="T3" fmla="*/ 2147483647 h 241"/>
              <a:gd name="T4" fmla="*/ 2147483647 w 525"/>
              <a:gd name="T5" fmla="*/ 2147483647 h 241"/>
              <a:gd name="T6" fmla="*/ 2147483647 w 525"/>
              <a:gd name="T7" fmla="*/ 2147483647 h 241"/>
              <a:gd name="T8" fmla="*/ 2147483647 w 525"/>
              <a:gd name="T9" fmla="*/ 2147483647 h 241"/>
              <a:gd name="T10" fmla="*/ 2147483647 w 525"/>
              <a:gd name="T11" fmla="*/ 2147483647 h 241"/>
              <a:gd name="T12" fmla="*/ 2147483647 w 525"/>
              <a:gd name="T13" fmla="*/ 2147483647 h 241"/>
              <a:gd name="T14" fmla="*/ 2147483647 w 525"/>
              <a:gd name="T15" fmla="*/ 0 h 241"/>
              <a:gd name="T16" fmla="*/ 2147483647 w 525"/>
              <a:gd name="T17" fmla="*/ 2147483647 h 241"/>
              <a:gd name="T18" fmla="*/ 2147483647 w 525"/>
              <a:gd name="T19" fmla="*/ 2147483647 h 241"/>
              <a:gd name="T20" fmla="*/ 2147483647 w 525"/>
              <a:gd name="T21" fmla="*/ 2147483647 h 241"/>
              <a:gd name="T22" fmla="*/ 2147483647 w 525"/>
              <a:gd name="T23" fmla="*/ 2147483647 h 241"/>
              <a:gd name="T24" fmla="*/ 2147483647 w 525"/>
              <a:gd name="T25" fmla="*/ 2147483647 h 241"/>
              <a:gd name="T26" fmla="*/ 2147483647 w 525"/>
              <a:gd name="T27" fmla="*/ 2147483647 h 241"/>
              <a:gd name="T28" fmla="*/ 2147483647 w 525"/>
              <a:gd name="T29" fmla="*/ 2147483647 h 241"/>
              <a:gd name="T30" fmla="*/ 2147483647 w 525"/>
              <a:gd name="T31" fmla="*/ 2147483647 h 241"/>
              <a:gd name="T32" fmla="*/ 2147483647 w 525"/>
              <a:gd name="T33" fmla="*/ 2147483647 h 241"/>
              <a:gd name="T34" fmla="*/ 2147483647 w 525"/>
              <a:gd name="T35" fmla="*/ 2147483647 h 241"/>
              <a:gd name="T36" fmla="*/ 2147483647 w 525"/>
              <a:gd name="T37" fmla="*/ 2147483647 h 241"/>
              <a:gd name="T38" fmla="*/ 2147483647 w 525"/>
              <a:gd name="T39" fmla="*/ 2147483647 h 241"/>
              <a:gd name="T40" fmla="*/ 2147483647 w 525"/>
              <a:gd name="T41" fmla="*/ 2147483647 h 241"/>
              <a:gd name="T42" fmla="*/ 2147483647 w 525"/>
              <a:gd name="T43" fmla="*/ 2147483647 h 241"/>
              <a:gd name="T44" fmla="*/ 2147483647 w 525"/>
              <a:gd name="T45" fmla="*/ 2147483647 h 241"/>
              <a:gd name="T46" fmla="*/ 2147483647 w 525"/>
              <a:gd name="T47" fmla="*/ 2147483647 h 241"/>
              <a:gd name="T48" fmla="*/ 2147483647 w 525"/>
              <a:gd name="T49" fmla="*/ 2147483647 h 241"/>
              <a:gd name="T50" fmla="*/ 2147483647 w 525"/>
              <a:gd name="T51" fmla="*/ 2147483647 h 241"/>
              <a:gd name="T52" fmla="*/ 2147483647 w 525"/>
              <a:gd name="T53" fmla="*/ 2147483647 h 241"/>
              <a:gd name="T54" fmla="*/ 2147483647 w 525"/>
              <a:gd name="T55" fmla="*/ 2147483647 h 241"/>
              <a:gd name="T56" fmla="*/ 2147483647 w 525"/>
              <a:gd name="T57" fmla="*/ 2147483647 h 241"/>
              <a:gd name="T58" fmla="*/ 2147483647 w 525"/>
              <a:gd name="T59" fmla="*/ 2147483647 h 241"/>
              <a:gd name="T60" fmla="*/ 2147483647 w 525"/>
              <a:gd name="T61" fmla="*/ 2147483647 h 241"/>
              <a:gd name="T62" fmla="*/ 2147483647 w 525"/>
              <a:gd name="T63" fmla="*/ 2147483647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4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384665" y="3279403"/>
            <a:ext cx="342900" cy="227012"/>
          </a:xfrm>
          <a:custGeom>
            <a:avLst/>
            <a:gdLst>
              <a:gd name="T0" fmla="*/ 2147483647 w 784"/>
              <a:gd name="T1" fmla="*/ 2147483647 h 430"/>
              <a:gd name="T2" fmla="*/ 2147483647 w 784"/>
              <a:gd name="T3" fmla="*/ 2147483647 h 430"/>
              <a:gd name="T4" fmla="*/ 2147483647 w 784"/>
              <a:gd name="T5" fmla="*/ 2147483647 h 430"/>
              <a:gd name="T6" fmla="*/ 2147483647 w 784"/>
              <a:gd name="T7" fmla="*/ 2147483647 h 430"/>
              <a:gd name="T8" fmla="*/ 2147483647 w 784"/>
              <a:gd name="T9" fmla="*/ 2147483647 h 430"/>
              <a:gd name="T10" fmla="*/ 2147483647 w 784"/>
              <a:gd name="T11" fmla="*/ 2147483647 h 430"/>
              <a:gd name="T12" fmla="*/ 2147483647 w 784"/>
              <a:gd name="T13" fmla="*/ 2147483647 h 430"/>
              <a:gd name="T14" fmla="*/ 2147483647 w 784"/>
              <a:gd name="T15" fmla="*/ 2147483647 h 430"/>
              <a:gd name="T16" fmla="*/ 2147483647 w 784"/>
              <a:gd name="T17" fmla="*/ 2147483647 h 430"/>
              <a:gd name="T18" fmla="*/ 2147483647 w 784"/>
              <a:gd name="T19" fmla="*/ 2147483647 h 430"/>
              <a:gd name="T20" fmla="*/ 2147483647 w 784"/>
              <a:gd name="T21" fmla="*/ 2147483647 h 430"/>
              <a:gd name="T22" fmla="*/ 2147483647 w 784"/>
              <a:gd name="T23" fmla="*/ 2147483647 h 430"/>
              <a:gd name="T24" fmla="*/ 2147483647 w 784"/>
              <a:gd name="T25" fmla="*/ 2147483647 h 430"/>
              <a:gd name="T26" fmla="*/ 2147483647 w 784"/>
              <a:gd name="T27" fmla="*/ 2147483647 h 430"/>
              <a:gd name="T28" fmla="*/ 2147483647 w 784"/>
              <a:gd name="T29" fmla="*/ 2147483647 h 430"/>
              <a:gd name="T30" fmla="*/ 2147483647 w 784"/>
              <a:gd name="T31" fmla="*/ 2147483647 h 430"/>
              <a:gd name="T32" fmla="*/ 2147483647 w 784"/>
              <a:gd name="T33" fmla="*/ 2147483647 h 430"/>
              <a:gd name="T34" fmla="*/ 2147483647 w 784"/>
              <a:gd name="T35" fmla="*/ 2147483647 h 430"/>
              <a:gd name="T36" fmla="*/ 2147483647 w 784"/>
              <a:gd name="T37" fmla="*/ 2147483647 h 430"/>
              <a:gd name="T38" fmla="*/ 2147483647 w 784"/>
              <a:gd name="T39" fmla="*/ 2147483647 h 430"/>
              <a:gd name="T40" fmla="*/ 2147483647 w 784"/>
              <a:gd name="T41" fmla="*/ 2147483647 h 430"/>
              <a:gd name="T42" fmla="*/ 2147483647 w 784"/>
              <a:gd name="T43" fmla="*/ 2147483647 h 430"/>
              <a:gd name="T44" fmla="*/ 2147483647 w 784"/>
              <a:gd name="T45" fmla="*/ 2147483647 h 430"/>
              <a:gd name="T46" fmla="*/ 2147483647 w 784"/>
              <a:gd name="T47" fmla="*/ 2147483647 h 430"/>
              <a:gd name="T48" fmla="*/ 2147483647 w 784"/>
              <a:gd name="T49" fmla="*/ 2147483647 h 430"/>
              <a:gd name="T50" fmla="*/ 2147483647 w 784"/>
              <a:gd name="T51" fmla="*/ 2147483647 h 430"/>
              <a:gd name="T52" fmla="*/ 2147483647 w 784"/>
              <a:gd name="T53" fmla="*/ 2147483647 h 430"/>
              <a:gd name="T54" fmla="*/ 2147483647 w 784"/>
              <a:gd name="T55" fmla="*/ 2147483647 h 430"/>
              <a:gd name="T56" fmla="*/ 2147483647 w 784"/>
              <a:gd name="T57" fmla="*/ 2147483647 h 430"/>
              <a:gd name="T58" fmla="*/ 2147483647 w 784"/>
              <a:gd name="T59" fmla="*/ 2147483647 h 430"/>
              <a:gd name="T60" fmla="*/ 2147483647 w 784"/>
              <a:gd name="T61" fmla="*/ 2147483647 h 430"/>
              <a:gd name="T62" fmla="*/ 2147483647 w 784"/>
              <a:gd name="T63" fmla="*/ 2147483647 h 430"/>
              <a:gd name="T64" fmla="*/ 2147483647 w 784"/>
              <a:gd name="T65" fmla="*/ 2147483647 h 430"/>
              <a:gd name="T66" fmla="*/ 2147483647 w 784"/>
              <a:gd name="T67" fmla="*/ 2147483647 h 430"/>
              <a:gd name="T68" fmla="*/ 0 w 784"/>
              <a:gd name="T69" fmla="*/ 2147483647 h 430"/>
              <a:gd name="T70" fmla="*/ 2147483647 w 784"/>
              <a:gd name="T71" fmla="*/ 2147483647 h 430"/>
              <a:gd name="T72" fmla="*/ 2147483647 w 784"/>
              <a:gd name="T73" fmla="*/ 2147483647 h 430"/>
              <a:gd name="T74" fmla="*/ 2147483647 w 784"/>
              <a:gd name="T75" fmla="*/ 2147483647 h 430"/>
              <a:gd name="T76" fmla="*/ 2147483647 w 784"/>
              <a:gd name="T77" fmla="*/ 2147483647 h 430"/>
              <a:gd name="T78" fmla="*/ 2147483647 w 784"/>
              <a:gd name="T79" fmla="*/ 2147483647 h 430"/>
              <a:gd name="T80" fmla="*/ 2147483647 w 784"/>
              <a:gd name="T81" fmla="*/ 2147483647 h 430"/>
              <a:gd name="T82" fmla="*/ 2147483647 w 784"/>
              <a:gd name="T83" fmla="*/ 2147483647 h 430"/>
              <a:gd name="T84" fmla="*/ 2147483647 w 784"/>
              <a:gd name="T85" fmla="*/ 2147483647 h 430"/>
              <a:gd name="T86" fmla="*/ 2147483647 w 784"/>
              <a:gd name="T87" fmla="*/ 2147483647 h 430"/>
              <a:gd name="T88" fmla="*/ 2147483647 w 784"/>
              <a:gd name="T89" fmla="*/ 2147483647 h 430"/>
              <a:gd name="T90" fmla="*/ 2147483647 w 784"/>
              <a:gd name="T91" fmla="*/ 2147483647 h 430"/>
              <a:gd name="T92" fmla="*/ 2147483647 w 784"/>
              <a:gd name="T93" fmla="*/ 2147483647 h 430"/>
              <a:gd name="T94" fmla="*/ 2147483647 w 784"/>
              <a:gd name="T95" fmla="*/ 2147483647 h 430"/>
              <a:gd name="T96" fmla="*/ 2147483647 w 784"/>
              <a:gd name="T97" fmla="*/ 2147483647 h 430"/>
              <a:gd name="T98" fmla="*/ 2147483647 w 784"/>
              <a:gd name="T99" fmla="*/ 0 h 430"/>
              <a:gd name="T100" fmla="*/ 2147483647 w 784"/>
              <a:gd name="T101" fmla="*/ 2147483647 h 430"/>
              <a:gd name="T102" fmla="*/ 2147483647 w 784"/>
              <a:gd name="T103" fmla="*/ 2147483647 h 430"/>
              <a:gd name="T104" fmla="*/ 2147483647 w 784"/>
              <a:gd name="T105" fmla="*/ 2147483647 h 430"/>
              <a:gd name="T106" fmla="*/ 2147483647 w 784"/>
              <a:gd name="T107" fmla="*/ 2147483647 h 430"/>
              <a:gd name="T108" fmla="*/ 2147483647 w 784"/>
              <a:gd name="T109" fmla="*/ 214748364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5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594090" y="3166690"/>
            <a:ext cx="107950" cy="149225"/>
          </a:xfrm>
          <a:custGeom>
            <a:avLst/>
            <a:gdLst>
              <a:gd name="T0" fmla="*/ 2147483647 w 246"/>
              <a:gd name="T1" fmla="*/ 2147483647 h 284"/>
              <a:gd name="T2" fmla="*/ 2147483647 w 246"/>
              <a:gd name="T3" fmla="*/ 2147483647 h 284"/>
              <a:gd name="T4" fmla="*/ 2147483647 w 246"/>
              <a:gd name="T5" fmla="*/ 2147483647 h 284"/>
              <a:gd name="T6" fmla="*/ 2147483647 w 246"/>
              <a:gd name="T7" fmla="*/ 2147483647 h 284"/>
              <a:gd name="T8" fmla="*/ 2147483647 w 246"/>
              <a:gd name="T9" fmla="*/ 2147483647 h 284"/>
              <a:gd name="T10" fmla="*/ 2147483647 w 246"/>
              <a:gd name="T11" fmla="*/ 2147483647 h 284"/>
              <a:gd name="T12" fmla="*/ 2147483647 w 246"/>
              <a:gd name="T13" fmla="*/ 2147483647 h 284"/>
              <a:gd name="T14" fmla="*/ 2147483647 w 246"/>
              <a:gd name="T15" fmla="*/ 2147483647 h 284"/>
              <a:gd name="T16" fmla="*/ 2147483647 w 246"/>
              <a:gd name="T17" fmla="*/ 2147483647 h 284"/>
              <a:gd name="T18" fmla="*/ 2147483647 w 246"/>
              <a:gd name="T19" fmla="*/ 2147483647 h 284"/>
              <a:gd name="T20" fmla="*/ 2147483647 w 246"/>
              <a:gd name="T21" fmla="*/ 2147483647 h 284"/>
              <a:gd name="T22" fmla="*/ 2147483647 w 246"/>
              <a:gd name="T23" fmla="*/ 2147483647 h 284"/>
              <a:gd name="T24" fmla="*/ 2147483647 w 246"/>
              <a:gd name="T25" fmla="*/ 2147483647 h 284"/>
              <a:gd name="T26" fmla="*/ 2147483647 w 246"/>
              <a:gd name="T27" fmla="*/ 2147483647 h 284"/>
              <a:gd name="T28" fmla="*/ 2147483647 w 246"/>
              <a:gd name="T29" fmla="*/ 2147483647 h 284"/>
              <a:gd name="T30" fmla="*/ 2147483647 w 246"/>
              <a:gd name="T31" fmla="*/ 2147483647 h 284"/>
              <a:gd name="T32" fmla="*/ 2147483647 w 246"/>
              <a:gd name="T33" fmla="*/ 2147483647 h 284"/>
              <a:gd name="T34" fmla="*/ 2147483647 w 246"/>
              <a:gd name="T35" fmla="*/ 2147483647 h 284"/>
              <a:gd name="T36" fmla="*/ 2147483647 w 246"/>
              <a:gd name="T37" fmla="*/ 2147483647 h 284"/>
              <a:gd name="T38" fmla="*/ 2147483647 w 246"/>
              <a:gd name="T39" fmla="*/ 2147483647 h 284"/>
              <a:gd name="T40" fmla="*/ 2147483647 w 246"/>
              <a:gd name="T41" fmla="*/ 2147483647 h 284"/>
              <a:gd name="T42" fmla="*/ 2147483647 w 246"/>
              <a:gd name="T43" fmla="*/ 2147483647 h 284"/>
              <a:gd name="T44" fmla="*/ 2147483647 w 246"/>
              <a:gd name="T45" fmla="*/ 2147483647 h 284"/>
              <a:gd name="T46" fmla="*/ 2147483647 w 246"/>
              <a:gd name="T47" fmla="*/ 2147483647 h 284"/>
              <a:gd name="T48" fmla="*/ 2147483647 w 246"/>
              <a:gd name="T49" fmla="*/ 2147483647 h 284"/>
              <a:gd name="T50" fmla="*/ 2147483647 w 246"/>
              <a:gd name="T51" fmla="*/ 2147483647 h 284"/>
              <a:gd name="T52" fmla="*/ 2147483647 w 246"/>
              <a:gd name="T53" fmla="*/ 2147483647 h 284"/>
              <a:gd name="T54" fmla="*/ 2147483647 w 246"/>
              <a:gd name="T55" fmla="*/ 2147483647 h 284"/>
              <a:gd name="T56" fmla="*/ 2147483647 w 246"/>
              <a:gd name="T57" fmla="*/ 2147483647 h 284"/>
              <a:gd name="T58" fmla="*/ 2147483647 w 246"/>
              <a:gd name="T59" fmla="*/ 2147483647 h 284"/>
              <a:gd name="T60" fmla="*/ 2147483647 w 246"/>
              <a:gd name="T61" fmla="*/ 2147483647 h 284"/>
              <a:gd name="T62" fmla="*/ 2147483647 w 246"/>
              <a:gd name="T63" fmla="*/ 2147483647 h 284"/>
              <a:gd name="T64" fmla="*/ 2147483647 w 246"/>
              <a:gd name="T65" fmla="*/ 2147483647 h 284"/>
              <a:gd name="T66" fmla="*/ 2147483647 w 246"/>
              <a:gd name="T67" fmla="*/ 2147483647 h 284"/>
              <a:gd name="T68" fmla="*/ 2147483647 w 246"/>
              <a:gd name="T69" fmla="*/ 2147483647 h 284"/>
              <a:gd name="T70" fmla="*/ 2147483647 w 246"/>
              <a:gd name="T71" fmla="*/ 2147483647 h 284"/>
              <a:gd name="T72" fmla="*/ 2147483647 w 246"/>
              <a:gd name="T73" fmla="*/ 2147483647 h 284"/>
              <a:gd name="T74" fmla="*/ 2147483647 w 246"/>
              <a:gd name="T75" fmla="*/ 2147483647 h 284"/>
              <a:gd name="T76" fmla="*/ 2147483647 w 246"/>
              <a:gd name="T77" fmla="*/ 2147483647 h 284"/>
              <a:gd name="T78" fmla="*/ 2147483647 w 246"/>
              <a:gd name="T79" fmla="*/ 2147483647 h 284"/>
              <a:gd name="T80" fmla="*/ 0 w 246"/>
              <a:gd name="T81" fmla="*/ 2147483647 h 284"/>
              <a:gd name="T82" fmla="*/ 2147483647 w 246"/>
              <a:gd name="T83" fmla="*/ 2147483647 h 284"/>
              <a:gd name="T84" fmla="*/ 2147483647 w 246"/>
              <a:gd name="T85" fmla="*/ 2147483647 h 284"/>
              <a:gd name="T86" fmla="*/ 2147483647 w 246"/>
              <a:gd name="T87" fmla="*/ 2147483647 h 284"/>
              <a:gd name="T88" fmla="*/ 2147483647 w 246"/>
              <a:gd name="T89" fmla="*/ 2147483647 h 284"/>
              <a:gd name="T90" fmla="*/ 2147483647 w 246"/>
              <a:gd name="T91" fmla="*/ 2147483647 h 284"/>
              <a:gd name="T92" fmla="*/ 2147483647 w 246"/>
              <a:gd name="T93" fmla="*/ 2147483647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306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641715" y="3274640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GB">
              <a:latin typeface="Arial" pitchFamily="34" charset="0"/>
              <a:ea typeface="+mn-ea"/>
            </a:endParaRPr>
          </a:p>
        </p:txBody>
      </p:sp>
      <p:sp>
        <p:nvSpPr>
          <p:cNvPr id="2307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725853" y="3898528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8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210040" y="4238253"/>
            <a:ext cx="244475" cy="431800"/>
          </a:xfrm>
          <a:custGeom>
            <a:avLst/>
            <a:gdLst>
              <a:gd name="T0" fmla="*/ 2147483647 w 556"/>
              <a:gd name="T1" fmla="*/ 2147483647 h 819"/>
              <a:gd name="T2" fmla="*/ 2147483647 w 556"/>
              <a:gd name="T3" fmla="*/ 2147483647 h 819"/>
              <a:gd name="T4" fmla="*/ 2147483647 w 556"/>
              <a:gd name="T5" fmla="*/ 2147483647 h 819"/>
              <a:gd name="T6" fmla="*/ 2147483647 w 556"/>
              <a:gd name="T7" fmla="*/ 2147483647 h 819"/>
              <a:gd name="T8" fmla="*/ 2147483647 w 556"/>
              <a:gd name="T9" fmla="*/ 2147483647 h 819"/>
              <a:gd name="T10" fmla="*/ 2147483647 w 556"/>
              <a:gd name="T11" fmla="*/ 2147483647 h 819"/>
              <a:gd name="T12" fmla="*/ 2147483647 w 556"/>
              <a:gd name="T13" fmla="*/ 2147483647 h 819"/>
              <a:gd name="T14" fmla="*/ 2147483647 w 556"/>
              <a:gd name="T15" fmla="*/ 2147483647 h 819"/>
              <a:gd name="T16" fmla="*/ 2147483647 w 556"/>
              <a:gd name="T17" fmla="*/ 2147483647 h 819"/>
              <a:gd name="T18" fmla="*/ 2147483647 w 556"/>
              <a:gd name="T19" fmla="*/ 2147483647 h 819"/>
              <a:gd name="T20" fmla="*/ 2147483647 w 556"/>
              <a:gd name="T21" fmla="*/ 2147483647 h 819"/>
              <a:gd name="T22" fmla="*/ 2147483647 w 556"/>
              <a:gd name="T23" fmla="*/ 2147483647 h 819"/>
              <a:gd name="T24" fmla="*/ 2147483647 w 556"/>
              <a:gd name="T25" fmla="*/ 2147483647 h 819"/>
              <a:gd name="T26" fmla="*/ 2147483647 w 556"/>
              <a:gd name="T27" fmla="*/ 2147483647 h 819"/>
              <a:gd name="T28" fmla="*/ 2147483647 w 556"/>
              <a:gd name="T29" fmla="*/ 2147483647 h 819"/>
              <a:gd name="T30" fmla="*/ 2147483647 w 556"/>
              <a:gd name="T31" fmla="*/ 2147483647 h 819"/>
              <a:gd name="T32" fmla="*/ 2147483647 w 556"/>
              <a:gd name="T33" fmla="*/ 2147483647 h 819"/>
              <a:gd name="T34" fmla="*/ 2147483647 w 556"/>
              <a:gd name="T35" fmla="*/ 2147483647 h 819"/>
              <a:gd name="T36" fmla="*/ 2147483647 w 556"/>
              <a:gd name="T37" fmla="*/ 2147483647 h 819"/>
              <a:gd name="T38" fmla="*/ 2147483647 w 556"/>
              <a:gd name="T39" fmla="*/ 2147483647 h 819"/>
              <a:gd name="T40" fmla="*/ 2147483647 w 556"/>
              <a:gd name="T41" fmla="*/ 2147483647 h 819"/>
              <a:gd name="T42" fmla="*/ 2147483647 w 556"/>
              <a:gd name="T43" fmla="*/ 2147483647 h 819"/>
              <a:gd name="T44" fmla="*/ 2147483647 w 556"/>
              <a:gd name="T45" fmla="*/ 2147483647 h 819"/>
              <a:gd name="T46" fmla="*/ 2147483647 w 556"/>
              <a:gd name="T47" fmla="*/ 2147483647 h 819"/>
              <a:gd name="T48" fmla="*/ 2147483647 w 556"/>
              <a:gd name="T49" fmla="*/ 2147483647 h 819"/>
              <a:gd name="T50" fmla="*/ 2147483647 w 556"/>
              <a:gd name="T51" fmla="*/ 2147483647 h 819"/>
              <a:gd name="T52" fmla="*/ 2147483647 w 556"/>
              <a:gd name="T53" fmla="*/ 2147483647 h 819"/>
              <a:gd name="T54" fmla="*/ 2147483647 w 556"/>
              <a:gd name="T55" fmla="*/ 2147483647 h 819"/>
              <a:gd name="T56" fmla="*/ 2147483647 w 556"/>
              <a:gd name="T57" fmla="*/ 2147483647 h 819"/>
              <a:gd name="T58" fmla="*/ 2147483647 w 556"/>
              <a:gd name="T59" fmla="*/ 2147483647 h 819"/>
              <a:gd name="T60" fmla="*/ 2147483647 w 556"/>
              <a:gd name="T61" fmla="*/ 2147483647 h 819"/>
              <a:gd name="T62" fmla="*/ 2147483647 w 556"/>
              <a:gd name="T63" fmla="*/ 2147483647 h 819"/>
              <a:gd name="T64" fmla="*/ 2147483647 w 556"/>
              <a:gd name="T65" fmla="*/ 2147483647 h 819"/>
              <a:gd name="T66" fmla="*/ 2147483647 w 556"/>
              <a:gd name="T67" fmla="*/ 2147483647 h 819"/>
              <a:gd name="T68" fmla="*/ 2147483647 w 556"/>
              <a:gd name="T69" fmla="*/ 2147483647 h 819"/>
              <a:gd name="T70" fmla="*/ 2147483647 w 556"/>
              <a:gd name="T71" fmla="*/ 2147483647 h 819"/>
              <a:gd name="T72" fmla="*/ 2147483647 w 556"/>
              <a:gd name="T73" fmla="*/ 2147483647 h 819"/>
              <a:gd name="T74" fmla="*/ 2147483647 w 556"/>
              <a:gd name="T75" fmla="*/ 2147483647 h 819"/>
              <a:gd name="T76" fmla="*/ 2147483647 w 556"/>
              <a:gd name="T77" fmla="*/ 2147483647 h 819"/>
              <a:gd name="T78" fmla="*/ 2147483647 w 556"/>
              <a:gd name="T79" fmla="*/ 2147483647 h 819"/>
              <a:gd name="T80" fmla="*/ 2147483647 w 556"/>
              <a:gd name="T81" fmla="*/ 2147483647 h 819"/>
              <a:gd name="T82" fmla="*/ 2147483647 w 556"/>
              <a:gd name="T83" fmla="*/ 2147483647 h 819"/>
              <a:gd name="T84" fmla="*/ 2147483647 w 556"/>
              <a:gd name="T85" fmla="*/ 2147483647 h 819"/>
              <a:gd name="T86" fmla="*/ 2147483647 w 556"/>
              <a:gd name="T87" fmla="*/ 2147483647 h 819"/>
              <a:gd name="T88" fmla="*/ 2147483647 w 556"/>
              <a:gd name="T89" fmla="*/ 2147483647 h 819"/>
              <a:gd name="T90" fmla="*/ 2147483647 w 556"/>
              <a:gd name="T91" fmla="*/ 2147483647 h 819"/>
              <a:gd name="T92" fmla="*/ 2147483647 w 556"/>
              <a:gd name="T93" fmla="*/ 2147483647 h 819"/>
              <a:gd name="T94" fmla="*/ 2147483647 w 556"/>
              <a:gd name="T95" fmla="*/ 2147483647 h 819"/>
              <a:gd name="T96" fmla="*/ 2147483647 w 556"/>
              <a:gd name="T97" fmla="*/ 2147483647 h 819"/>
              <a:gd name="T98" fmla="*/ 2147483647 w 556"/>
              <a:gd name="T99" fmla="*/ 2147483647 h 819"/>
              <a:gd name="T100" fmla="*/ 2147483647 w 556"/>
              <a:gd name="T101" fmla="*/ 2147483647 h 819"/>
              <a:gd name="T102" fmla="*/ 2147483647 w 556"/>
              <a:gd name="T103" fmla="*/ 2147483647 h 819"/>
              <a:gd name="T104" fmla="*/ 2147483647 w 556"/>
              <a:gd name="T105" fmla="*/ 2147483647 h 819"/>
              <a:gd name="T106" fmla="*/ 2147483647 w 556"/>
              <a:gd name="T107" fmla="*/ 2147483647 h 819"/>
              <a:gd name="T108" fmla="*/ 2147483647 w 556"/>
              <a:gd name="T109" fmla="*/ 2147483647 h 819"/>
              <a:gd name="T110" fmla="*/ 2147483647 w 556"/>
              <a:gd name="T111" fmla="*/ 2147483647 h 819"/>
              <a:gd name="T112" fmla="*/ 2147483647 w 556"/>
              <a:gd name="T113" fmla="*/ 2147483647 h 819"/>
              <a:gd name="T114" fmla="*/ 2147483647 w 556"/>
              <a:gd name="T115" fmla="*/ 2147483647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9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217978" y="4225553"/>
            <a:ext cx="38100" cy="58737"/>
          </a:xfrm>
          <a:custGeom>
            <a:avLst/>
            <a:gdLst>
              <a:gd name="T0" fmla="*/ 2147483647 w 86"/>
              <a:gd name="T1" fmla="*/ 0 h 97"/>
              <a:gd name="T2" fmla="*/ 2147483647 w 86"/>
              <a:gd name="T3" fmla="*/ 2147483647 h 97"/>
              <a:gd name="T4" fmla="*/ 2147483647 w 86"/>
              <a:gd name="T5" fmla="*/ 2147483647 h 97"/>
              <a:gd name="T6" fmla="*/ 2147483647 w 86"/>
              <a:gd name="T7" fmla="*/ 2147483647 h 97"/>
              <a:gd name="T8" fmla="*/ 2147483647 w 86"/>
              <a:gd name="T9" fmla="*/ 2147483647 h 97"/>
              <a:gd name="T10" fmla="*/ 2147483647 w 86"/>
              <a:gd name="T11" fmla="*/ 2147483647 h 97"/>
              <a:gd name="T12" fmla="*/ 2147483647 w 86"/>
              <a:gd name="T13" fmla="*/ 2147483647 h 97"/>
              <a:gd name="T14" fmla="*/ 2147483647 w 86"/>
              <a:gd name="T15" fmla="*/ 2147483647 h 97"/>
              <a:gd name="T16" fmla="*/ 2147483647 w 86"/>
              <a:gd name="T17" fmla="*/ 2147483647 h 97"/>
              <a:gd name="T18" fmla="*/ 2147483647 w 86"/>
              <a:gd name="T19" fmla="*/ 2147483647 h 97"/>
              <a:gd name="T20" fmla="*/ 2147483647 w 86"/>
              <a:gd name="T21" fmla="*/ 2147483647 h 97"/>
              <a:gd name="T22" fmla="*/ 2147483647 w 86"/>
              <a:gd name="T23" fmla="*/ 2147483647 h 97"/>
              <a:gd name="T24" fmla="*/ 2147483647 w 86"/>
              <a:gd name="T25" fmla="*/ 2147483647 h 97"/>
              <a:gd name="T26" fmla="*/ 2147483647 w 86"/>
              <a:gd name="T27" fmla="*/ 2147483647 h 97"/>
              <a:gd name="T28" fmla="*/ 2147483647 w 86"/>
              <a:gd name="T29" fmla="*/ 2147483647 h 97"/>
              <a:gd name="T30" fmla="*/ 0 w 86"/>
              <a:gd name="T31" fmla="*/ 2147483647 h 97"/>
              <a:gd name="T32" fmla="*/ 0 w 86"/>
              <a:gd name="T33" fmla="*/ 2147483647 h 97"/>
              <a:gd name="T34" fmla="*/ 0 w 86"/>
              <a:gd name="T35" fmla="*/ 2147483647 h 97"/>
              <a:gd name="T36" fmla="*/ 2147483647 w 86"/>
              <a:gd name="T37" fmla="*/ 2147483647 h 97"/>
              <a:gd name="T38" fmla="*/ 2147483647 w 86"/>
              <a:gd name="T39" fmla="*/ 2147483647 h 97"/>
              <a:gd name="T40" fmla="*/ 2147483647 w 86"/>
              <a:gd name="T41" fmla="*/ 2147483647 h 97"/>
              <a:gd name="T42" fmla="*/ 2147483647 w 86"/>
              <a:gd name="T43" fmla="*/ 2147483647 h 97"/>
              <a:gd name="T44" fmla="*/ 2147483647 w 86"/>
              <a:gd name="T45" fmla="*/ 2147483647 h 97"/>
              <a:gd name="T46" fmla="*/ 2147483647 w 86"/>
              <a:gd name="T47" fmla="*/ 2147483647 h 97"/>
              <a:gd name="T48" fmla="*/ 2147483647 w 86"/>
              <a:gd name="T49" fmla="*/ 2147483647 h 97"/>
              <a:gd name="T50" fmla="*/ 2147483647 w 86"/>
              <a:gd name="T51" fmla="*/ 2147483647 h 97"/>
              <a:gd name="T52" fmla="*/ 2147483647 w 86"/>
              <a:gd name="T53" fmla="*/ 2147483647 h 97"/>
              <a:gd name="T54" fmla="*/ 2147483647 w 86"/>
              <a:gd name="T55" fmla="*/ 2147483647 h 97"/>
              <a:gd name="T56" fmla="*/ 2147483647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0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5016365" y="4136653"/>
            <a:ext cx="363538" cy="376237"/>
          </a:xfrm>
          <a:custGeom>
            <a:avLst/>
            <a:gdLst>
              <a:gd name="T0" fmla="*/ 2147483647 w 845"/>
              <a:gd name="T1" fmla="*/ 2147483647 h 720"/>
              <a:gd name="T2" fmla="*/ 2147483647 w 845"/>
              <a:gd name="T3" fmla="*/ 2147483647 h 720"/>
              <a:gd name="T4" fmla="*/ 2147483647 w 845"/>
              <a:gd name="T5" fmla="*/ 0 h 720"/>
              <a:gd name="T6" fmla="*/ 2147483647 w 845"/>
              <a:gd name="T7" fmla="*/ 2147483647 h 720"/>
              <a:gd name="T8" fmla="*/ 2147483647 w 845"/>
              <a:gd name="T9" fmla="*/ 2147483647 h 720"/>
              <a:gd name="T10" fmla="*/ 2147483647 w 845"/>
              <a:gd name="T11" fmla="*/ 2147483647 h 720"/>
              <a:gd name="T12" fmla="*/ 2147483647 w 845"/>
              <a:gd name="T13" fmla="*/ 2147483647 h 720"/>
              <a:gd name="T14" fmla="*/ 2147483647 w 845"/>
              <a:gd name="T15" fmla="*/ 2147483647 h 720"/>
              <a:gd name="T16" fmla="*/ 2147483647 w 845"/>
              <a:gd name="T17" fmla="*/ 2147483647 h 720"/>
              <a:gd name="T18" fmla="*/ 2147483647 w 845"/>
              <a:gd name="T19" fmla="*/ 2147483647 h 720"/>
              <a:gd name="T20" fmla="*/ 2147483647 w 845"/>
              <a:gd name="T21" fmla="*/ 2147483647 h 720"/>
              <a:gd name="T22" fmla="*/ 2147483647 w 845"/>
              <a:gd name="T23" fmla="*/ 2147483647 h 720"/>
              <a:gd name="T24" fmla="*/ 2147483647 w 845"/>
              <a:gd name="T25" fmla="*/ 2147483647 h 720"/>
              <a:gd name="T26" fmla="*/ 2147483647 w 845"/>
              <a:gd name="T27" fmla="*/ 2147483647 h 720"/>
              <a:gd name="T28" fmla="*/ 2147483647 w 845"/>
              <a:gd name="T29" fmla="*/ 2147483647 h 720"/>
              <a:gd name="T30" fmla="*/ 2147483647 w 845"/>
              <a:gd name="T31" fmla="*/ 2147483647 h 720"/>
              <a:gd name="T32" fmla="*/ 2147483647 w 845"/>
              <a:gd name="T33" fmla="*/ 2147483647 h 720"/>
              <a:gd name="T34" fmla="*/ 2147483647 w 845"/>
              <a:gd name="T35" fmla="*/ 2147483647 h 720"/>
              <a:gd name="T36" fmla="*/ 2147483647 w 845"/>
              <a:gd name="T37" fmla="*/ 2147483647 h 720"/>
              <a:gd name="T38" fmla="*/ 2147483647 w 845"/>
              <a:gd name="T39" fmla="*/ 2147483647 h 720"/>
              <a:gd name="T40" fmla="*/ 2147483647 w 845"/>
              <a:gd name="T41" fmla="*/ 2147483647 h 720"/>
              <a:gd name="T42" fmla="*/ 2147483647 w 845"/>
              <a:gd name="T43" fmla="*/ 2147483647 h 720"/>
              <a:gd name="T44" fmla="*/ 2147483647 w 845"/>
              <a:gd name="T45" fmla="*/ 2147483647 h 720"/>
              <a:gd name="T46" fmla="*/ 2147483647 w 845"/>
              <a:gd name="T47" fmla="*/ 2147483647 h 720"/>
              <a:gd name="T48" fmla="*/ 2147483647 w 845"/>
              <a:gd name="T49" fmla="*/ 2147483647 h 720"/>
              <a:gd name="T50" fmla="*/ 2147483647 w 845"/>
              <a:gd name="T51" fmla="*/ 2147483647 h 720"/>
              <a:gd name="T52" fmla="*/ 2147483647 w 845"/>
              <a:gd name="T53" fmla="*/ 2147483647 h 720"/>
              <a:gd name="T54" fmla="*/ 2147483647 w 845"/>
              <a:gd name="T55" fmla="*/ 2147483647 h 720"/>
              <a:gd name="T56" fmla="*/ 2147483647 w 845"/>
              <a:gd name="T57" fmla="*/ 2147483647 h 720"/>
              <a:gd name="T58" fmla="*/ 2147483647 w 845"/>
              <a:gd name="T59" fmla="*/ 2147483647 h 720"/>
              <a:gd name="T60" fmla="*/ 2147483647 w 845"/>
              <a:gd name="T61" fmla="*/ 2147483647 h 720"/>
              <a:gd name="T62" fmla="*/ 2147483647 w 845"/>
              <a:gd name="T63" fmla="*/ 2147483647 h 720"/>
              <a:gd name="T64" fmla="*/ 2147483647 w 845"/>
              <a:gd name="T65" fmla="*/ 2147483647 h 720"/>
              <a:gd name="T66" fmla="*/ 2147483647 w 845"/>
              <a:gd name="T67" fmla="*/ 2147483647 h 720"/>
              <a:gd name="T68" fmla="*/ 2147483647 w 845"/>
              <a:gd name="T69" fmla="*/ 2147483647 h 720"/>
              <a:gd name="T70" fmla="*/ 2147483647 w 845"/>
              <a:gd name="T71" fmla="*/ 2147483647 h 720"/>
              <a:gd name="T72" fmla="*/ 2147483647 w 845"/>
              <a:gd name="T73" fmla="*/ 2147483647 h 720"/>
              <a:gd name="T74" fmla="*/ 2147483647 w 845"/>
              <a:gd name="T75" fmla="*/ 2147483647 h 720"/>
              <a:gd name="T76" fmla="*/ 2147483647 w 845"/>
              <a:gd name="T77" fmla="*/ 2147483647 h 720"/>
              <a:gd name="T78" fmla="*/ 2147483647 w 845"/>
              <a:gd name="T79" fmla="*/ 2147483647 h 720"/>
              <a:gd name="T80" fmla="*/ 2147483647 w 845"/>
              <a:gd name="T81" fmla="*/ 2147483647 h 720"/>
              <a:gd name="T82" fmla="*/ 2147483647 w 845"/>
              <a:gd name="T83" fmla="*/ 2147483647 h 720"/>
              <a:gd name="T84" fmla="*/ 2147483647 w 845"/>
              <a:gd name="T85" fmla="*/ 2147483647 h 720"/>
              <a:gd name="T86" fmla="*/ 2147483647 w 845"/>
              <a:gd name="T87" fmla="*/ 2147483647 h 720"/>
              <a:gd name="T88" fmla="*/ 2147483647 w 845"/>
              <a:gd name="T89" fmla="*/ 2147483647 h 720"/>
              <a:gd name="T90" fmla="*/ 2147483647 w 845"/>
              <a:gd name="T91" fmla="*/ 2147483647 h 720"/>
              <a:gd name="T92" fmla="*/ 2147483647 w 845"/>
              <a:gd name="T93" fmla="*/ 2147483647 h 720"/>
              <a:gd name="T94" fmla="*/ 2147483647 w 845"/>
              <a:gd name="T95" fmla="*/ 2147483647 h 720"/>
              <a:gd name="T96" fmla="*/ 2147483647 w 845"/>
              <a:gd name="T97" fmla="*/ 2147483647 h 720"/>
              <a:gd name="T98" fmla="*/ 2147483647 w 845"/>
              <a:gd name="T99" fmla="*/ 2147483647 h 720"/>
              <a:gd name="T100" fmla="*/ 2147483647 w 845"/>
              <a:gd name="T101" fmla="*/ 2147483647 h 720"/>
              <a:gd name="T102" fmla="*/ 2147483647 w 845"/>
              <a:gd name="T103" fmla="*/ 2147483647 h 720"/>
              <a:gd name="T104" fmla="*/ 2147483647 w 845"/>
              <a:gd name="T105" fmla="*/ 2147483647 h 720"/>
              <a:gd name="T106" fmla="*/ 2147483647 w 845"/>
              <a:gd name="T107" fmla="*/ 2147483647 h 720"/>
              <a:gd name="T108" fmla="*/ 2147483647 w 845"/>
              <a:gd name="T109" fmla="*/ 2147483647 h 720"/>
              <a:gd name="T110" fmla="*/ 2147483647 w 845"/>
              <a:gd name="T111" fmla="*/ 2147483647 h 720"/>
              <a:gd name="T112" fmla="*/ 2147483647 w 845"/>
              <a:gd name="T113" fmla="*/ 2147483647 h 720"/>
              <a:gd name="T114" fmla="*/ 2147483647 w 845"/>
              <a:gd name="T115" fmla="*/ 2147483647 h 720"/>
              <a:gd name="T116" fmla="*/ 2147483647 w 845"/>
              <a:gd name="T117" fmla="*/ 2147483647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1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876290" y="465576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12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876290" y="4663703"/>
            <a:ext cx="12700" cy="58737"/>
          </a:xfrm>
          <a:custGeom>
            <a:avLst/>
            <a:gdLst>
              <a:gd name="T0" fmla="*/ 0 w 33"/>
              <a:gd name="T1" fmla="*/ 0 h 6"/>
              <a:gd name="T2" fmla="*/ 2147483647 w 33"/>
              <a:gd name="T3" fmla="*/ 2147483647 h 6"/>
              <a:gd name="T4" fmla="*/ 2147483647 w 33"/>
              <a:gd name="T5" fmla="*/ 2147483647 h 6"/>
              <a:gd name="T6" fmla="*/ 2147483647 w 33"/>
              <a:gd name="T7" fmla="*/ 2147483647 h 6"/>
              <a:gd name="T8" fmla="*/ 2147483647 w 3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3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884228" y="4651003"/>
            <a:ext cx="4762" cy="57150"/>
          </a:xfrm>
          <a:custGeom>
            <a:avLst/>
            <a:gdLst>
              <a:gd name="T0" fmla="*/ 2147483647 w 13"/>
              <a:gd name="T1" fmla="*/ 2147483647 h 30"/>
              <a:gd name="T2" fmla="*/ 214748364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14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876290" y="4585915"/>
            <a:ext cx="417513" cy="201613"/>
            <a:chOff x="912" y="2626"/>
            <a:chExt cx="311" cy="127"/>
          </a:xfrm>
          <a:solidFill>
            <a:schemeClr val="bg1">
              <a:lumMod val="75000"/>
            </a:schemeClr>
          </a:solidFill>
        </p:grpSpPr>
        <p:sp>
          <p:nvSpPr>
            <p:cNvPr id="16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 w 352"/>
                <a:gd name="T1" fmla="*/ 1 h 387"/>
                <a:gd name="T2" fmla="*/ 3 w 352"/>
                <a:gd name="T3" fmla="*/ 1 h 387"/>
                <a:gd name="T4" fmla="*/ 3 w 352"/>
                <a:gd name="T5" fmla="*/ 1 h 387"/>
                <a:gd name="T6" fmla="*/ 3 w 352"/>
                <a:gd name="T7" fmla="*/ 1 h 387"/>
                <a:gd name="T8" fmla="*/ 2 w 352"/>
                <a:gd name="T9" fmla="*/ 1 h 387"/>
                <a:gd name="T10" fmla="*/ 2 w 352"/>
                <a:gd name="T11" fmla="*/ 0 h 387"/>
                <a:gd name="T12" fmla="*/ 1 w 352"/>
                <a:gd name="T13" fmla="*/ 0 h 387"/>
                <a:gd name="T14" fmla="*/ 1 w 352"/>
                <a:gd name="T15" fmla="*/ 0 h 387"/>
                <a:gd name="T16" fmla="*/ 1 w 352"/>
                <a:gd name="T17" fmla="*/ 0 h 387"/>
                <a:gd name="T18" fmla="*/ 1 w 352"/>
                <a:gd name="T19" fmla="*/ 0 h 387"/>
                <a:gd name="T20" fmla="*/ 1 w 352"/>
                <a:gd name="T21" fmla="*/ 1 h 387"/>
                <a:gd name="T22" fmla="*/ 1 w 352"/>
                <a:gd name="T23" fmla="*/ 1 h 387"/>
                <a:gd name="T24" fmla="*/ 0 w 352"/>
                <a:gd name="T25" fmla="*/ 2 h 387"/>
                <a:gd name="T26" fmla="*/ 0 w 352"/>
                <a:gd name="T27" fmla="*/ 2 h 387"/>
                <a:gd name="T28" fmla="*/ 0 w 352"/>
                <a:gd name="T29" fmla="*/ 2 h 387"/>
                <a:gd name="T30" fmla="*/ 0 w 352"/>
                <a:gd name="T31" fmla="*/ 2 h 387"/>
                <a:gd name="T32" fmla="*/ 0 w 352"/>
                <a:gd name="T33" fmla="*/ 3 h 387"/>
                <a:gd name="T34" fmla="*/ 0 w 352"/>
                <a:gd name="T35" fmla="*/ 3 h 387"/>
                <a:gd name="T36" fmla="*/ 0 w 352"/>
                <a:gd name="T37" fmla="*/ 3 h 387"/>
                <a:gd name="T38" fmla="*/ 0 w 352"/>
                <a:gd name="T39" fmla="*/ 3 h 387"/>
                <a:gd name="T40" fmla="*/ 0 w 352"/>
                <a:gd name="T41" fmla="*/ 3 h 387"/>
                <a:gd name="T42" fmla="*/ 1 w 352"/>
                <a:gd name="T43" fmla="*/ 3 h 387"/>
                <a:gd name="T44" fmla="*/ 1 w 352"/>
                <a:gd name="T45" fmla="*/ 3 h 387"/>
                <a:gd name="T46" fmla="*/ 1 w 352"/>
                <a:gd name="T47" fmla="*/ 3 h 387"/>
                <a:gd name="T48" fmla="*/ 1 w 352"/>
                <a:gd name="T49" fmla="*/ 3 h 387"/>
                <a:gd name="T50" fmla="*/ 1 w 352"/>
                <a:gd name="T51" fmla="*/ 3 h 387"/>
                <a:gd name="T52" fmla="*/ 1 w 352"/>
                <a:gd name="T53" fmla="*/ 3 h 387"/>
                <a:gd name="T54" fmla="*/ 1 w 352"/>
                <a:gd name="T55" fmla="*/ 3 h 387"/>
                <a:gd name="T56" fmla="*/ 1 w 352"/>
                <a:gd name="T57" fmla="*/ 3 h 387"/>
                <a:gd name="T58" fmla="*/ 1 w 352"/>
                <a:gd name="T59" fmla="*/ 4 h 387"/>
                <a:gd name="T60" fmla="*/ 1 w 352"/>
                <a:gd name="T61" fmla="*/ 4 h 387"/>
                <a:gd name="T62" fmla="*/ 1 w 352"/>
                <a:gd name="T63" fmla="*/ 4 h 387"/>
                <a:gd name="T64" fmla="*/ 1 w 352"/>
                <a:gd name="T65" fmla="*/ 4 h 387"/>
                <a:gd name="T66" fmla="*/ 2 w 352"/>
                <a:gd name="T67" fmla="*/ 4 h 387"/>
                <a:gd name="T68" fmla="*/ 2 w 352"/>
                <a:gd name="T69" fmla="*/ 5 h 387"/>
                <a:gd name="T70" fmla="*/ 2 w 352"/>
                <a:gd name="T71" fmla="*/ 4 h 387"/>
                <a:gd name="T72" fmla="*/ 2 w 352"/>
                <a:gd name="T73" fmla="*/ 4 h 387"/>
                <a:gd name="T74" fmla="*/ 2 w 352"/>
                <a:gd name="T75" fmla="*/ 4 h 387"/>
                <a:gd name="T76" fmla="*/ 2 w 352"/>
                <a:gd name="T77" fmla="*/ 4 h 387"/>
                <a:gd name="T78" fmla="*/ 2 w 352"/>
                <a:gd name="T79" fmla="*/ 4 h 387"/>
                <a:gd name="T80" fmla="*/ 2 w 352"/>
                <a:gd name="T81" fmla="*/ 4 h 387"/>
                <a:gd name="T82" fmla="*/ 2 w 352"/>
                <a:gd name="T83" fmla="*/ 3 h 387"/>
                <a:gd name="T84" fmla="*/ 3 w 352"/>
                <a:gd name="T85" fmla="*/ 3 h 387"/>
                <a:gd name="T86" fmla="*/ 3 w 352"/>
                <a:gd name="T87" fmla="*/ 3 h 387"/>
                <a:gd name="T88" fmla="*/ 3 w 352"/>
                <a:gd name="T89" fmla="*/ 3 h 387"/>
                <a:gd name="T90" fmla="*/ 4 w 352"/>
                <a:gd name="T91" fmla="*/ 3 h 387"/>
                <a:gd name="T92" fmla="*/ 4 w 352"/>
                <a:gd name="T93" fmla="*/ 2 h 387"/>
                <a:gd name="T94" fmla="*/ 4 w 352"/>
                <a:gd name="T95" fmla="*/ 2 h 387"/>
                <a:gd name="T96" fmla="*/ 4 w 352"/>
                <a:gd name="T97" fmla="*/ 2 h 387"/>
                <a:gd name="T98" fmla="*/ 4 w 352"/>
                <a:gd name="T99" fmla="*/ 2 h 387"/>
                <a:gd name="T100" fmla="*/ 4 w 352"/>
                <a:gd name="T101" fmla="*/ 1 h 387"/>
                <a:gd name="T102" fmla="*/ 4 w 352"/>
                <a:gd name="T103" fmla="*/ 1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0 w 52"/>
                <a:gd name="T1" fmla="*/ 0 h 78"/>
                <a:gd name="T2" fmla="*/ 0 w 52"/>
                <a:gd name="T3" fmla="*/ 0 h 78"/>
                <a:gd name="T4" fmla="*/ 0 w 52"/>
                <a:gd name="T5" fmla="*/ 0 h 78"/>
                <a:gd name="T6" fmla="*/ 0 w 52"/>
                <a:gd name="T7" fmla="*/ 0 h 78"/>
                <a:gd name="T8" fmla="*/ 0 w 52"/>
                <a:gd name="T9" fmla="*/ 0 h 78"/>
                <a:gd name="T10" fmla="*/ 0 w 52"/>
                <a:gd name="T11" fmla="*/ 0 h 78"/>
                <a:gd name="T12" fmla="*/ 1 w 52"/>
                <a:gd name="T13" fmla="*/ 0 h 78"/>
                <a:gd name="T14" fmla="*/ 1 w 52"/>
                <a:gd name="T15" fmla="*/ 0 h 78"/>
                <a:gd name="T16" fmla="*/ 1 w 52"/>
                <a:gd name="T17" fmla="*/ 0 h 78"/>
                <a:gd name="T18" fmla="*/ 1 w 52"/>
                <a:gd name="T19" fmla="*/ 0 h 78"/>
                <a:gd name="T20" fmla="*/ 1 w 52"/>
                <a:gd name="T21" fmla="*/ 1 h 78"/>
                <a:gd name="T22" fmla="*/ 1 w 52"/>
                <a:gd name="T23" fmla="*/ 1 h 78"/>
                <a:gd name="T24" fmla="*/ 1 w 52"/>
                <a:gd name="T25" fmla="*/ 1 h 78"/>
                <a:gd name="T26" fmla="*/ 1 w 52"/>
                <a:gd name="T27" fmla="*/ 1 h 78"/>
                <a:gd name="T28" fmla="*/ 1 w 52"/>
                <a:gd name="T29" fmla="*/ 1 h 78"/>
                <a:gd name="T30" fmla="*/ 0 w 52"/>
                <a:gd name="T31" fmla="*/ 1 h 78"/>
                <a:gd name="T32" fmla="*/ 0 w 52"/>
                <a:gd name="T33" fmla="*/ 1 h 78"/>
                <a:gd name="T34" fmla="*/ 0 w 52"/>
                <a:gd name="T35" fmla="*/ 1 h 78"/>
                <a:gd name="T36" fmla="*/ 0 w 52"/>
                <a:gd name="T37" fmla="*/ 1 h 78"/>
                <a:gd name="T38" fmla="*/ 0 w 52"/>
                <a:gd name="T39" fmla="*/ 1 h 78"/>
                <a:gd name="T40" fmla="*/ 0 w 52"/>
                <a:gd name="T41" fmla="*/ 1 h 78"/>
                <a:gd name="T42" fmla="*/ 0 w 52"/>
                <a:gd name="T43" fmla="*/ 1 h 78"/>
                <a:gd name="T44" fmla="*/ 0 w 52"/>
                <a:gd name="T45" fmla="*/ 1 h 78"/>
                <a:gd name="T46" fmla="*/ 0 w 52"/>
                <a:gd name="T47" fmla="*/ 1 h 78"/>
                <a:gd name="T48" fmla="*/ 0 w 52"/>
                <a:gd name="T49" fmla="*/ 1 h 78"/>
                <a:gd name="T50" fmla="*/ 0 w 52"/>
                <a:gd name="T51" fmla="*/ 1 h 78"/>
                <a:gd name="T52" fmla="*/ 0 w 52"/>
                <a:gd name="T53" fmla="*/ 1 h 78"/>
                <a:gd name="T54" fmla="*/ 0 w 52"/>
                <a:gd name="T55" fmla="*/ 1 h 78"/>
                <a:gd name="T56" fmla="*/ 0 w 52"/>
                <a:gd name="T57" fmla="*/ 1 h 78"/>
                <a:gd name="T58" fmla="*/ 0 w 52"/>
                <a:gd name="T59" fmla="*/ 1 h 78"/>
                <a:gd name="T60" fmla="*/ 0 w 52"/>
                <a:gd name="T61" fmla="*/ 1 h 78"/>
                <a:gd name="T62" fmla="*/ 0 w 52"/>
                <a:gd name="T63" fmla="*/ 0 h 78"/>
                <a:gd name="T64" fmla="*/ 0 w 52"/>
                <a:gd name="T65" fmla="*/ 0 h 78"/>
                <a:gd name="T66" fmla="*/ 0 w 52"/>
                <a:gd name="T67" fmla="*/ 0 h 78"/>
                <a:gd name="T68" fmla="*/ 0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0 w 33"/>
                <a:gd name="T1" fmla="*/ 0 h 30"/>
                <a:gd name="T2" fmla="*/ 0 w 33"/>
                <a:gd name="T3" fmla="*/ 0 h 30"/>
                <a:gd name="T4" fmla="*/ 0 w 33"/>
                <a:gd name="T5" fmla="*/ 0 h 30"/>
                <a:gd name="T6" fmla="*/ 0 w 33"/>
                <a:gd name="T7" fmla="*/ 0 h 30"/>
                <a:gd name="T8" fmla="*/ 0 w 33"/>
                <a:gd name="T9" fmla="*/ 0 h 30"/>
                <a:gd name="T10" fmla="*/ 0 w 33"/>
                <a:gd name="T11" fmla="*/ 0 h 30"/>
                <a:gd name="T12" fmla="*/ 0 w 33"/>
                <a:gd name="T13" fmla="*/ 0 h 30"/>
                <a:gd name="T14" fmla="*/ 0 w 33"/>
                <a:gd name="T15" fmla="*/ 0 h 30"/>
                <a:gd name="T16" fmla="*/ 0 w 33"/>
                <a:gd name="T17" fmla="*/ 0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15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524365" y="5303465"/>
            <a:ext cx="19050" cy="58738"/>
          </a:xfrm>
          <a:custGeom>
            <a:avLst/>
            <a:gdLst>
              <a:gd name="T0" fmla="*/ 2147483647 w 47"/>
              <a:gd name="T1" fmla="*/ 0 h 28"/>
              <a:gd name="T2" fmla="*/ 2147483647 w 47"/>
              <a:gd name="T3" fmla="*/ 0 h 28"/>
              <a:gd name="T4" fmla="*/ 2147483647 w 47"/>
              <a:gd name="T5" fmla="*/ 2147483647 h 28"/>
              <a:gd name="T6" fmla="*/ 2147483647 w 47"/>
              <a:gd name="T7" fmla="*/ 2147483647 h 28"/>
              <a:gd name="T8" fmla="*/ 2147483647 w 47"/>
              <a:gd name="T9" fmla="*/ 2147483647 h 28"/>
              <a:gd name="T10" fmla="*/ 2147483647 w 47"/>
              <a:gd name="T11" fmla="*/ 2147483647 h 28"/>
              <a:gd name="T12" fmla="*/ 2147483647 w 47"/>
              <a:gd name="T13" fmla="*/ 2147483647 h 28"/>
              <a:gd name="T14" fmla="*/ 2147483647 w 47"/>
              <a:gd name="T15" fmla="*/ 2147483647 h 28"/>
              <a:gd name="T16" fmla="*/ 2147483647 w 47"/>
              <a:gd name="T17" fmla="*/ 2147483647 h 28"/>
              <a:gd name="T18" fmla="*/ 2147483647 w 47"/>
              <a:gd name="T19" fmla="*/ 2147483647 h 28"/>
              <a:gd name="T20" fmla="*/ 2147483647 w 47"/>
              <a:gd name="T21" fmla="*/ 2147483647 h 28"/>
              <a:gd name="T22" fmla="*/ 2147483647 w 47"/>
              <a:gd name="T23" fmla="*/ 2147483647 h 28"/>
              <a:gd name="T24" fmla="*/ 2147483647 w 47"/>
              <a:gd name="T25" fmla="*/ 2147483647 h 28"/>
              <a:gd name="T26" fmla="*/ 2147483647 w 47"/>
              <a:gd name="T27" fmla="*/ 2147483647 h 28"/>
              <a:gd name="T28" fmla="*/ 0 w 47"/>
              <a:gd name="T29" fmla="*/ 2147483647 h 28"/>
              <a:gd name="T30" fmla="*/ 2147483647 w 47"/>
              <a:gd name="T31" fmla="*/ 2147483647 h 28"/>
              <a:gd name="T32" fmla="*/ 2147483647 w 47"/>
              <a:gd name="T33" fmla="*/ 2147483647 h 28"/>
              <a:gd name="T34" fmla="*/ 2147483647 w 47"/>
              <a:gd name="T35" fmla="*/ 2147483647 h 28"/>
              <a:gd name="T36" fmla="*/ 2147483647 w 47"/>
              <a:gd name="T37" fmla="*/ 2147483647 h 28"/>
              <a:gd name="T38" fmla="*/ 2147483647 w 47"/>
              <a:gd name="T39" fmla="*/ 2147483647 h 28"/>
              <a:gd name="T40" fmla="*/ 2147483647 w 47"/>
              <a:gd name="T41" fmla="*/ 2147483647 h 28"/>
              <a:gd name="T42" fmla="*/ 2147483647 w 47"/>
              <a:gd name="T43" fmla="*/ 2147483647 h 28"/>
              <a:gd name="T44" fmla="*/ 214748364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6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495790" y="5330453"/>
            <a:ext cx="23813" cy="57150"/>
          </a:xfrm>
          <a:custGeom>
            <a:avLst/>
            <a:gdLst>
              <a:gd name="T0" fmla="*/ 2147483647 w 53"/>
              <a:gd name="T1" fmla="*/ 0 h 33"/>
              <a:gd name="T2" fmla="*/ 2147483647 w 53"/>
              <a:gd name="T3" fmla="*/ 2147483647 h 33"/>
              <a:gd name="T4" fmla="*/ 2147483647 w 53"/>
              <a:gd name="T5" fmla="*/ 2147483647 h 33"/>
              <a:gd name="T6" fmla="*/ 2147483647 w 53"/>
              <a:gd name="T7" fmla="*/ 2147483647 h 33"/>
              <a:gd name="T8" fmla="*/ 2147483647 w 53"/>
              <a:gd name="T9" fmla="*/ 2147483647 h 33"/>
              <a:gd name="T10" fmla="*/ 2147483647 w 53"/>
              <a:gd name="T11" fmla="*/ 2147483647 h 33"/>
              <a:gd name="T12" fmla="*/ 2147483647 w 53"/>
              <a:gd name="T13" fmla="*/ 2147483647 h 33"/>
              <a:gd name="T14" fmla="*/ 2147483647 w 53"/>
              <a:gd name="T15" fmla="*/ 2147483647 h 33"/>
              <a:gd name="T16" fmla="*/ 2147483647 w 53"/>
              <a:gd name="T17" fmla="*/ 2147483647 h 33"/>
              <a:gd name="T18" fmla="*/ 2147483647 w 53"/>
              <a:gd name="T19" fmla="*/ 2147483647 h 33"/>
              <a:gd name="T20" fmla="*/ 2147483647 w 53"/>
              <a:gd name="T21" fmla="*/ 2147483647 h 33"/>
              <a:gd name="T22" fmla="*/ 2147483647 w 53"/>
              <a:gd name="T23" fmla="*/ 2147483647 h 33"/>
              <a:gd name="T24" fmla="*/ 2147483647 w 53"/>
              <a:gd name="T25" fmla="*/ 2147483647 h 33"/>
              <a:gd name="T26" fmla="*/ 2147483647 w 53"/>
              <a:gd name="T27" fmla="*/ 2147483647 h 33"/>
              <a:gd name="T28" fmla="*/ 2147483647 w 53"/>
              <a:gd name="T29" fmla="*/ 2147483647 h 33"/>
              <a:gd name="T30" fmla="*/ 2147483647 w 53"/>
              <a:gd name="T31" fmla="*/ 2147483647 h 33"/>
              <a:gd name="T32" fmla="*/ 0 w 53"/>
              <a:gd name="T33" fmla="*/ 2147483647 h 33"/>
              <a:gd name="T34" fmla="*/ 0 w 53"/>
              <a:gd name="T35" fmla="*/ 2147483647 h 33"/>
              <a:gd name="T36" fmla="*/ 2147483647 w 53"/>
              <a:gd name="T37" fmla="*/ 2147483647 h 33"/>
              <a:gd name="T38" fmla="*/ 2147483647 w 53"/>
              <a:gd name="T39" fmla="*/ 2147483647 h 33"/>
              <a:gd name="T40" fmla="*/ 2147483647 w 53"/>
              <a:gd name="T41" fmla="*/ 2147483647 h 33"/>
              <a:gd name="T42" fmla="*/ 2147483647 w 53"/>
              <a:gd name="T43" fmla="*/ 2147483647 h 33"/>
              <a:gd name="T44" fmla="*/ 2147483647 w 53"/>
              <a:gd name="T45" fmla="*/ 2147483647 h 33"/>
              <a:gd name="T46" fmla="*/ 2147483647 w 53"/>
              <a:gd name="T47" fmla="*/ 2147483647 h 33"/>
              <a:gd name="T48" fmla="*/ 2147483647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17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337040" y="4822453"/>
            <a:ext cx="168275" cy="103187"/>
            <a:chOff x="3481" y="2773"/>
            <a:chExt cx="125" cy="65"/>
          </a:xfrm>
          <a:solidFill>
            <a:schemeClr val="bg1">
              <a:lumMod val="75000"/>
            </a:schemeClr>
          </a:solidFill>
        </p:grpSpPr>
        <p:sp>
          <p:nvSpPr>
            <p:cNvPr id="2500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1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2502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0 w 14"/>
                <a:gd name="T1" fmla="*/ 0 h 19"/>
                <a:gd name="T2" fmla="*/ 0 w 14"/>
                <a:gd name="T3" fmla="*/ 0 h 19"/>
                <a:gd name="T4" fmla="*/ 0 w 14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3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0 w 20"/>
                <a:gd name="T1" fmla="*/ 0 h 12"/>
                <a:gd name="T2" fmla="*/ 0 w 20"/>
                <a:gd name="T3" fmla="*/ 0 h 12"/>
                <a:gd name="T4" fmla="*/ 0 w 20"/>
                <a:gd name="T5" fmla="*/ 0 h 12"/>
                <a:gd name="T6" fmla="*/ 0 w 20"/>
                <a:gd name="T7" fmla="*/ 0 h 12"/>
                <a:gd name="T8" fmla="*/ 0 w 20"/>
                <a:gd name="T9" fmla="*/ 0 h 12"/>
                <a:gd name="T10" fmla="*/ 0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21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w 20"/>
                <a:gd name="T9" fmla="*/ 0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w 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w 13"/>
                <a:gd name="T15" fmla="*/ 0 h 18"/>
                <a:gd name="T16" fmla="*/ 0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1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465503" y="4814515"/>
            <a:ext cx="319087" cy="379413"/>
          </a:xfrm>
          <a:custGeom>
            <a:avLst/>
            <a:gdLst>
              <a:gd name="T0" fmla="*/ 2147483647 w 736"/>
              <a:gd name="T1" fmla="*/ 2147483647 h 721"/>
              <a:gd name="T2" fmla="*/ 2147483647 w 736"/>
              <a:gd name="T3" fmla="*/ 2147483647 h 721"/>
              <a:gd name="T4" fmla="*/ 2147483647 w 736"/>
              <a:gd name="T5" fmla="*/ 2147483647 h 721"/>
              <a:gd name="T6" fmla="*/ 2147483647 w 736"/>
              <a:gd name="T7" fmla="*/ 2147483647 h 721"/>
              <a:gd name="T8" fmla="*/ 2147483647 w 736"/>
              <a:gd name="T9" fmla="*/ 2147483647 h 721"/>
              <a:gd name="T10" fmla="*/ 2147483647 w 736"/>
              <a:gd name="T11" fmla="*/ 2147483647 h 721"/>
              <a:gd name="T12" fmla="*/ 2147483647 w 736"/>
              <a:gd name="T13" fmla="*/ 2147483647 h 721"/>
              <a:gd name="T14" fmla="*/ 2147483647 w 736"/>
              <a:gd name="T15" fmla="*/ 2147483647 h 721"/>
              <a:gd name="T16" fmla="*/ 2147483647 w 736"/>
              <a:gd name="T17" fmla="*/ 2147483647 h 721"/>
              <a:gd name="T18" fmla="*/ 2147483647 w 736"/>
              <a:gd name="T19" fmla="*/ 2147483647 h 721"/>
              <a:gd name="T20" fmla="*/ 2147483647 w 736"/>
              <a:gd name="T21" fmla="*/ 2147483647 h 721"/>
              <a:gd name="T22" fmla="*/ 2147483647 w 736"/>
              <a:gd name="T23" fmla="*/ 2147483647 h 721"/>
              <a:gd name="T24" fmla="*/ 2147483647 w 736"/>
              <a:gd name="T25" fmla="*/ 2147483647 h 721"/>
              <a:gd name="T26" fmla="*/ 2147483647 w 736"/>
              <a:gd name="T27" fmla="*/ 2147483647 h 721"/>
              <a:gd name="T28" fmla="*/ 2147483647 w 736"/>
              <a:gd name="T29" fmla="*/ 2147483647 h 721"/>
              <a:gd name="T30" fmla="*/ 2147483647 w 736"/>
              <a:gd name="T31" fmla="*/ 2147483647 h 721"/>
              <a:gd name="T32" fmla="*/ 2147483647 w 736"/>
              <a:gd name="T33" fmla="*/ 2147483647 h 721"/>
              <a:gd name="T34" fmla="*/ 2147483647 w 736"/>
              <a:gd name="T35" fmla="*/ 2147483647 h 721"/>
              <a:gd name="T36" fmla="*/ 2147483647 w 736"/>
              <a:gd name="T37" fmla="*/ 2147483647 h 721"/>
              <a:gd name="T38" fmla="*/ 2147483647 w 736"/>
              <a:gd name="T39" fmla="*/ 2147483647 h 721"/>
              <a:gd name="T40" fmla="*/ 2147483647 w 736"/>
              <a:gd name="T41" fmla="*/ 2147483647 h 721"/>
              <a:gd name="T42" fmla="*/ 2147483647 w 736"/>
              <a:gd name="T43" fmla="*/ 2147483647 h 721"/>
              <a:gd name="T44" fmla="*/ 2147483647 w 736"/>
              <a:gd name="T45" fmla="*/ 2147483647 h 721"/>
              <a:gd name="T46" fmla="*/ 2147483647 w 736"/>
              <a:gd name="T47" fmla="*/ 2147483647 h 721"/>
              <a:gd name="T48" fmla="*/ 2147483647 w 736"/>
              <a:gd name="T49" fmla="*/ 2147483647 h 721"/>
              <a:gd name="T50" fmla="*/ 2147483647 w 736"/>
              <a:gd name="T51" fmla="*/ 2147483647 h 721"/>
              <a:gd name="T52" fmla="*/ 2147483647 w 736"/>
              <a:gd name="T53" fmla="*/ 2147483647 h 721"/>
              <a:gd name="T54" fmla="*/ 2147483647 w 736"/>
              <a:gd name="T55" fmla="*/ 2147483647 h 721"/>
              <a:gd name="T56" fmla="*/ 2147483647 w 736"/>
              <a:gd name="T57" fmla="*/ 2147483647 h 721"/>
              <a:gd name="T58" fmla="*/ 2147483647 w 736"/>
              <a:gd name="T59" fmla="*/ 2147483647 h 721"/>
              <a:gd name="T60" fmla="*/ 2147483647 w 736"/>
              <a:gd name="T61" fmla="*/ 2147483647 h 721"/>
              <a:gd name="T62" fmla="*/ 2147483647 w 736"/>
              <a:gd name="T63" fmla="*/ 2147483647 h 721"/>
              <a:gd name="T64" fmla="*/ 2147483647 w 736"/>
              <a:gd name="T65" fmla="*/ 2147483647 h 721"/>
              <a:gd name="T66" fmla="*/ 2147483647 w 736"/>
              <a:gd name="T67" fmla="*/ 0 h 721"/>
              <a:gd name="T68" fmla="*/ 2147483647 w 736"/>
              <a:gd name="T69" fmla="*/ 2147483647 h 721"/>
              <a:gd name="T70" fmla="*/ 2147483647 w 736"/>
              <a:gd name="T71" fmla="*/ 2147483647 h 721"/>
              <a:gd name="T72" fmla="*/ 2147483647 w 736"/>
              <a:gd name="T73" fmla="*/ 2147483647 h 721"/>
              <a:gd name="T74" fmla="*/ 2147483647 w 736"/>
              <a:gd name="T75" fmla="*/ 2147483647 h 721"/>
              <a:gd name="T76" fmla="*/ 2147483647 w 736"/>
              <a:gd name="T77" fmla="*/ 2147483647 h 721"/>
              <a:gd name="T78" fmla="*/ 2147483647 w 736"/>
              <a:gd name="T79" fmla="*/ 2147483647 h 721"/>
              <a:gd name="T80" fmla="*/ 2147483647 w 736"/>
              <a:gd name="T81" fmla="*/ 2147483647 h 721"/>
              <a:gd name="T82" fmla="*/ 2147483647 w 736"/>
              <a:gd name="T83" fmla="*/ 2147483647 h 721"/>
              <a:gd name="T84" fmla="*/ 2147483647 w 736"/>
              <a:gd name="T85" fmla="*/ 2147483647 h 721"/>
              <a:gd name="T86" fmla="*/ 2147483647 w 736"/>
              <a:gd name="T87" fmla="*/ 2147483647 h 721"/>
              <a:gd name="T88" fmla="*/ 2147483647 w 736"/>
              <a:gd name="T89" fmla="*/ 2147483647 h 721"/>
              <a:gd name="T90" fmla="*/ 2147483647 w 736"/>
              <a:gd name="T91" fmla="*/ 2147483647 h 721"/>
              <a:gd name="T92" fmla="*/ 2147483647 w 736"/>
              <a:gd name="T93" fmla="*/ 2147483647 h 721"/>
              <a:gd name="T94" fmla="*/ 2147483647 w 736"/>
              <a:gd name="T95" fmla="*/ 2147483647 h 721"/>
              <a:gd name="T96" fmla="*/ 2147483647 w 736"/>
              <a:gd name="T97" fmla="*/ 21474836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476615" y="4787528"/>
            <a:ext cx="15875" cy="60325"/>
          </a:xfrm>
          <a:custGeom>
            <a:avLst/>
            <a:gdLst>
              <a:gd name="T0" fmla="*/ 0 w 39"/>
              <a:gd name="T1" fmla="*/ 2147483647 h 31"/>
              <a:gd name="T2" fmla="*/ 2147483647 w 39"/>
              <a:gd name="T3" fmla="*/ 2147483647 h 31"/>
              <a:gd name="T4" fmla="*/ 2147483647 w 39"/>
              <a:gd name="T5" fmla="*/ 2147483647 h 31"/>
              <a:gd name="T6" fmla="*/ 2147483647 w 39"/>
              <a:gd name="T7" fmla="*/ 2147483647 h 31"/>
              <a:gd name="T8" fmla="*/ 2147483647 w 39"/>
              <a:gd name="T9" fmla="*/ 2147483647 h 31"/>
              <a:gd name="T10" fmla="*/ 2147483647 w 39"/>
              <a:gd name="T11" fmla="*/ 2147483647 h 31"/>
              <a:gd name="T12" fmla="*/ 2147483647 w 39"/>
              <a:gd name="T13" fmla="*/ 2147483647 h 31"/>
              <a:gd name="T14" fmla="*/ 2147483647 w 39"/>
              <a:gd name="T15" fmla="*/ 0 h 31"/>
              <a:gd name="T16" fmla="*/ 2147483647 w 39"/>
              <a:gd name="T17" fmla="*/ 0 h 31"/>
              <a:gd name="T18" fmla="*/ 2147483647 w 39"/>
              <a:gd name="T19" fmla="*/ 0 h 31"/>
              <a:gd name="T20" fmla="*/ 2147483647 w 39"/>
              <a:gd name="T21" fmla="*/ 0 h 31"/>
              <a:gd name="T22" fmla="*/ 0 w 39"/>
              <a:gd name="T23" fmla="*/ 0 h 31"/>
              <a:gd name="T24" fmla="*/ 0 w 39"/>
              <a:gd name="T25" fmla="*/ 2147483647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578215" y="5330453"/>
            <a:ext cx="396875" cy="398462"/>
          </a:xfrm>
          <a:custGeom>
            <a:avLst/>
            <a:gdLst>
              <a:gd name="T0" fmla="*/ 2147483647 w 903"/>
              <a:gd name="T1" fmla="*/ 2147483647 h 759"/>
              <a:gd name="T2" fmla="*/ 2147483647 w 903"/>
              <a:gd name="T3" fmla="*/ 2147483647 h 759"/>
              <a:gd name="T4" fmla="*/ 2147483647 w 903"/>
              <a:gd name="T5" fmla="*/ 2147483647 h 759"/>
              <a:gd name="T6" fmla="*/ 2147483647 w 903"/>
              <a:gd name="T7" fmla="*/ 2147483647 h 759"/>
              <a:gd name="T8" fmla="*/ 2147483647 w 903"/>
              <a:gd name="T9" fmla="*/ 2147483647 h 759"/>
              <a:gd name="T10" fmla="*/ 2147483647 w 903"/>
              <a:gd name="T11" fmla="*/ 2147483647 h 759"/>
              <a:gd name="T12" fmla="*/ 2147483647 w 903"/>
              <a:gd name="T13" fmla="*/ 2147483647 h 759"/>
              <a:gd name="T14" fmla="*/ 2147483647 w 903"/>
              <a:gd name="T15" fmla="*/ 2147483647 h 759"/>
              <a:gd name="T16" fmla="*/ 2147483647 w 903"/>
              <a:gd name="T17" fmla="*/ 2147483647 h 759"/>
              <a:gd name="T18" fmla="*/ 2147483647 w 903"/>
              <a:gd name="T19" fmla="*/ 2147483647 h 759"/>
              <a:gd name="T20" fmla="*/ 2147483647 w 903"/>
              <a:gd name="T21" fmla="*/ 2147483647 h 759"/>
              <a:gd name="T22" fmla="*/ 2147483647 w 903"/>
              <a:gd name="T23" fmla="*/ 2147483647 h 759"/>
              <a:gd name="T24" fmla="*/ 2147483647 w 903"/>
              <a:gd name="T25" fmla="*/ 2147483647 h 759"/>
              <a:gd name="T26" fmla="*/ 2147483647 w 903"/>
              <a:gd name="T27" fmla="*/ 2147483647 h 759"/>
              <a:gd name="T28" fmla="*/ 2147483647 w 903"/>
              <a:gd name="T29" fmla="*/ 2147483647 h 759"/>
              <a:gd name="T30" fmla="*/ 2147483647 w 903"/>
              <a:gd name="T31" fmla="*/ 2147483647 h 759"/>
              <a:gd name="T32" fmla="*/ 2147483647 w 903"/>
              <a:gd name="T33" fmla="*/ 2147483647 h 759"/>
              <a:gd name="T34" fmla="*/ 2147483647 w 903"/>
              <a:gd name="T35" fmla="*/ 2147483647 h 759"/>
              <a:gd name="T36" fmla="*/ 2147483647 w 903"/>
              <a:gd name="T37" fmla="*/ 2147483647 h 759"/>
              <a:gd name="T38" fmla="*/ 2147483647 w 903"/>
              <a:gd name="T39" fmla="*/ 2147483647 h 759"/>
              <a:gd name="T40" fmla="*/ 2147483647 w 903"/>
              <a:gd name="T41" fmla="*/ 2147483647 h 759"/>
              <a:gd name="T42" fmla="*/ 2147483647 w 903"/>
              <a:gd name="T43" fmla="*/ 2147483647 h 759"/>
              <a:gd name="T44" fmla="*/ 2147483647 w 903"/>
              <a:gd name="T45" fmla="*/ 2147483647 h 759"/>
              <a:gd name="T46" fmla="*/ 2147483647 w 903"/>
              <a:gd name="T47" fmla="*/ 2147483647 h 759"/>
              <a:gd name="T48" fmla="*/ 2147483647 w 903"/>
              <a:gd name="T49" fmla="*/ 2147483647 h 759"/>
              <a:gd name="T50" fmla="*/ 2147483647 w 903"/>
              <a:gd name="T51" fmla="*/ 2147483647 h 759"/>
              <a:gd name="T52" fmla="*/ 2147483647 w 903"/>
              <a:gd name="T53" fmla="*/ 2147483647 h 759"/>
              <a:gd name="T54" fmla="*/ 0 w 903"/>
              <a:gd name="T55" fmla="*/ 2147483647 h 759"/>
              <a:gd name="T56" fmla="*/ 2147483647 w 903"/>
              <a:gd name="T57" fmla="*/ 2147483647 h 759"/>
              <a:gd name="T58" fmla="*/ 2147483647 w 903"/>
              <a:gd name="T59" fmla="*/ 2147483647 h 759"/>
              <a:gd name="T60" fmla="*/ 2147483647 w 903"/>
              <a:gd name="T61" fmla="*/ 2147483647 h 759"/>
              <a:gd name="T62" fmla="*/ 2147483647 w 903"/>
              <a:gd name="T63" fmla="*/ 2147483647 h 759"/>
              <a:gd name="T64" fmla="*/ 2147483647 w 903"/>
              <a:gd name="T65" fmla="*/ 2147483647 h 759"/>
              <a:gd name="T66" fmla="*/ 2147483647 w 903"/>
              <a:gd name="T67" fmla="*/ 2147483647 h 759"/>
              <a:gd name="T68" fmla="*/ 2147483647 w 903"/>
              <a:gd name="T69" fmla="*/ 2147483647 h 759"/>
              <a:gd name="T70" fmla="*/ 2147483647 w 903"/>
              <a:gd name="T71" fmla="*/ 2147483647 h 759"/>
              <a:gd name="T72" fmla="*/ 2147483647 w 903"/>
              <a:gd name="T73" fmla="*/ 2147483647 h 759"/>
              <a:gd name="T74" fmla="*/ 2147483647 w 903"/>
              <a:gd name="T75" fmla="*/ 2147483647 h 759"/>
              <a:gd name="T76" fmla="*/ 2147483647 w 903"/>
              <a:gd name="T77" fmla="*/ 2147483647 h 759"/>
              <a:gd name="T78" fmla="*/ 2147483647 w 903"/>
              <a:gd name="T79" fmla="*/ 2147483647 h 759"/>
              <a:gd name="T80" fmla="*/ 2147483647 w 903"/>
              <a:gd name="T81" fmla="*/ 2147483647 h 759"/>
              <a:gd name="T82" fmla="*/ 2147483647 w 903"/>
              <a:gd name="T83" fmla="*/ 2147483647 h 759"/>
              <a:gd name="T84" fmla="*/ 2147483647 w 903"/>
              <a:gd name="T85" fmla="*/ 2147483647 h 759"/>
              <a:gd name="T86" fmla="*/ 2147483647 w 903"/>
              <a:gd name="T87" fmla="*/ 2147483647 h 759"/>
              <a:gd name="T88" fmla="*/ 2147483647 w 903"/>
              <a:gd name="T89" fmla="*/ 2147483647 h 759"/>
              <a:gd name="T90" fmla="*/ 2147483647 w 903"/>
              <a:gd name="T91" fmla="*/ 2147483647 h 759"/>
              <a:gd name="T92" fmla="*/ 2147483647 w 903"/>
              <a:gd name="T93" fmla="*/ 2147483647 h 759"/>
              <a:gd name="T94" fmla="*/ 2147483647 w 903"/>
              <a:gd name="T95" fmla="*/ 2147483647 h 759"/>
              <a:gd name="T96" fmla="*/ 2147483647 w 903"/>
              <a:gd name="T97" fmla="*/ 2147483647 h 759"/>
              <a:gd name="T98" fmla="*/ 2147483647 w 903"/>
              <a:gd name="T99" fmla="*/ 2147483647 h 759"/>
              <a:gd name="T100" fmla="*/ 2147483647 w 903"/>
              <a:gd name="T101" fmla="*/ 2147483647 h 759"/>
              <a:gd name="T102" fmla="*/ 2147483647 w 903"/>
              <a:gd name="T103" fmla="*/ 2147483647 h 759"/>
              <a:gd name="T104" fmla="*/ 2147483647 w 903"/>
              <a:gd name="T105" fmla="*/ 2147483647 h 759"/>
              <a:gd name="T106" fmla="*/ 2147483647 w 903"/>
              <a:gd name="T107" fmla="*/ 2147483647 h 759"/>
              <a:gd name="T108" fmla="*/ 2147483647 w 903"/>
              <a:gd name="T109" fmla="*/ 2147483647 h 759"/>
              <a:gd name="T110" fmla="*/ 2147483647 w 903"/>
              <a:gd name="T111" fmla="*/ 2147483647 h 759"/>
              <a:gd name="T112" fmla="*/ 2147483647 w 903"/>
              <a:gd name="T113" fmla="*/ 2147483647 h 759"/>
              <a:gd name="T114" fmla="*/ 2147483647 w 903"/>
              <a:gd name="T115" fmla="*/ 2147483647 h 759"/>
              <a:gd name="T116" fmla="*/ 2147483647 w 903"/>
              <a:gd name="T117" fmla="*/ 2147483647 h 759"/>
              <a:gd name="T118" fmla="*/ 2147483647 w 903"/>
              <a:gd name="T119" fmla="*/ 2147483647 h 759"/>
              <a:gd name="T120" fmla="*/ 2147483647 w 903"/>
              <a:gd name="T121" fmla="*/ 2147483647 h 759"/>
              <a:gd name="T122" fmla="*/ 2147483647 w 903"/>
              <a:gd name="T123" fmla="*/ 2147483647 h 759"/>
              <a:gd name="T124" fmla="*/ 2147483647 w 903"/>
              <a:gd name="T125" fmla="*/ 2147483647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725853" y="3898528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2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509828" y="4100140"/>
            <a:ext cx="80962" cy="82550"/>
            <a:chOff x="2352" y="2343"/>
            <a:chExt cx="65" cy="53"/>
          </a:xfrm>
          <a:solidFill>
            <a:schemeClr val="bg1">
              <a:lumMod val="75000"/>
            </a:schemeClr>
          </a:solidFill>
        </p:grpSpPr>
        <p:sp>
          <p:nvSpPr>
            <p:cNvPr id="2494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0 w 51"/>
                <a:gd name="T1" fmla="*/ 0 h 33"/>
                <a:gd name="T2" fmla="*/ 0 w 51"/>
                <a:gd name="T3" fmla="*/ 0 h 33"/>
                <a:gd name="T4" fmla="*/ 0 w 51"/>
                <a:gd name="T5" fmla="*/ 0 h 33"/>
                <a:gd name="T6" fmla="*/ 0 w 51"/>
                <a:gd name="T7" fmla="*/ 0 h 33"/>
                <a:gd name="T8" fmla="*/ 0 w 51"/>
                <a:gd name="T9" fmla="*/ 0 h 33"/>
                <a:gd name="T10" fmla="*/ 1 w 51"/>
                <a:gd name="T11" fmla="*/ 0 h 33"/>
                <a:gd name="T12" fmla="*/ 1 w 51"/>
                <a:gd name="T13" fmla="*/ 0 h 33"/>
                <a:gd name="T14" fmla="*/ 0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1 w 61"/>
                <a:gd name="T1" fmla="*/ 0 h 20"/>
                <a:gd name="T2" fmla="*/ 1 w 61"/>
                <a:gd name="T3" fmla="*/ 0 h 20"/>
                <a:gd name="T4" fmla="*/ 0 w 61"/>
                <a:gd name="T5" fmla="*/ 0 h 20"/>
                <a:gd name="T6" fmla="*/ 0 w 61"/>
                <a:gd name="T7" fmla="*/ 0 h 20"/>
                <a:gd name="T8" fmla="*/ 0 w 61"/>
                <a:gd name="T9" fmla="*/ 0 h 20"/>
                <a:gd name="T10" fmla="*/ 0 w 61"/>
                <a:gd name="T11" fmla="*/ 0 h 20"/>
                <a:gd name="T12" fmla="*/ 1 w 61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6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0 h 36"/>
                <a:gd name="T4" fmla="*/ 0 w 15"/>
                <a:gd name="T5" fmla="*/ 0 h 36"/>
                <a:gd name="T6" fmla="*/ 0 w 15"/>
                <a:gd name="T7" fmla="*/ 0 h 36"/>
                <a:gd name="T8" fmla="*/ 0 w 15"/>
                <a:gd name="T9" fmla="*/ 0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7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0 w 37"/>
                <a:gd name="T3" fmla="*/ 0 h 33"/>
                <a:gd name="T4" fmla="*/ 0 w 37"/>
                <a:gd name="T5" fmla="*/ 0 h 33"/>
                <a:gd name="T6" fmla="*/ 0 w 37"/>
                <a:gd name="T7" fmla="*/ 0 h 33"/>
                <a:gd name="T8" fmla="*/ 0 w 37"/>
                <a:gd name="T9" fmla="*/ 0 h 33"/>
                <a:gd name="T10" fmla="*/ 0 w 37"/>
                <a:gd name="T11" fmla="*/ 0 h 33"/>
                <a:gd name="T12" fmla="*/ 0 w 37"/>
                <a:gd name="T13" fmla="*/ 0 h 33"/>
                <a:gd name="T14" fmla="*/ 0 w 37"/>
                <a:gd name="T15" fmla="*/ 0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8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1 h 54"/>
                <a:gd name="T6" fmla="*/ 0 w 49"/>
                <a:gd name="T7" fmla="*/ 1 h 54"/>
                <a:gd name="T8" fmla="*/ 1 w 49"/>
                <a:gd name="T9" fmla="*/ 1 h 54"/>
                <a:gd name="T10" fmla="*/ 1 w 49"/>
                <a:gd name="T11" fmla="*/ 0 h 54"/>
                <a:gd name="T12" fmla="*/ 0 w 49"/>
                <a:gd name="T13" fmla="*/ 0 h 54"/>
                <a:gd name="T14" fmla="*/ 0 w 49"/>
                <a:gd name="T15" fmla="*/ 0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9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0 w 26"/>
                <a:gd name="T1" fmla="*/ 0 h 22"/>
                <a:gd name="T2" fmla="*/ 0 w 26"/>
                <a:gd name="T3" fmla="*/ 0 h 22"/>
                <a:gd name="T4" fmla="*/ 0 w 26"/>
                <a:gd name="T5" fmla="*/ 0 h 22"/>
                <a:gd name="T6" fmla="*/ 0 w 26"/>
                <a:gd name="T7" fmla="*/ 0 h 22"/>
                <a:gd name="T8" fmla="*/ 0 w 26"/>
                <a:gd name="T9" fmla="*/ 0 h 22"/>
                <a:gd name="T10" fmla="*/ 0 w 26"/>
                <a:gd name="T11" fmla="*/ 0 h 22"/>
                <a:gd name="T12" fmla="*/ 0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2323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355590" y="2160215"/>
            <a:ext cx="1897063" cy="1133475"/>
            <a:chOff x="527" y="1110"/>
            <a:chExt cx="1410" cy="709"/>
          </a:xfrm>
        </p:grpSpPr>
        <p:sp>
          <p:nvSpPr>
            <p:cNvPr id="2452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0 h 54"/>
                <a:gd name="T2" fmla="*/ 0 w 98"/>
                <a:gd name="T3" fmla="*/ 0 h 54"/>
                <a:gd name="T4" fmla="*/ 0 w 98"/>
                <a:gd name="T5" fmla="*/ 1 h 54"/>
                <a:gd name="T6" fmla="*/ 0 w 98"/>
                <a:gd name="T7" fmla="*/ 1 h 54"/>
                <a:gd name="T8" fmla="*/ 0 w 98"/>
                <a:gd name="T9" fmla="*/ 1 h 54"/>
                <a:gd name="T10" fmla="*/ 0 w 98"/>
                <a:gd name="T11" fmla="*/ 1 h 54"/>
                <a:gd name="T12" fmla="*/ 0 w 98"/>
                <a:gd name="T13" fmla="*/ 1 h 54"/>
                <a:gd name="T14" fmla="*/ 1 w 98"/>
                <a:gd name="T15" fmla="*/ 1 h 54"/>
                <a:gd name="T16" fmla="*/ 1 w 98"/>
                <a:gd name="T17" fmla="*/ 1 h 54"/>
                <a:gd name="T18" fmla="*/ 1 w 98"/>
                <a:gd name="T19" fmla="*/ 0 h 54"/>
                <a:gd name="T20" fmla="*/ 1 w 98"/>
                <a:gd name="T21" fmla="*/ 0 h 54"/>
                <a:gd name="T22" fmla="*/ 1 w 98"/>
                <a:gd name="T23" fmla="*/ 0 h 54"/>
                <a:gd name="T24" fmla="*/ 1 w 98"/>
                <a:gd name="T25" fmla="*/ 0 h 54"/>
                <a:gd name="T26" fmla="*/ 1 w 98"/>
                <a:gd name="T27" fmla="*/ 0 h 54"/>
                <a:gd name="T28" fmla="*/ 1 w 98"/>
                <a:gd name="T29" fmla="*/ 0 h 54"/>
                <a:gd name="T30" fmla="*/ 1 w 98"/>
                <a:gd name="T31" fmla="*/ 0 h 54"/>
                <a:gd name="T32" fmla="*/ 1 w 98"/>
                <a:gd name="T33" fmla="*/ 0 h 54"/>
                <a:gd name="T34" fmla="*/ 1 w 98"/>
                <a:gd name="T35" fmla="*/ 0 h 54"/>
                <a:gd name="T36" fmla="*/ 1 w 98"/>
                <a:gd name="T37" fmla="*/ 0 h 54"/>
                <a:gd name="T38" fmla="*/ 1 w 98"/>
                <a:gd name="T39" fmla="*/ 0 h 54"/>
                <a:gd name="T40" fmla="*/ 1 w 98"/>
                <a:gd name="T41" fmla="*/ 0 h 54"/>
                <a:gd name="T42" fmla="*/ 0 w 98"/>
                <a:gd name="T43" fmla="*/ 0 h 54"/>
                <a:gd name="T44" fmla="*/ 0 w 98"/>
                <a:gd name="T45" fmla="*/ 0 h 54"/>
                <a:gd name="T46" fmla="*/ 0 w 98"/>
                <a:gd name="T47" fmla="*/ 0 h 54"/>
                <a:gd name="T48" fmla="*/ 0 w 98"/>
                <a:gd name="T49" fmla="*/ 0 h 54"/>
                <a:gd name="T50" fmla="*/ 0 w 98"/>
                <a:gd name="T51" fmla="*/ 0 h 54"/>
                <a:gd name="T52" fmla="*/ 0 w 98"/>
                <a:gd name="T53" fmla="*/ 0 h 54"/>
                <a:gd name="T54" fmla="*/ 0 w 98"/>
                <a:gd name="T55" fmla="*/ 0 h 54"/>
                <a:gd name="T56" fmla="*/ 0 w 98"/>
                <a:gd name="T57" fmla="*/ 0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3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0 h 28"/>
                <a:gd name="T2" fmla="*/ 0 w 67"/>
                <a:gd name="T3" fmla="*/ 0 h 28"/>
                <a:gd name="T4" fmla="*/ 0 w 67"/>
                <a:gd name="T5" fmla="*/ 0 h 28"/>
                <a:gd name="T6" fmla="*/ 0 w 67"/>
                <a:gd name="T7" fmla="*/ 0 h 28"/>
                <a:gd name="T8" fmla="*/ 0 w 67"/>
                <a:gd name="T9" fmla="*/ 0 h 28"/>
                <a:gd name="T10" fmla="*/ 1 w 67"/>
                <a:gd name="T11" fmla="*/ 0 h 28"/>
                <a:gd name="T12" fmla="*/ 1 w 67"/>
                <a:gd name="T13" fmla="*/ 0 h 28"/>
                <a:gd name="T14" fmla="*/ 1 w 67"/>
                <a:gd name="T15" fmla="*/ 0 h 28"/>
                <a:gd name="T16" fmla="*/ 1 w 67"/>
                <a:gd name="T17" fmla="*/ 0 h 28"/>
                <a:gd name="T18" fmla="*/ 1 w 67"/>
                <a:gd name="T19" fmla="*/ 0 h 28"/>
                <a:gd name="T20" fmla="*/ 0 w 67"/>
                <a:gd name="T21" fmla="*/ 0 h 28"/>
                <a:gd name="T22" fmla="*/ 0 w 67"/>
                <a:gd name="T23" fmla="*/ 0 h 28"/>
                <a:gd name="T24" fmla="*/ 0 w 67"/>
                <a:gd name="T25" fmla="*/ 0 h 28"/>
                <a:gd name="T26" fmla="*/ 0 w 67"/>
                <a:gd name="T27" fmla="*/ 0 h 28"/>
                <a:gd name="T28" fmla="*/ 0 w 67"/>
                <a:gd name="T29" fmla="*/ 0 h 28"/>
                <a:gd name="T30" fmla="*/ 0 w 67"/>
                <a:gd name="T31" fmla="*/ 0 h 28"/>
                <a:gd name="T32" fmla="*/ 0 w 67"/>
                <a:gd name="T33" fmla="*/ 0 h 28"/>
                <a:gd name="T34" fmla="*/ 0 w 67"/>
                <a:gd name="T35" fmla="*/ 0 h 28"/>
                <a:gd name="T36" fmla="*/ 0 w 67"/>
                <a:gd name="T37" fmla="*/ 0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4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0 h 36"/>
                <a:gd name="T2" fmla="*/ 0 w 32"/>
                <a:gd name="T3" fmla="*/ 0 h 36"/>
                <a:gd name="T4" fmla="*/ 0 w 32"/>
                <a:gd name="T5" fmla="*/ 0 h 36"/>
                <a:gd name="T6" fmla="*/ 0 w 32"/>
                <a:gd name="T7" fmla="*/ 0 h 36"/>
                <a:gd name="T8" fmla="*/ 0 w 32"/>
                <a:gd name="T9" fmla="*/ 0 h 36"/>
                <a:gd name="T10" fmla="*/ 0 w 32"/>
                <a:gd name="T11" fmla="*/ 0 h 36"/>
                <a:gd name="T12" fmla="*/ 0 w 32"/>
                <a:gd name="T13" fmla="*/ 0 h 36"/>
                <a:gd name="T14" fmla="*/ 0 w 32"/>
                <a:gd name="T15" fmla="*/ 0 h 36"/>
                <a:gd name="T16" fmla="*/ 0 w 32"/>
                <a:gd name="T17" fmla="*/ 0 h 36"/>
                <a:gd name="T18" fmla="*/ 0 w 32"/>
                <a:gd name="T19" fmla="*/ 0 h 36"/>
                <a:gd name="T20" fmla="*/ 0 w 32"/>
                <a:gd name="T21" fmla="*/ 0 h 36"/>
                <a:gd name="T22" fmla="*/ 0 w 32"/>
                <a:gd name="T23" fmla="*/ 0 h 36"/>
                <a:gd name="T24" fmla="*/ 0 w 32"/>
                <a:gd name="T25" fmla="*/ 0 h 36"/>
                <a:gd name="T26" fmla="*/ 0 w 32"/>
                <a:gd name="T27" fmla="*/ 0 h 36"/>
                <a:gd name="T28" fmla="*/ 0 w 32"/>
                <a:gd name="T29" fmla="*/ 0 h 36"/>
                <a:gd name="T30" fmla="*/ 0 w 32"/>
                <a:gd name="T31" fmla="*/ 0 h 36"/>
                <a:gd name="T32" fmla="*/ 0 w 32"/>
                <a:gd name="T33" fmla="*/ 0 h 36"/>
                <a:gd name="T34" fmla="*/ 0 w 32"/>
                <a:gd name="T35" fmla="*/ 0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5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 h 52"/>
                <a:gd name="T2" fmla="*/ 0 w 146"/>
                <a:gd name="T3" fmla="*/ 1 h 52"/>
                <a:gd name="T4" fmla="*/ 0 w 146"/>
                <a:gd name="T5" fmla="*/ 1 h 52"/>
                <a:gd name="T6" fmla="*/ 0 w 146"/>
                <a:gd name="T7" fmla="*/ 1 h 52"/>
                <a:gd name="T8" fmla="*/ 0 w 146"/>
                <a:gd name="T9" fmla="*/ 1 h 52"/>
                <a:gd name="T10" fmla="*/ 1 w 146"/>
                <a:gd name="T11" fmla="*/ 1 h 52"/>
                <a:gd name="T12" fmla="*/ 1 w 146"/>
                <a:gd name="T13" fmla="*/ 1 h 52"/>
                <a:gd name="T14" fmla="*/ 1 w 146"/>
                <a:gd name="T15" fmla="*/ 1 h 52"/>
                <a:gd name="T16" fmla="*/ 1 w 146"/>
                <a:gd name="T17" fmla="*/ 1 h 52"/>
                <a:gd name="T18" fmla="*/ 1 w 146"/>
                <a:gd name="T19" fmla="*/ 0 h 52"/>
                <a:gd name="T20" fmla="*/ 1 w 146"/>
                <a:gd name="T21" fmla="*/ 0 h 52"/>
                <a:gd name="T22" fmla="*/ 1 w 146"/>
                <a:gd name="T23" fmla="*/ 0 h 52"/>
                <a:gd name="T24" fmla="*/ 1 w 146"/>
                <a:gd name="T25" fmla="*/ 0 h 52"/>
                <a:gd name="T26" fmla="*/ 1 w 146"/>
                <a:gd name="T27" fmla="*/ 0 h 52"/>
                <a:gd name="T28" fmla="*/ 1 w 146"/>
                <a:gd name="T29" fmla="*/ 0 h 52"/>
                <a:gd name="T30" fmla="*/ 1 w 146"/>
                <a:gd name="T31" fmla="*/ 0 h 52"/>
                <a:gd name="T32" fmla="*/ 1 w 146"/>
                <a:gd name="T33" fmla="*/ 0 h 52"/>
                <a:gd name="T34" fmla="*/ 1 w 146"/>
                <a:gd name="T35" fmla="*/ 0 h 52"/>
                <a:gd name="T36" fmla="*/ 1 w 146"/>
                <a:gd name="T37" fmla="*/ 0 h 52"/>
                <a:gd name="T38" fmla="*/ 1 w 146"/>
                <a:gd name="T39" fmla="*/ 0 h 52"/>
                <a:gd name="T40" fmla="*/ 1 w 146"/>
                <a:gd name="T41" fmla="*/ 0 h 52"/>
                <a:gd name="T42" fmla="*/ 1 w 146"/>
                <a:gd name="T43" fmla="*/ 0 h 52"/>
                <a:gd name="T44" fmla="*/ 1 w 146"/>
                <a:gd name="T45" fmla="*/ 0 h 52"/>
                <a:gd name="T46" fmla="*/ 0 w 146"/>
                <a:gd name="T47" fmla="*/ 0 h 52"/>
                <a:gd name="T48" fmla="*/ 0 w 146"/>
                <a:gd name="T49" fmla="*/ 0 h 52"/>
                <a:gd name="T50" fmla="*/ 0 w 146"/>
                <a:gd name="T51" fmla="*/ 0 h 52"/>
                <a:gd name="T52" fmla="*/ 0 w 146"/>
                <a:gd name="T53" fmla="*/ 0 h 52"/>
                <a:gd name="T54" fmla="*/ 0 w 146"/>
                <a:gd name="T55" fmla="*/ 0 h 52"/>
                <a:gd name="T56" fmla="*/ 0 w 146"/>
                <a:gd name="T57" fmla="*/ 1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6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1 w 60"/>
                <a:gd name="T1" fmla="*/ 0 h 31"/>
                <a:gd name="T2" fmla="*/ 1 w 60"/>
                <a:gd name="T3" fmla="*/ 0 h 31"/>
                <a:gd name="T4" fmla="*/ 0 w 60"/>
                <a:gd name="T5" fmla="*/ 0 h 31"/>
                <a:gd name="T6" fmla="*/ 0 w 60"/>
                <a:gd name="T7" fmla="*/ 0 h 31"/>
                <a:gd name="T8" fmla="*/ 0 w 60"/>
                <a:gd name="T9" fmla="*/ 0 h 31"/>
                <a:gd name="T10" fmla="*/ 0 w 60"/>
                <a:gd name="T11" fmla="*/ 0 h 31"/>
                <a:gd name="T12" fmla="*/ 0 w 60"/>
                <a:gd name="T13" fmla="*/ 0 h 31"/>
                <a:gd name="T14" fmla="*/ 0 w 60"/>
                <a:gd name="T15" fmla="*/ 0 h 31"/>
                <a:gd name="T16" fmla="*/ 0 w 60"/>
                <a:gd name="T17" fmla="*/ 0 h 31"/>
                <a:gd name="T18" fmla="*/ 0 w 60"/>
                <a:gd name="T19" fmla="*/ 0 h 31"/>
                <a:gd name="T20" fmla="*/ 0 w 60"/>
                <a:gd name="T21" fmla="*/ 0 h 31"/>
                <a:gd name="T22" fmla="*/ 0 w 60"/>
                <a:gd name="T23" fmla="*/ 0 h 31"/>
                <a:gd name="T24" fmla="*/ 0 w 60"/>
                <a:gd name="T25" fmla="*/ 0 h 31"/>
                <a:gd name="T26" fmla="*/ 0 w 60"/>
                <a:gd name="T27" fmla="*/ 0 h 31"/>
                <a:gd name="T28" fmla="*/ 0 w 60"/>
                <a:gd name="T29" fmla="*/ 0 h 31"/>
                <a:gd name="T30" fmla="*/ 0 w 60"/>
                <a:gd name="T31" fmla="*/ 0 h 31"/>
                <a:gd name="T32" fmla="*/ 0 w 60"/>
                <a:gd name="T33" fmla="*/ 0 h 31"/>
                <a:gd name="T34" fmla="*/ 0 w 60"/>
                <a:gd name="T35" fmla="*/ 0 h 31"/>
                <a:gd name="T36" fmla="*/ 0 w 60"/>
                <a:gd name="T37" fmla="*/ 0 h 31"/>
                <a:gd name="T38" fmla="*/ 0 w 60"/>
                <a:gd name="T39" fmla="*/ 0 h 31"/>
                <a:gd name="T40" fmla="*/ 0 w 60"/>
                <a:gd name="T41" fmla="*/ 0 h 31"/>
                <a:gd name="T42" fmla="*/ 1 w 60"/>
                <a:gd name="T43" fmla="*/ 0 h 31"/>
                <a:gd name="T44" fmla="*/ 1 w 60"/>
                <a:gd name="T45" fmla="*/ 0 h 31"/>
                <a:gd name="T46" fmla="*/ 1 w 60"/>
                <a:gd name="T47" fmla="*/ 0 h 31"/>
                <a:gd name="T48" fmla="*/ 1 w 60"/>
                <a:gd name="T49" fmla="*/ 0 h 31"/>
                <a:gd name="T50" fmla="*/ 1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7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 h 62"/>
                <a:gd name="T2" fmla="*/ 0 w 80"/>
                <a:gd name="T3" fmla="*/ 1 h 62"/>
                <a:gd name="T4" fmla="*/ 0 w 80"/>
                <a:gd name="T5" fmla="*/ 1 h 62"/>
                <a:gd name="T6" fmla="*/ 0 w 80"/>
                <a:gd name="T7" fmla="*/ 1 h 62"/>
                <a:gd name="T8" fmla="*/ 0 w 80"/>
                <a:gd name="T9" fmla="*/ 1 h 62"/>
                <a:gd name="T10" fmla="*/ 0 w 80"/>
                <a:gd name="T11" fmla="*/ 1 h 62"/>
                <a:gd name="T12" fmla="*/ 0 w 80"/>
                <a:gd name="T13" fmla="*/ 1 h 62"/>
                <a:gd name="T14" fmla="*/ 0 w 80"/>
                <a:gd name="T15" fmla="*/ 1 h 62"/>
                <a:gd name="T16" fmla="*/ 0 w 80"/>
                <a:gd name="T17" fmla="*/ 1 h 62"/>
                <a:gd name="T18" fmla="*/ 1 w 80"/>
                <a:gd name="T19" fmla="*/ 1 h 62"/>
                <a:gd name="T20" fmla="*/ 1 w 80"/>
                <a:gd name="T21" fmla="*/ 1 h 62"/>
                <a:gd name="T22" fmla="*/ 1 w 80"/>
                <a:gd name="T23" fmla="*/ 1 h 62"/>
                <a:gd name="T24" fmla="*/ 1 w 80"/>
                <a:gd name="T25" fmla="*/ 1 h 62"/>
                <a:gd name="T26" fmla="*/ 1 w 80"/>
                <a:gd name="T27" fmla="*/ 1 h 62"/>
                <a:gd name="T28" fmla="*/ 1 w 80"/>
                <a:gd name="T29" fmla="*/ 0 h 62"/>
                <a:gd name="T30" fmla="*/ 1 w 80"/>
                <a:gd name="T31" fmla="*/ 0 h 62"/>
                <a:gd name="T32" fmla="*/ 1 w 80"/>
                <a:gd name="T33" fmla="*/ 0 h 62"/>
                <a:gd name="T34" fmla="*/ 1 w 80"/>
                <a:gd name="T35" fmla="*/ 0 h 62"/>
                <a:gd name="T36" fmla="*/ 1 w 80"/>
                <a:gd name="T37" fmla="*/ 0 h 62"/>
                <a:gd name="T38" fmla="*/ 1 w 80"/>
                <a:gd name="T39" fmla="*/ 0 h 62"/>
                <a:gd name="T40" fmla="*/ 1 w 80"/>
                <a:gd name="T41" fmla="*/ 0 h 62"/>
                <a:gd name="T42" fmla="*/ 1 w 80"/>
                <a:gd name="T43" fmla="*/ 0 h 62"/>
                <a:gd name="T44" fmla="*/ 0 w 80"/>
                <a:gd name="T45" fmla="*/ 0 h 62"/>
                <a:gd name="T46" fmla="*/ 0 w 80"/>
                <a:gd name="T47" fmla="*/ 0 h 62"/>
                <a:gd name="T48" fmla="*/ 0 w 80"/>
                <a:gd name="T49" fmla="*/ 0 h 62"/>
                <a:gd name="T50" fmla="*/ 0 w 80"/>
                <a:gd name="T51" fmla="*/ 0 h 62"/>
                <a:gd name="T52" fmla="*/ 0 w 80"/>
                <a:gd name="T53" fmla="*/ 0 h 62"/>
                <a:gd name="T54" fmla="*/ 0 w 80"/>
                <a:gd name="T55" fmla="*/ 0 h 62"/>
                <a:gd name="T56" fmla="*/ 0 w 80"/>
                <a:gd name="T57" fmla="*/ 1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8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1 w 106"/>
                <a:gd name="T1" fmla="*/ 0 h 49"/>
                <a:gd name="T2" fmla="*/ 1 w 106"/>
                <a:gd name="T3" fmla="*/ 0 h 49"/>
                <a:gd name="T4" fmla="*/ 1 w 106"/>
                <a:gd name="T5" fmla="*/ 0 h 49"/>
                <a:gd name="T6" fmla="*/ 1 w 106"/>
                <a:gd name="T7" fmla="*/ 0 h 49"/>
                <a:gd name="T8" fmla="*/ 1 w 106"/>
                <a:gd name="T9" fmla="*/ 0 h 49"/>
                <a:gd name="T10" fmla="*/ 1 w 106"/>
                <a:gd name="T11" fmla="*/ 0 h 49"/>
                <a:gd name="T12" fmla="*/ 0 w 106"/>
                <a:gd name="T13" fmla="*/ 0 h 49"/>
                <a:gd name="T14" fmla="*/ 0 w 106"/>
                <a:gd name="T15" fmla="*/ 0 h 49"/>
                <a:gd name="T16" fmla="*/ 0 w 106"/>
                <a:gd name="T17" fmla="*/ 0 h 49"/>
                <a:gd name="T18" fmla="*/ 0 w 106"/>
                <a:gd name="T19" fmla="*/ 0 h 49"/>
                <a:gd name="T20" fmla="*/ 0 w 106"/>
                <a:gd name="T21" fmla="*/ 0 h 49"/>
                <a:gd name="T22" fmla="*/ 0 w 106"/>
                <a:gd name="T23" fmla="*/ 0 h 49"/>
                <a:gd name="T24" fmla="*/ 0 w 106"/>
                <a:gd name="T25" fmla="*/ 0 h 49"/>
                <a:gd name="T26" fmla="*/ 0 w 106"/>
                <a:gd name="T27" fmla="*/ 0 h 49"/>
                <a:gd name="T28" fmla="*/ 0 w 106"/>
                <a:gd name="T29" fmla="*/ 0 h 49"/>
                <a:gd name="T30" fmla="*/ 0 w 106"/>
                <a:gd name="T31" fmla="*/ 1 h 49"/>
                <a:gd name="T32" fmla="*/ 1 w 106"/>
                <a:gd name="T33" fmla="*/ 1 h 49"/>
                <a:gd name="T34" fmla="*/ 1 w 106"/>
                <a:gd name="T35" fmla="*/ 1 h 49"/>
                <a:gd name="T36" fmla="*/ 1 w 106"/>
                <a:gd name="T37" fmla="*/ 1 h 49"/>
                <a:gd name="T38" fmla="*/ 1 w 106"/>
                <a:gd name="T39" fmla="*/ 1 h 49"/>
                <a:gd name="T40" fmla="*/ 1 w 106"/>
                <a:gd name="T41" fmla="*/ 1 h 49"/>
                <a:gd name="T42" fmla="*/ 1 w 106"/>
                <a:gd name="T43" fmla="*/ 0 h 49"/>
                <a:gd name="T44" fmla="*/ 1 w 106"/>
                <a:gd name="T45" fmla="*/ 0 h 49"/>
                <a:gd name="T46" fmla="*/ 1 w 106"/>
                <a:gd name="T47" fmla="*/ 0 h 49"/>
                <a:gd name="T48" fmla="*/ 1 w 106"/>
                <a:gd name="T49" fmla="*/ 0 h 49"/>
                <a:gd name="T50" fmla="*/ 1 w 106"/>
                <a:gd name="T51" fmla="*/ 0 h 49"/>
                <a:gd name="T52" fmla="*/ 1 w 106"/>
                <a:gd name="T53" fmla="*/ 0 h 49"/>
                <a:gd name="T54" fmla="*/ 1 w 106"/>
                <a:gd name="T55" fmla="*/ 0 h 49"/>
                <a:gd name="T56" fmla="*/ 1 w 106"/>
                <a:gd name="T57" fmla="*/ 0 h 49"/>
                <a:gd name="T58" fmla="*/ 1 w 106"/>
                <a:gd name="T59" fmla="*/ 0 h 49"/>
                <a:gd name="T60" fmla="*/ 1 w 106"/>
                <a:gd name="T61" fmla="*/ 0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9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0 h 22"/>
                <a:gd name="T2" fmla="*/ 0 w 47"/>
                <a:gd name="T3" fmla="*/ 0 h 22"/>
                <a:gd name="T4" fmla="*/ 0 w 47"/>
                <a:gd name="T5" fmla="*/ 0 h 22"/>
                <a:gd name="T6" fmla="*/ 0 w 47"/>
                <a:gd name="T7" fmla="*/ 0 h 22"/>
                <a:gd name="T8" fmla="*/ 0 w 47"/>
                <a:gd name="T9" fmla="*/ 0 h 22"/>
                <a:gd name="T10" fmla="*/ 0 w 47"/>
                <a:gd name="T11" fmla="*/ 0 h 22"/>
                <a:gd name="T12" fmla="*/ 0 w 47"/>
                <a:gd name="T13" fmla="*/ 0 h 22"/>
                <a:gd name="T14" fmla="*/ 0 w 47"/>
                <a:gd name="T15" fmla="*/ 0 h 22"/>
                <a:gd name="T16" fmla="*/ 0 w 47"/>
                <a:gd name="T17" fmla="*/ 0 h 22"/>
                <a:gd name="T18" fmla="*/ 0 w 47"/>
                <a:gd name="T19" fmla="*/ 0 h 22"/>
                <a:gd name="T20" fmla="*/ 1 w 47"/>
                <a:gd name="T21" fmla="*/ 0 h 22"/>
                <a:gd name="T22" fmla="*/ 0 w 47"/>
                <a:gd name="T23" fmla="*/ 0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0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 w 53"/>
                <a:gd name="T1" fmla="*/ 0 h 32"/>
                <a:gd name="T2" fmla="*/ 0 w 53"/>
                <a:gd name="T3" fmla="*/ 0 h 32"/>
                <a:gd name="T4" fmla="*/ 0 w 53"/>
                <a:gd name="T5" fmla="*/ 0 h 32"/>
                <a:gd name="T6" fmla="*/ 0 w 53"/>
                <a:gd name="T7" fmla="*/ 0 h 32"/>
                <a:gd name="T8" fmla="*/ 0 w 53"/>
                <a:gd name="T9" fmla="*/ 0 h 32"/>
                <a:gd name="T10" fmla="*/ 0 w 53"/>
                <a:gd name="T11" fmla="*/ 0 h 32"/>
                <a:gd name="T12" fmla="*/ 0 w 53"/>
                <a:gd name="T13" fmla="*/ 0 h 32"/>
                <a:gd name="T14" fmla="*/ 0 w 53"/>
                <a:gd name="T15" fmla="*/ 0 h 32"/>
                <a:gd name="T16" fmla="*/ 1 w 53"/>
                <a:gd name="T17" fmla="*/ 0 h 32"/>
                <a:gd name="T18" fmla="*/ 1 w 53"/>
                <a:gd name="T19" fmla="*/ 0 h 32"/>
                <a:gd name="T20" fmla="*/ 1 w 53"/>
                <a:gd name="T21" fmla="*/ 0 h 32"/>
                <a:gd name="T22" fmla="*/ 1 w 53"/>
                <a:gd name="T23" fmla="*/ 0 h 32"/>
                <a:gd name="T24" fmla="*/ 1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1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0 w 46"/>
                <a:gd name="T1" fmla="*/ 0 h 34"/>
                <a:gd name="T2" fmla="*/ 0 w 46"/>
                <a:gd name="T3" fmla="*/ 0 h 34"/>
                <a:gd name="T4" fmla="*/ 0 w 46"/>
                <a:gd name="T5" fmla="*/ 0 h 34"/>
                <a:gd name="T6" fmla="*/ 0 w 46"/>
                <a:gd name="T7" fmla="*/ 0 h 34"/>
                <a:gd name="T8" fmla="*/ 0 w 46"/>
                <a:gd name="T9" fmla="*/ 0 h 34"/>
                <a:gd name="T10" fmla="*/ 0 w 46"/>
                <a:gd name="T11" fmla="*/ 0 h 34"/>
                <a:gd name="T12" fmla="*/ 0 w 46"/>
                <a:gd name="T13" fmla="*/ 0 h 34"/>
                <a:gd name="T14" fmla="*/ 0 w 46"/>
                <a:gd name="T15" fmla="*/ 0 h 34"/>
                <a:gd name="T16" fmla="*/ 0 w 46"/>
                <a:gd name="T17" fmla="*/ 0 h 34"/>
                <a:gd name="T18" fmla="*/ 0 w 46"/>
                <a:gd name="T19" fmla="*/ 0 h 34"/>
                <a:gd name="T20" fmla="*/ 0 w 46"/>
                <a:gd name="T21" fmla="*/ 0 h 34"/>
                <a:gd name="T22" fmla="*/ 0 w 46"/>
                <a:gd name="T23" fmla="*/ 0 h 34"/>
                <a:gd name="T24" fmla="*/ 0 w 46"/>
                <a:gd name="T25" fmla="*/ 0 h 34"/>
                <a:gd name="T26" fmla="*/ 0 w 46"/>
                <a:gd name="T27" fmla="*/ 0 h 34"/>
                <a:gd name="T28" fmla="*/ 0 w 46"/>
                <a:gd name="T29" fmla="*/ 0 h 34"/>
                <a:gd name="T30" fmla="*/ 0 w 46"/>
                <a:gd name="T31" fmla="*/ 0 h 34"/>
                <a:gd name="T32" fmla="*/ 0 w 46"/>
                <a:gd name="T33" fmla="*/ 0 h 34"/>
                <a:gd name="T34" fmla="*/ 0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2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0 h 25"/>
                <a:gd name="T2" fmla="*/ 0 w 48"/>
                <a:gd name="T3" fmla="*/ 0 h 25"/>
                <a:gd name="T4" fmla="*/ 0 w 48"/>
                <a:gd name="T5" fmla="*/ 0 h 25"/>
                <a:gd name="T6" fmla="*/ 0 w 48"/>
                <a:gd name="T7" fmla="*/ 0 h 25"/>
                <a:gd name="T8" fmla="*/ 0 w 48"/>
                <a:gd name="T9" fmla="*/ 0 h 25"/>
                <a:gd name="T10" fmla="*/ 0 w 48"/>
                <a:gd name="T11" fmla="*/ 0 h 25"/>
                <a:gd name="T12" fmla="*/ 0 w 48"/>
                <a:gd name="T13" fmla="*/ 0 h 25"/>
                <a:gd name="T14" fmla="*/ 1 w 48"/>
                <a:gd name="T15" fmla="*/ 0 h 25"/>
                <a:gd name="T16" fmla="*/ 1 w 48"/>
                <a:gd name="T17" fmla="*/ 0 h 25"/>
                <a:gd name="T18" fmla="*/ 0 w 48"/>
                <a:gd name="T19" fmla="*/ 0 h 25"/>
                <a:gd name="T20" fmla="*/ 0 w 48"/>
                <a:gd name="T21" fmla="*/ 0 h 25"/>
                <a:gd name="T22" fmla="*/ 0 w 48"/>
                <a:gd name="T23" fmla="*/ 0 h 25"/>
                <a:gd name="T24" fmla="*/ 0 w 48"/>
                <a:gd name="T25" fmla="*/ 0 h 25"/>
                <a:gd name="T26" fmla="*/ 0 w 48"/>
                <a:gd name="T27" fmla="*/ 0 h 25"/>
                <a:gd name="T28" fmla="*/ 0 w 48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3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0 h 37"/>
                <a:gd name="T4" fmla="*/ 0 w 30"/>
                <a:gd name="T5" fmla="*/ 0 h 37"/>
                <a:gd name="T6" fmla="*/ 0 w 30"/>
                <a:gd name="T7" fmla="*/ 0 h 37"/>
                <a:gd name="T8" fmla="*/ 0 w 30"/>
                <a:gd name="T9" fmla="*/ 0 h 37"/>
                <a:gd name="T10" fmla="*/ 0 w 30"/>
                <a:gd name="T11" fmla="*/ 0 h 37"/>
                <a:gd name="T12" fmla="*/ 0 w 30"/>
                <a:gd name="T13" fmla="*/ 0 h 37"/>
                <a:gd name="T14" fmla="*/ 0 w 30"/>
                <a:gd name="T15" fmla="*/ 0 h 37"/>
                <a:gd name="T16" fmla="*/ 0 w 30"/>
                <a:gd name="T17" fmla="*/ 0 h 37"/>
                <a:gd name="T18" fmla="*/ 0 w 30"/>
                <a:gd name="T19" fmla="*/ 0 h 37"/>
                <a:gd name="T20" fmla="*/ 0 w 30"/>
                <a:gd name="T21" fmla="*/ 0 h 37"/>
                <a:gd name="T22" fmla="*/ 0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4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0 w 113"/>
                <a:gd name="T1" fmla="*/ 0 h 46"/>
                <a:gd name="T2" fmla="*/ 0 w 113"/>
                <a:gd name="T3" fmla="*/ 0 h 46"/>
                <a:gd name="T4" fmla="*/ 0 w 113"/>
                <a:gd name="T5" fmla="*/ 0 h 46"/>
                <a:gd name="T6" fmla="*/ 0 w 113"/>
                <a:gd name="T7" fmla="*/ 0 h 46"/>
                <a:gd name="T8" fmla="*/ 0 w 113"/>
                <a:gd name="T9" fmla="*/ 0 h 46"/>
                <a:gd name="T10" fmla="*/ 0 w 113"/>
                <a:gd name="T11" fmla="*/ 0 h 46"/>
                <a:gd name="T12" fmla="*/ 0 w 113"/>
                <a:gd name="T13" fmla="*/ 0 h 46"/>
                <a:gd name="T14" fmla="*/ 0 w 113"/>
                <a:gd name="T15" fmla="*/ 0 h 46"/>
                <a:gd name="T16" fmla="*/ 0 w 113"/>
                <a:gd name="T17" fmla="*/ 0 h 46"/>
                <a:gd name="T18" fmla="*/ 0 w 113"/>
                <a:gd name="T19" fmla="*/ 1 h 46"/>
                <a:gd name="T20" fmla="*/ 0 w 113"/>
                <a:gd name="T21" fmla="*/ 1 h 46"/>
                <a:gd name="T22" fmla="*/ 0 w 113"/>
                <a:gd name="T23" fmla="*/ 1 h 46"/>
                <a:gd name="T24" fmla="*/ 0 w 113"/>
                <a:gd name="T25" fmla="*/ 1 h 46"/>
                <a:gd name="T26" fmla="*/ 0 w 113"/>
                <a:gd name="T27" fmla="*/ 1 h 46"/>
                <a:gd name="T28" fmla="*/ 0 w 113"/>
                <a:gd name="T29" fmla="*/ 1 h 46"/>
                <a:gd name="T30" fmla="*/ 1 w 113"/>
                <a:gd name="T31" fmla="*/ 1 h 46"/>
                <a:gd name="T32" fmla="*/ 1 w 113"/>
                <a:gd name="T33" fmla="*/ 1 h 46"/>
                <a:gd name="T34" fmla="*/ 1 w 113"/>
                <a:gd name="T35" fmla="*/ 1 h 46"/>
                <a:gd name="T36" fmla="*/ 1 w 113"/>
                <a:gd name="T37" fmla="*/ 1 h 46"/>
                <a:gd name="T38" fmla="*/ 1 w 113"/>
                <a:gd name="T39" fmla="*/ 1 h 46"/>
                <a:gd name="T40" fmla="*/ 1 w 113"/>
                <a:gd name="T41" fmla="*/ 0 h 46"/>
                <a:gd name="T42" fmla="*/ 1 w 113"/>
                <a:gd name="T43" fmla="*/ 0 h 46"/>
                <a:gd name="T44" fmla="*/ 1 w 113"/>
                <a:gd name="T45" fmla="*/ 0 h 46"/>
                <a:gd name="T46" fmla="*/ 1 w 113"/>
                <a:gd name="T47" fmla="*/ 0 h 46"/>
                <a:gd name="T48" fmla="*/ 1 w 113"/>
                <a:gd name="T49" fmla="*/ 0 h 46"/>
                <a:gd name="T50" fmla="*/ 1 w 113"/>
                <a:gd name="T51" fmla="*/ 0 h 46"/>
                <a:gd name="T52" fmla="*/ 1 w 113"/>
                <a:gd name="T53" fmla="*/ 0 h 46"/>
                <a:gd name="T54" fmla="*/ 1 w 113"/>
                <a:gd name="T55" fmla="*/ 0 h 46"/>
                <a:gd name="T56" fmla="*/ 1 w 113"/>
                <a:gd name="T57" fmla="*/ 0 h 46"/>
                <a:gd name="T58" fmla="*/ 1 w 113"/>
                <a:gd name="T59" fmla="*/ 0 h 46"/>
                <a:gd name="T60" fmla="*/ 0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5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1 h 82"/>
                <a:gd name="T2" fmla="*/ 0 w 153"/>
                <a:gd name="T3" fmla="*/ 1 h 82"/>
                <a:gd name="T4" fmla="*/ 0 w 153"/>
                <a:gd name="T5" fmla="*/ 1 h 82"/>
                <a:gd name="T6" fmla="*/ 0 w 153"/>
                <a:gd name="T7" fmla="*/ 1 h 82"/>
                <a:gd name="T8" fmla="*/ 0 w 153"/>
                <a:gd name="T9" fmla="*/ 1 h 82"/>
                <a:gd name="T10" fmla="*/ 0 w 153"/>
                <a:gd name="T11" fmla="*/ 1 h 82"/>
                <a:gd name="T12" fmla="*/ 0 w 153"/>
                <a:gd name="T13" fmla="*/ 1 h 82"/>
                <a:gd name="T14" fmla="*/ 0 w 153"/>
                <a:gd name="T15" fmla="*/ 1 h 82"/>
                <a:gd name="T16" fmla="*/ 1 w 153"/>
                <a:gd name="T17" fmla="*/ 1 h 82"/>
                <a:gd name="T18" fmla="*/ 1 w 153"/>
                <a:gd name="T19" fmla="*/ 1 h 82"/>
                <a:gd name="T20" fmla="*/ 1 w 153"/>
                <a:gd name="T21" fmla="*/ 1 h 82"/>
                <a:gd name="T22" fmla="*/ 1 w 153"/>
                <a:gd name="T23" fmla="*/ 1 h 82"/>
                <a:gd name="T24" fmla="*/ 1 w 153"/>
                <a:gd name="T25" fmla="*/ 1 h 82"/>
                <a:gd name="T26" fmla="*/ 1 w 153"/>
                <a:gd name="T27" fmla="*/ 1 h 82"/>
                <a:gd name="T28" fmla="*/ 1 w 153"/>
                <a:gd name="T29" fmla="*/ 1 h 82"/>
                <a:gd name="T30" fmla="*/ 1 w 153"/>
                <a:gd name="T31" fmla="*/ 1 h 82"/>
                <a:gd name="T32" fmla="*/ 1 w 153"/>
                <a:gd name="T33" fmla="*/ 0 h 82"/>
                <a:gd name="T34" fmla="*/ 1 w 153"/>
                <a:gd name="T35" fmla="*/ 0 h 82"/>
                <a:gd name="T36" fmla="*/ 2 w 153"/>
                <a:gd name="T37" fmla="*/ 0 h 82"/>
                <a:gd name="T38" fmla="*/ 2 w 153"/>
                <a:gd name="T39" fmla="*/ 0 h 82"/>
                <a:gd name="T40" fmla="*/ 2 w 153"/>
                <a:gd name="T41" fmla="*/ 0 h 82"/>
                <a:gd name="T42" fmla="*/ 1 w 153"/>
                <a:gd name="T43" fmla="*/ 0 h 82"/>
                <a:gd name="T44" fmla="*/ 1 w 153"/>
                <a:gd name="T45" fmla="*/ 0 h 82"/>
                <a:gd name="T46" fmla="*/ 1 w 153"/>
                <a:gd name="T47" fmla="*/ 0 h 82"/>
                <a:gd name="T48" fmla="*/ 1 w 153"/>
                <a:gd name="T49" fmla="*/ 0 h 82"/>
                <a:gd name="T50" fmla="*/ 1 w 153"/>
                <a:gd name="T51" fmla="*/ 0 h 82"/>
                <a:gd name="T52" fmla="*/ 1 w 153"/>
                <a:gd name="T53" fmla="*/ 0 h 82"/>
                <a:gd name="T54" fmla="*/ 1 w 153"/>
                <a:gd name="T55" fmla="*/ 0 h 82"/>
                <a:gd name="T56" fmla="*/ 0 w 153"/>
                <a:gd name="T57" fmla="*/ 0 h 82"/>
                <a:gd name="T58" fmla="*/ 0 w 153"/>
                <a:gd name="T59" fmla="*/ 0 h 82"/>
                <a:gd name="T60" fmla="*/ 0 w 153"/>
                <a:gd name="T61" fmla="*/ 0 h 82"/>
                <a:gd name="T62" fmla="*/ 0 w 153"/>
                <a:gd name="T63" fmla="*/ 0 h 82"/>
                <a:gd name="T64" fmla="*/ 0 w 153"/>
                <a:gd name="T65" fmla="*/ 0 h 82"/>
                <a:gd name="T66" fmla="*/ 0 w 153"/>
                <a:gd name="T67" fmla="*/ 0 h 82"/>
                <a:gd name="T68" fmla="*/ 0 w 153"/>
                <a:gd name="T69" fmla="*/ 0 h 82"/>
                <a:gd name="T70" fmla="*/ 0 w 153"/>
                <a:gd name="T71" fmla="*/ 0 h 82"/>
                <a:gd name="T72" fmla="*/ 0 w 153"/>
                <a:gd name="T73" fmla="*/ 0 h 82"/>
                <a:gd name="T74" fmla="*/ 0 w 153"/>
                <a:gd name="T75" fmla="*/ 0 h 82"/>
                <a:gd name="T76" fmla="*/ 1 w 153"/>
                <a:gd name="T77" fmla="*/ 0 h 82"/>
                <a:gd name="T78" fmla="*/ 0 w 153"/>
                <a:gd name="T79" fmla="*/ 1 h 82"/>
                <a:gd name="T80" fmla="*/ 0 w 153"/>
                <a:gd name="T81" fmla="*/ 1 h 82"/>
                <a:gd name="T82" fmla="*/ 0 w 153"/>
                <a:gd name="T83" fmla="*/ 1 h 82"/>
                <a:gd name="T84" fmla="*/ 0 w 153"/>
                <a:gd name="T85" fmla="*/ 1 h 82"/>
                <a:gd name="T86" fmla="*/ 0 w 153"/>
                <a:gd name="T87" fmla="*/ 1 h 82"/>
                <a:gd name="T88" fmla="*/ 0 w 153"/>
                <a:gd name="T89" fmla="*/ 1 h 82"/>
                <a:gd name="T90" fmla="*/ 0 w 153"/>
                <a:gd name="T91" fmla="*/ 1 h 82"/>
                <a:gd name="T92" fmla="*/ 0 w 153"/>
                <a:gd name="T93" fmla="*/ 1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6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0 h 50"/>
                <a:gd name="T2" fmla="*/ 0 w 86"/>
                <a:gd name="T3" fmla="*/ 1 h 50"/>
                <a:gd name="T4" fmla="*/ 0 w 86"/>
                <a:gd name="T5" fmla="*/ 1 h 50"/>
                <a:gd name="T6" fmla="*/ 0 w 86"/>
                <a:gd name="T7" fmla="*/ 1 h 50"/>
                <a:gd name="T8" fmla="*/ 0 w 86"/>
                <a:gd name="T9" fmla="*/ 1 h 50"/>
                <a:gd name="T10" fmla="*/ 0 w 86"/>
                <a:gd name="T11" fmla="*/ 1 h 50"/>
                <a:gd name="T12" fmla="*/ 1 w 86"/>
                <a:gd name="T13" fmla="*/ 1 h 50"/>
                <a:gd name="T14" fmla="*/ 1 w 86"/>
                <a:gd name="T15" fmla="*/ 1 h 50"/>
                <a:gd name="T16" fmla="*/ 1 w 86"/>
                <a:gd name="T17" fmla="*/ 1 h 50"/>
                <a:gd name="T18" fmla="*/ 1 w 86"/>
                <a:gd name="T19" fmla="*/ 1 h 50"/>
                <a:gd name="T20" fmla="*/ 1 w 86"/>
                <a:gd name="T21" fmla="*/ 1 h 50"/>
                <a:gd name="T22" fmla="*/ 1 w 86"/>
                <a:gd name="T23" fmla="*/ 1 h 50"/>
                <a:gd name="T24" fmla="*/ 1 w 86"/>
                <a:gd name="T25" fmla="*/ 0 h 50"/>
                <a:gd name="T26" fmla="*/ 1 w 86"/>
                <a:gd name="T27" fmla="*/ 0 h 50"/>
                <a:gd name="T28" fmla="*/ 1 w 86"/>
                <a:gd name="T29" fmla="*/ 0 h 50"/>
                <a:gd name="T30" fmla="*/ 1 w 86"/>
                <a:gd name="T31" fmla="*/ 0 h 50"/>
                <a:gd name="T32" fmla="*/ 1 w 86"/>
                <a:gd name="T33" fmla="*/ 0 h 50"/>
                <a:gd name="T34" fmla="*/ 1 w 86"/>
                <a:gd name="T35" fmla="*/ 0 h 50"/>
                <a:gd name="T36" fmla="*/ 1 w 86"/>
                <a:gd name="T37" fmla="*/ 0 h 50"/>
                <a:gd name="T38" fmla="*/ 1 w 86"/>
                <a:gd name="T39" fmla="*/ 0 h 50"/>
                <a:gd name="T40" fmla="*/ 1 w 86"/>
                <a:gd name="T41" fmla="*/ 0 h 50"/>
                <a:gd name="T42" fmla="*/ 0 w 86"/>
                <a:gd name="T43" fmla="*/ 0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7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 w 172"/>
                <a:gd name="T1" fmla="*/ 1 h 74"/>
                <a:gd name="T2" fmla="*/ 1 w 172"/>
                <a:gd name="T3" fmla="*/ 1 h 74"/>
                <a:gd name="T4" fmla="*/ 1 w 172"/>
                <a:gd name="T5" fmla="*/ 1 h 74"/>
                <a:gd name="T6" fmla="*/ 1 w 172"/>
                <a:gd name="T7" fmla="*/ 1 h 74"/>
                <a:gd name="T8" fmla="*/ 1 w 172"/>
                <a:gd name="T9" fmla="*/ 1 h 74"/>
                <a:gd name="T10" fmla="*/ 1 w 172"/>
                <a:gd name="T11" fmla="*/ 1 h 74"/>
                <a:gd name="T12" fmla="*/ 0 w 172"/>
                <a:gd name="T13" fmla="*/ 1 h 74"/>
                <a:gd name="T14" fmla="*/ 0 w 172"/>
                <a:gd name="T15" fmla="*/ 1 h 74"/>
                <a:gd name="T16" fmla="*/ 0 w 172"/>
                <a:gd name="T17" fmla="*/ 1 h 74"/>
                <a:gd name="T18" fmla="*/ 0 w 172"/>
                <a:gd name="T19" fmla="*/ 1 h 74"/>
                <a:gd name="T20" fmla="*/ 0 w 172"/>
                <a:gd name="T21" fmla="*/ 1 h 74"/>
                <a:gd name="T22" fmla="*/ 0 w 172"/>
                <a:gd name="T23" fmla="*/ 1 h 74"/>
                <a:gd name="T24" fmla="*/ 0 w 172"/>
                <a:gd name="T25" fmla="*/ 1 h 74"/>
                <a:gd name="T26" fmla="*/ 0 w 172"/>
                <a:gd name="T27" fmla="*/ 1 h 74"/>
                <a:gd name="T28" fmla="*/ 0 w 172"/>
                <a:gd name="T29" fmla="*/ 0 h 74"/>
                <a:gd name="T30" fmla="*/ 0 w 172"/>
                <a:gd name="T31" fmla="*/ 0 h 74"/>
                <a:gd name="T32" fmla="*/ 0 w 172"/>
                <a:gd name="T33" fmla="*/ 0 h 74"/>
                <a:gd name="T34" fmla="*/ 0 w 172"/>
                <a:gd name="T35" fmla="*/ 0 h 74"/>
                <a:gd name="T36" fmla="*/ 0 w 172"/>
                <a:gd name="T37" fmla="*/ 0 h 74"/>
                <a:gd name="T38" fmla="*/ 0 w 172"/>
                <a:gd name="T39" fmla="*/ 0 h 74"/>
                <a:gd name="T40" fmla="*/ 0 w 172"/>
                <a:gd name="T41" fmla="*/ 0 h 74"/>
                <a:gd name="T42" fmla="*/ 0 w 172"/>
                <a:gd name="T43" fmla="*/ 0 h 74"/>
                <a:gd name="T44" fmla="*/ 0 w 172"/>
                <a:gd name="T45" fmla="*/ 0 h 74"/>
                <a:gd name="T46" fmla="*/ 0 w 172"/>
                <a:gd name="T47" fmla="*/ 0 h 74"/>
                <a:gd name="T48" fmla="*/ 0 w 172"/>
                <a:gd name="T49" fmla="*/ 0 h 74"/>
                <a:gd name="T50" fmla="*/ 0 w 172"/>
                <a:gd name="T51" fmla="*/ 0 h 74"/>
                <a:gd name="T52" fmla="*/ 1 w 172"/>
                <a:gd name="T53" fmla="*/ 0 h 74"/>
                <a:gd name="T54" fmla="*/ 1 w 172"/>
                <a:gd name="T55" fmla="*/ 0 h 74"/>
                <a:gd name="T56" fmla="*/ 1 w 172"/>
                <a:gd name="T57" fmla="*/ 0 h 74"/>
                <a:gd name="T58" fmla="*/ 1 w 172"/>
                <a:gd name="T59" fmla="*/ 0 h 74"/>
                <a:gd name="T60" fmla="*/ 1 w 172"/>
                <a:gd name="T61" fmla="*/ 0 h 74"/>
                <a:gd name="T62" fmla="*/ 1 w 172"/>
                <a:gd name="T63" fmla="*/ 0 h 74"/>
                <a:gd name="T64" fmla="*/ 1 w 172"/>
                <a:gd name="T65" fmla="*/ 0 h 74"/>
                <a:gd name="T66" fmla="*/ 1 w 172"/>
                <a:gd name="T67" fmla="*/ 0 h 74"/>
                <a:gd name="T68" fmla="*/ 2 w 172"/>
                <a:gd name="T69" fmla="*/ 0 h 74"/>
                <a:gd name="T70" fmla="*/ 2 w 172"/>
                <a:gd name="T71" fmla="*/ 0 h 74"/>
                <a:gd name="T72" fmla="*/ 2 w 172"/>
                <a:gd name="T73" fmla="*/ 0 h 74"/>
                <a:gd name="T74" fmla="*/ 2 w 172"/>
                <a:gd name="T75" fmla="*/ 1 h 74"/>
                <a:gd name="T76" fmla="*/ 2 w 172"/>
                <a:gd name="T77" fmla="*/ 1 h 74"/>
                <a:gd name="T78" fmla="*/ 2 w 172"/>
                <a:gd name="T79" fmla="*/ 1 h 74"/>
                <a:gd name="T80" fmla="*/ 2 w 172"/>
                <a:gd name="T81" fmla="*/ 1 h 74"/>
                <a:gd name="T82" fmla="*/ 2 w 172"/>
                <a:gd name="T83" fmla="*/ 1 h 74"/>
                <a:gd name="T84" fmla="*/ 2 w 172"/>
                <a:gd name="T85" fmla="*/ 1 h 74"/>
                <a:gd name="T86" fmla="*/ 2 w 172"/>
                <a:gd name="T87" fmla="*/ 1 h 74"/>
                <a:gd name="T88" fmla="*/ 2 w 172"/>
                <a:gd name="T89" fmla="*/ 1 h 74"/>
                <a:gd name="T90" fmla="*/ 1 w 172"/>
                <a:gd name="T91" fmla="*/ 1 h 74"/>
                <a:gd name="T92" fmla="*/ 1 w 172"/>
                <a:gd name="T93" fmla="*/ 1 h 74"/>
                <a:gd name="T94" fmla="*/ 1 w 172"/>
                <a:gd name="T95" fmla="*/ 1 h 74"/>
                <a:gd name="T96" fmla="*/ 1 w 172"/>
                <a:gd name="T97" fmla="*/ 1 h 74"/>
                <a:gd name="T98" fmla="*/ 1 w 172"/>
                <a:gd name="T99" fmla="*/ 1 h 74"/>
                <a:gd name="T100" fmla="*/ 1 w 172"/>
                <a:gd name="T101" fmla="*/ 1 h 74"/>
                <a:gd name="T102" fmla="*/ 1 w 172"/>
                <a:gd name="T103" fmla="*/ 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8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0 w 120"/>
                <a:gd name="T1" fmla="*/ 1 h 49"/>
                <a:gd name="T2" fmla="*/ 1 w 120"/>
                <a:gd name="T3" fmla="*/ 1 h 49"/>
                <a:gd name="T4" fmla="*/ 1 w 120"/>
                <a:gd name="T5" fmla="*/ 1 h 49"/>
                <a:gd name="T6" fmla="*/ 1 w 120"/>
                <a:gd name="T7" fmla="*/ 1 h 49"/>
                <a:gd name="T8" fmla="*/ 1 w 120"/>
                <a:gd name="T9" fmla="*/ 1 h 49"/>
                <a:gd name="T10" fmla="*/ 1 w 120"/>
                <a:gd name="T11" fmla="*/ 1 h 49"/>
                <a:gd name="T12" fmla="*/ 1 w 120"/>
                <a:gd name="T13" fmla="*/ 1 h 49"/>
                <a:gd name="T14" fmla="*/ 1 w 120"/>
                <a:gd name="T15" fmla="*/ 0 h 49"/>
                <a:gd name="T16" fmla="*/ 1 w 120"/>
                <a:gd name="T17" fmla="*/ 0 h 49"/>
                <a:gd name="T18" fmla="*/ 1 w 120"/>
                <a:gd name="T19" fmla="*/ 0 h 49"/>
                <a:gd name="T20" fmla="*/ 1 w 120"/>
                <a:gd name="T21" fmla="*/ 0 h 49"/>
                <a:gd name="T22" fmla="*/ 1 w 120"/>
                <a:gd name="T23" fmla="*/ 0 h 49"/>
                <a:gd name="T24" fmla="*/ 1 w 120"/>
                <a:gd name="T25" fmla="*/ 0 h 49"/>
                <a:gd name="T26" fmla="*/ 1 w 120"/>
                <a:gd name="T27" fmla="*/ 0 h 49"/>
                <a:gd name="T28" fmla="*/ 1 w 120"/>
                <a:gd name="T29" fmla="*/ 0 h 49"/>
                <a:gd name="T30" fmla="*/ 0 w 120"/>
                <a:gd name="T31" fmla="*/ 0 h 49"/>
                <a:gd name="T32" fmla="*/ 0 w 120"/>
                <a:gd name="T33" fmla="*/ 0 h 49"/>
                <a:gd name="T34" fmla="*/ 0 w 120"/>
                <a:gd name="T35" fmla="*/ 0 h 49"/>
                <a:gd name="T36" fmla="*/ 0 w 120"/>
                <a:gd name="T37" fmla="*/ 0 h 49"/>
                <a:gd name="T38" fmla="*/ 0 w 120"/>
                <a:gd name="T39" fmla="*/ 0 h 49"/>
                <a:gd name="T40" fmla="*/ 0 w 120"/>
                <a:gd name="T41" fmla="*/ 0 h 49"/>
                <a:gd name="T42" fmla="*/ 0 w 120"/>
                <a:gd name="T43" fmla="*/ 1 h 49"/>
                <a:gd name="T44" fmla="*/ 0 w 120"/>
                <a:gd name="T45" fmla="*/ 1 h 49"/>
                <a:gd name="T46" fmla="*/ 0 w 120"/>
                <a:gd name="T47" fmla="*/ 1 h 49"/>
                <a:gd name="T48" fmla="*/ 0 w 120"/>
                <a:gd name="T49" fmla="*/ 1 h 49"/>
                <a:gd name="T50" fmla="*/ 0 w 120"/>
                <a:gd name="T51" fmla="*/ 1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9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0 w 85"/>
                <a:gd name="T1" fmla="*/ 0 h 61"/>
                <a:gd name="T2" fmla="*/ 0 w 85"/>
                <a:gd name="T3" fmla="*/ 0 h 61"/>
                <a:gd name="T4" fmla="*/ 0 w 85"/>
                <a:gd name="T5" fmla="*/ 0 h 61"/>
                <a:gd name="T6" fmla="*/ 0 w 85"/>
                <a:gd name="T7" fmla="*/ 0 h 61"/>
                <a:gd name="T8" fmla="*/ 0 w 85"/>
                <a:gd name="T9" fmla="*/ 0 h 61"/>
                <a:gd name="T10" fmla="*/ 0 w 85"/>
                <a:gd name="T11" fmla="*/ 0 h 61"/>
                <a:gd name="T12" fmla="*/ 0 w 85"/>
                <a:gd name="T13" fmla="*/ 0 h 61"/>
                <a:gd name="T14" fmla="*/ 0 w 85"/>
                <a:gd name="T15" fmla="*/ 0 h 61"/>
                <a:gd name="T16" fmla="*/ 0 w 85"/>
                <a:gd name="T17" fmla="*/ 0 h 61"/>
                <a:gd name="T18" fmla="*/ 0 w 85"/>
                <a:gd name="T19" fmla="*/ 0 h 61"/>
                <a:gd name="T20" fmla="*/ 0 w 85"/>
                <a:gd name="T21" fmla="*/ 0 h 61"/>
                <a:gd name="T22" fmla="*/ 0 w 85"/>
                <a:gd name="T23" fmla="*/ 1 h 61"/>
                <a:gd name="T24" fmla="*/ 0 w 85"/>
                <a:gd name="T25" fmla="*/ 1 h 61"/>
                <a:gd name="T26" fmla="*/ 0 w 85"/>
                <a:gd name="T27" fmla="*/ 1 h 61"/>
                <a:gd name="T28" fmla="*/ 0 w 85"/>
                <a:gd name="T29" fmla="*/ 1 h 61"/>
                <a:gd name="T30" fmla="*/ 0 w 85"/>
                <a:gd name="T31" fmla="*/ 1 h 61"/>
                <a:gd name="T32" fmla="*/ 1 w 85"/>
                <a:gd name="T33" fmla="*/ 1 h 61"/>
                <a:gd name="T34" fmla="*/ 1 w 85"/>
                <a:gd name="T35" fmla="*/ 1 h 61"/>
                <a:gd name="T36" fmla="*/ 1 w 85"/>
                <a:gd name="T37" fmla="*/ 1 h 61"/>
                <a:gd name="T38" fmla="*/ 1 w 85"/>
                <a:gd name="T39" fmla="*/ 1 h 61"/>
                <a:gd name="T40" fmla="*/ 1 w 85"/>
                <a:gd name="T41" fmla="*/ 1 h 61"/>
                <a:gd name="T42" fmla="*/ 1 w 85"/>
                <a:gd name="T43" fmla="*/ 1 h 61"/>
                <a:gd name="T44" fmla="*/ 1 w 85"/>
                <a:gd name="T45" fmla="*/ 1 h 61"/>
                <a:gd name="T46" fmla="*/ 1 w 85"/>
                <a:gd name="T47" fmla="*/ 0 h 61"/>
                <a:gd name="T48" fmla="*/ 1 w 85"/>
                <a:gd name="T49" fmla="*/ 0 h 61"/>
                <a:gd name="T50" fmla="*/ 1 w 85"/>
                <a:gd name="T51" fmla="*/ 0 h 61"/>
                <a:gd name="T52" fmla="*/ 1 w 85"/>
                <a:gd name="T53" fmla="*/ 0 h 61"/>
                <a:gd name="T54" fmla="*/ 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0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0 h 19"/>
                <a:gd name="T2" fmla="*/ 0 w 100"/>
                <a:gd name="T3" fmla="*/ 0 h 19"/>
                <a:gd name="T4" fmla="*/ 0 w 100"/>
                <a:gd name="T5" fmla="*/ 0 h 19"/>
                <a:gd name="T6" fmla="*/ 0 w 100"/>
                <a:gd name="T7" fmla="*/ 0 h 19"/>
                <a:gd name="T8" fmla="*/ 0 w 100"/>
                <a:gd name="T9" fmla="*/ 0 h 19"/>
                <a:gd name="T10" fmla="*/ 1 w 100"/>
                <a:gd name="T11" fmla="*/ 0 h 19"/>
                <a:gd name="T12" fmla="*/ 1 w 100"/>
                <a:gd name="T13" fmla="*/ 0 h 19"/>
                <a:gd name="T14" fmla="*/ 1 w 100"/>
                <a:gd name="T15" fmla="*/ 0 h 19"/>
                <a:gd name="T16" fmla="*/ 0 w 100"/>
                <a:gd name="T17" fmla="*/ 0 h 19"/>
                <a:gd name="T18" fmla="*/ 0 w 100"/>
                <a:gd name="T19" fmla="*/ 0 h 19"/>
                <a:gd name="T20" fmla="*/ 0 w 100"/>
                <a:gd name="T21" fmla="*/ 0 h 19"/>
                <a:gd name="T22" fmla="*/ 0 w 100"/>
                <a:gd name="T23" fmla="*/ 0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1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0 h 45"/>
                <a:gd name="T2" fmla="*/ 0 w 166"/>
                <a:gd name="T3" fmla="*/ 0 h 45"/>
                <a:gd name="T4" fmla="*/ 0 w 166"/>
                <a:gd name="T5" fmla="*/ 0 h 45"/>
                <a:gd name="T6" fmla="*/ 0 w 166"/>
                <a:gd name="T7" fmla="*/ 0 h 45"/>
                <a:gd name="T8" fmla="*/ 0 w 166"/>
                <a:gd name="T9" fmla="*/ 0 h 45"/>
                <a:gd name="T10" fmla="*/ 0 w 166"/>
                <a:gd name="T11" fmla="*/ 0 h 45"/>
                <a:gd name="T12" fmla="*/ 0 w 166"/>
                <a:gd name="T13" fmla="*/ 1 h 45"/>
                <a:gd name="T14" fmla="*/ 1 w 166"/>
                <a:gd name="T15" fmla="*/ 1 h 45"/>
                <a:gd name="T16" fmla="*/ 1 w 166"/>
                <a:gd name="T17" fmla="*/ 1 h 45"/>
                <a:gd name="T18" fmla="*/ 2 w 166"/>
                <a:gd name="T19" fmla="*/ 0 h 45"/>
                <a:gd name="T20" fmla="*/ 2 w 166"/>
                <a:gd name="T21" fmla="*/ 0 h 45"/>
                <a:gd name="T22" fmla="*/ 1 w 166"/>
                <a:gd name="T23" fmla="*/ 0 h 45"/>
                <a:gd name="T24" fmla="*/ 1 w 166"/>
                <a:gd name="T25" fmla="*/ 0 h 45"/>
                <a:gd name="T26" fmla="*/ 1 w 166"/>
                <a:gd name="T27" fmla="*/ 0 h 45"/>
                <a:gd name="T28" fmla="*/ 1 w 166"/>
                <a:gd name="T29" fmla="*/ 0 h 45"/>
                <a:gd name="T30" fmla="*/ 1 w 166"/>
                <a:gd name="T31" fmla="*/ 0 h 45"/>
                <a:gd name="T32" fmla="*/ 0 w 166"/>
                <a:gd name="T33" fmla="*/ 0 h 45"/>
                <a:gd name="T34" fmla="*/ 0 w 166"/>
                <a:gd name="T35" fmla="*/ 0 h 45"/>
                <a:gd name="T36" fmla="*/ 0 w 166"/>
                <a:gd name="T37" fmla="*/ 0 h 45"/>
                <a:gd name="T38" fmla="*/ 0 w 166"/>
                <a:gd name="T39" fmla="*/ 0 h 45"/>
                <a:gd name="T40" fmla="*/ 0 w 166"/>
                <a:gd name="T41" fmla="*/ 0 h 45"/>
                <a:gd name="T42" fmla="*/ 0 w 166"/>
                <a:gd name="T43" fmla="*/ 0 h 45"/>
                <a:gd name="T44" fmla="*/ 0 w 166"/>
                <a:gd name="T45" fmla="*/ 0 h 45"/>
                <a:gd name="T46" fmla="*/ 0 w 166"/>
                <a:gd name="T47" fmla="*/ 0 h 45"/>
                <a:gd name="T48" fmla="*/ 0 w 166"/>
                <a:gd name="T49" fmla="*/ 0 h 45"/>
                <a:gd name="T50" fmla="*/ 0 w 166"/>
                <a:gd name="T51" fmla="*/ 0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2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0 h 25"/>
                <a:gd name="T4" fmla="*/ 0 w 33"/>
                <a:gd name="T5" fmla="*/ 0 h 25"/>
                <a:gd name="T6" fmla="*/ 0 w 33"/>
                <a:gd name="T7" fmla="*/ 0 h 25"/>
                <a:gd name="T8" fmla="*/ 0 w 33"/>
                <a:gd name="T9" fmla="*/ 0 h 25"/>
                <a:gd name="T10" fmla="*/ 0 w 33"/>
                <a:gd name="T11" fmla="*/ 0 h 25"/>
                <a:gd name="T12" fmla="*/ 0 w 33"/>
                <a:gd name="T13" fmla="*/ 0 h 25"/>
                <a:gd name="T14" fmla="*/ 0 w 33"/>
                <a:gd name="T15" fmla="*/ 0 h 25"/>
                <a:gd name="T16" fmla="*/ 0 w 33"/>
                <a:gd name="T17" fmla="*/ 0 h 25"/>
                <a:gd name="T18" fmla="*/ 0 w 33"/>
                <a:gd name="T19" fmla="*/ 0 h 25"/>
                <a:gd name="T20" fmla="*/ 0 w 33"/>
                <a:gd name="T21" fmla="*/ 0 h 25"/>
                <a:gd name="T22" fmla="*/ 0 w 33"/>
                <a:gd name="T23" fmla="*/ 0 h 25"/>
                <a:gd name="T24" fmla="*/ 0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3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1 h 62"/>
                <a:gd name="T2" fmla="*/ 0 w 48"/>
                <a:gd name="T3" fmla="*/ 1 h 62"/>
                <a:gd name="T4" fmla="*/ 0 w 48"/>
                <a:gd name="T5" fmla="*/ 1 h 62"/>
                <a:gd name="T6" fmla="*/ 0 w 48"/>
                <a:gd name="T7" fmla="*/ 1 h 62"/>
                <a:gd name="T8" fmla="*/ 0 w 48"/>
                <a:gd name="T9" fmla="*/ 0 h 62"/>
                <a:gd name="T10" fmla="*/ 1 w 48"/>
                <a:gd name="T11" fmla="*/ 0 h 62"/>
                <a:gd name="T12" fmla="*/ 1 w 48"/>
                <a:gd name="T13" fmla="*/ 0 h 62"/>
                <a:gd name="T14" fmla="*/ 1 w 48"/>
                <a:gd name="T15" fmla="*/ 0 h 62"/>
                <a:gd name="T16" fmla="*/ 1 w 48"/>
                <a:gd name="T17" fmla="*/ 0 h 62"/>
                <a:gd name="T18" fmla="*/ 0 w 48"/>
                <a:gd name="T19" fmla="*/ 0 h 62"/>
                <a:gd name="T20" fmla="*/ 0 w 48"/>
                <a:gd name="T21" fmla="*/ 0 h 62"/>
                <a:gd name="T22" fmla="*/ 0 w 48"/>
                <a:gd name="T23" fmla="*/ 0 h 62"/>
                <a:gd name="T24" fmla="*/ 0 w 48"/>
                <a:gd name="T25" fmla="*/ 0 h 62"/>
                <a:gd name="T26" fmla="*/ 0 w 48"/>
                <a:gd name="T27" fmla="*/ 0 h 62"/>
                <a:gd name="T28" fmla="*/ 0 w 48"/>
                <a:gd name="T29" fmla="*/ 0 h 62"/>
                <a:gd name="T30" fmla="*/ 0 w 48"/>
                <a:gd name="T31" fmla="*/ 0 h 62"/>
                <a:gd name="T32" fmla="*/ 0 w 48"/>
                <a:gd name="T33" fmla="*/ 0 h 62"/>
                <a:gd name="T34" fmla="*/ 0 w 48"/>
                <a:gd name="T35" fmla="*/ 0 h 62"/>
                <a:gd name="T36" fmla="*/ 0 w 48"/>
                <a:gd name="T37" fmla="*/ 1 h 62"/>
                <a:gd name="T38" fmla="*/ 0 w 48"/>
                <a:gd name="T39" fmla="*/ 1 h 62"/>
                <a:gd name="T40" fmla="*/ 0 w 48"/>
                <a:gd name="T41" fmla="*/ 1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4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 w 113"/>
                <a:gd name="T1" fmla="*/ 0 h 62"/>
                <a:gd name="T2" fmla="*/ 0 w 113"/>
                <a:gd name="T3" fmla="*/ 0 h 62"/>
                <a:gd name="T4" fmla="*/ 0 w 113"/>
                <a:gd name="T5" fmla="*/ 0 h 62"/>
                <a:gd name="T6" fmla="*/ 0 w 113"/>
                <a:gd name="T7" fmla="*/ 0 h 62"/>
                <a:gd name="T8" fmla="*/ 0 w 113"/>
                <a:gd name="T9" fmla="*/ 0 h 62"/>
                <a:gd name="T10" fmla="*/ 0 w 113"/>
                <a:gd name="T11" fmla="*/ 1 h 62"/>
                <a:gd name="T12" fmla="*/ 0 w 113"/>
                <a:gd name="T13" fmla="*/ 1 h 62"/>
                <a:gd name="T14" fmla="*/ 1 w 113"/>
                <a:gd name="T15" fmla="*/ 1 h 62"/>
                <a:gd name="T16" fmla="*/ 1 w 113"/>
                <a:gd name="T17" fmla="*/ 1 h 62"/>
                <a:gd name="T18" fmla="*/ 1 w 113"/>
                <a:gd name="T19" fmla="*/ 1 h 62"/>
                <a:gd name="T20" fmla="*/ 1 w 113"/>
                <a:gd name="T21" fmla="*/ 1 h 62"/>
                <a:gd name="T22" fmla="*/ 1 w 113"/>
                <a:gd name="T23" fmla="*/ 1 h 62"/>
                <a:gd name="T24" fmla="*/ 1 w 113"/>
                <a:gd name="T25" fmla="*/ 1 h 62"/>
                <a:gd name="T26" fmla="*/ 1 w 113"/>
                <a:gd name="T27" fmla="*/ 1 h 62"/>
                <a:gd name="T28" fmla="*/ 1 w 113"/>
                <a:gd name="T29" fmla="*/ 1 h 62"/>
                <a:gd name="T30" fmla="*/ 1 w 113"/>
                <a:gd name="T31" fmla="*/ 1 h 62"/>
                <a:gd name="T32" fmla="*/ 1 w 113"/>
                <a:gd name="T33" fmla="*/ 1 h 62"/>
                <a:gd name="T34" fmla="*/ 1 w 113"/>
                <a:gd name="T35" fmla="*/ 0 h 62"/>
                <a:gd name="T36" fmla="*/ 1 w 113"/>
                <a:gd name="T37" fmla="*/ 0 h 62"/>
                <a:gd name="T38" fmla="*/ 1 w 113"/>
                <a:gd name="T39" fmla="*/ 0 h 62"/>
                <a:gd name="T40" fmla="*/ 1 w 113"/>
                <a:gd name="T41" fmla="*/ 0 h 62"/>
                <a:gd name="T42" fmla="*/ 1 w 113"/>
                <a:gd name="T43" fmla="*/ 0 h 62"/>
                <a:gd name="T44" fmla="*/ 1 w 113"/>
                <a:gd name="T45" fmla="*/ 0 h 62"/>
                <a:gd name="T46" fmla="*/ 1 w 113"/>
                <a:gd name="T47" fmla="*/ 0 h 62"/>
                <a:gd name="T48" fmla="*/ 1 w 113"/>
                <a:gd name="T49" fmla="*/ 0 h 62"/>
                <a:gd name="T50" fmla="*/ 1 w 113"/>
                <a:gd name="T51" fmla="*/ 0 h 62"/>
                <a:gd name="T52" fmla="*/ 1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5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0 w 93"/>
                <a:gd name="T3" fmla="*/ 0 h 50"/>
                <a:gd name="T4" fmla="*/ 0 w 93"/>
                <a:gd name="T5" fmla="*/ 0 h 50"/>
                <a:gd name="T6" fmla="*/ 0 w 93"/>
                <a:gd name="T7" fmla="*/ 0 h 50"/>
                <a:gd name="T8" fmla="*/ 1 w 93"/>
                <a:gd name="T9" fmla="*/ 0 h 50"/>
                <a:gd name="T10" fmla="*/ 1 w 93"/>
                <a:gd name="T11" fmla="*/ 0 h 50"/>
                <a:gd name="T12" fmla="*/ 1 w 93"/>
                <a:gd name="T13" fmla="*/ 0 h 50"/>
                <a:gd name="T14" fmla="*/ 1 w 93"/>
                <a:gd name="T15" fmla="*/ 0 h 50"/>
                <a:gd name="T16" fmla="*/ 1 w 93"/>
                <a:gd name="T17" fmla="*/ 0 h 50"/>
                <a:gd name="T18" fmla="*/ 1 w 93"/>
                <a:gd name="T19" fmla="*/ 0 h 50"/>
                <a:gd name="T20" fmla="*/ 1 w 93"/>
                <a:gd name="T21" fmla="*/ 0 h 50"/>
                <a:gd name="T22" fmla="*/ 1 w 93"/>
                <a:gd name="T23" fmla="*/ 0 h 50"/>
                <a:gd name="T24" fmla="*/ 1 w 93"/>
                <a:gd name="T25" fmla="*/ 0 h 50"/>
                <a:gd name="T26" fmla="*/ 1 w 93"/>
                <a:gd name="T27" fmla="*/ 0 h 50"/>
                <a:gd name="T28" fmla="*/ 1 w 93"/>
                <a:gd name="T29" fmla="*/ 0 h 50"/>
                <a:gd name="T30" fmla="*/ 1 w 93"/>
                <a:gd name="T31" fmla="*/ 0 h 50"/>
                <a:gd name="T32" fmla="*/ 1 w 93"/>
                <a:gd name="T33" fmla="*/ 0 h 50"/>
                <a:gd name="T34" fmla="*/ 0 w 93"/>
                <a:gd name="T35" fmla="*/ 0 h 50"/>
                <a:gd name="T36" fmla="*/ 0 w 93"/>
                <a:gd name="T37" fmla="*/ 1 h 50"/>
                <a:gd name="T38" fmla="*/ 0 w 93"/>
                <a:gd name="T39" fmla="*/ 1 h 50"/>
                <a:gd name="T40" fmla="*/ 0 w 93"/>
                <a:gd name="T41" fmla="*/ 0 h 50"/>
                <a:gd name="T42" fmla="*/ 0 w 93"/>
                <a:gd name="T43" fmla="*/ 0 h 50"/>
                <a:gd name="T44" fmla="*/ 0 w 93"/>
                <a:gd name="T45" fmla="*/ 0 h 50"/>
                <a:gd name="T46" fmla="*/ 0 w 93"/>
                <a:gd name="T47" fmla="*/ 0 h 50"/>
                <a:gd name="T48" fmla="*/ 0 w 93"/>
                <a:gd name="T49" fmla="*/ 0 h 50"/>
                <a:gd name="T50" fmla="*/ 0 w 93"/>
                <a:gd name="T51" fmla="*/ 0 h 50"/>
                <a:gd name="T52" fmla="*/ 0 w 93"/>
                <a:gd name="T53" fmla="*/ 0 h 50"/>
                <a:gd name="T54" fmla="*/ 0 w 93"/>
                <a:gd name="T55" fmla="*/ 0 h 50"/>
                <a:gd name="T56" fmla="*/ 0 w 93"/>
                <a:gd name="T57" fmla="*/ 0 h 50"/>
                <a:gd name="T58" fmla="*/ 0 w 93"/>
                <a:gd name="T59" fmla="*/ 0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6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0 w 1029"/>
                <a:gd name="T1" fmla="*/ 1 h 604"/>
                <a:gd name="T2" fmla="*/ 1 w 1029"/>
                <a:gd name="T3" fmla="*/ 1 h 604"/>
                <a:gd name="T4" fmla="*/ 3 w 1029"/>
                <a:gd name="T5" fmla="*/ 0 h 604"/>
                <a:gd name="T6" fmla="*/ 2 w 1029"/>
                <a:gd name="T7" fmla="*/ 1 h 604"/>
                <a:gd name="T8" fmla="*/ 2 w 1029"/>
                <a:gd name="T9" fmla="*/ 1 h 604"/>
                <a:gd name="T10" fmla="*/ 3 w 1029"/>
                <a:gd name="T11" fmla="*/ 1 h 604"/>
                <a:gd name="T12" fmla="*/ 4 w 1029"/>
                <a:gd name="T13" fmla="*/ 0 h 604"/>
                <a:gd name="T14" fmla="*/ 5 w 1029"/>
                <a:gd name="T15" fmla="*/ 0 h 604"/>
                <a:gd name="T16" fmla="*/ 5 w 1029"/>
                <a:gd name="T17" fmla="*/ 1 h 604"/>
                <a:gd name="T18" fmla="*/ 6 w 1029"/>
                <a:gd name="T19" fmla="*/ 1 h 604"/>
                <a:gd name="T20" fmla="*/ 7 w 1029"/>
                <a:gd name="T21" fmla="*/ 1 h 604"/>
                <a:gd name="T22" fmla="*/ 8 w 1029"/>
                <a:gd name="T23" fmla="*/ 1 h 604"/>
                <a:gd name="T24" fmla="*/ 8 w 1029"/>
                <a:gd name="T25" fmla="*/ 2 h 604"/>
                <a:gd name="T26" fmla="*/ 8 w 1029"/>
                <a:gd name="T27" fmla="*/ 2 h 604"/>
                <a:gd name="T28" fmla="*/ 9 w 1029"/>
                <a:gd name="T29" fmla="*/ 2 h 604"/>
                <a:gd name="T30" fmla="*/ 9 w 1029"/>
                <a:gd name="T31" fmla="*/ 2 h 604"/>
                <a:gd name="T32" fmla="*/ 9 w 1029"/>
                <a:gd name="T33" fmla="*/ 3 h 604"/>
                <a:gd name="T34" fmla="*/ 8 w 1029"/>
                <a:gd name="T35" fmla="*/ 3 h 604"/>
                <a:gd name="T36" fmla="*/ 9 w 1029"/>
                <a:gd name="T37" fmla="*/ 3 h 604"/>
                <a:gd name="T38" fmla="*/ 10 w 1029"/>
                <a:gd name="T39" fmla="*/ 4 h 604"/>
                <a:gd name="T40" fmla="*/ 10 w 1029"/>
                <a:gd name="T41" fmla="*/ 4 h 604"/>
                <a:gd name="T42" fmla="*/ 11 w 1029"/>
                <a:gd name="T43" fmla="*/ 4 h 604"/>
                <a:gd name="T44" fmla="*/ 10 w 1029"/>
                <a:gd name="T45" fmla="*/ 5 h 604"/>
                <a:gd name="T46" fmla="*/ 10 w 1029"/>
                <a:gd name="T47" fmla="*/ 5 h 604"/>
                <a:gd name="T48" fmla="*/ 9 w 1029"/>
                <a:gd name="T49" fmla="*/ 5 h 604"/>
                <a:gd name="T50" fmla="*/ 9 w 1029"/>
                <a:gd name="T51" fmla="*/ 5 h 604"/>
                <a:gd name="T52" fmla="*/ 9 w 1029"/>
                <a:gd name="T53" fmla="*/ 5 h 604"/>
                <a:gd name="T54" fmla="*/ 8 w 1029"/>
                <a:gd name="T55" fmla="*/ 4 h 604"/>
                <a:gd name="T56" fmla="*/ 8 w 1029"/>
                <a:gd name="T57" fmla="*/ 4 h 604"/>
                <a:gd name="T58" fmla="*/ 8 w 1029"/>
                <a:gd name="T59" fmla="*/ 5 h 604"/>
                <a:gd name="T60" fmla="*/ 8 w 1029"/>
                <a:gd name="T61" fmla="*/ 5 h 604"/>
                <a:gd name="T62" fmla="*/ 8 w 1029"/>
                <a:gd name="T63" fmla="*/ 6 h 604"/>
                <a:gd name="T64" fmla="*/ 8 w 1029"/>
                <a:gd name="T65" fmla="*/ 6 h 604"/>
                <a:gd name="T66" fmla="*/ 7 w 1029"/>
                <a:gd name="T67" fmla="*/ 7 h 604"/>
                <a:gd name="T68" fmla="*/ 7 w 1029"/>
                <a:gd name="T69" fmla="*/ 6 h 604"/>
                <a:gd name="T70" fmla="*/ 7 w 1029"/>
                <a:gd name="T71" fmla="*/ 7 h 604"/>
                <a:gd name="T72" fmla="*/ 7 w 1029"/>
                <a:gd name="T73" fmla="*/ 7 h 604"/>
                <a:gd name="T74" fmla="*/ 5 w 1029"/>
                <a:gd name="T75" fmla="*/ 7 h 604"/>
                <a:gd name="T76" fmla="*/ 5 w 1029"/>
                <a:gd name="T77" fmla="*/ 6 h 604"/>
                <a:gd name="T78" fmla="*/ 5 w 1029"/>
                <a:gd name="T79" fmla="*/ 6 h 604"/>
                <a:gd name="T80" fmla="*/ 4 w 1029"/>
                <a:gd name="T81" fmla="*/ 5 h 604"/>
                <a:gd name="T82" fmla="*/ 4 w 1029"/>
                <a:gd name="T83" fmla="*/ 5 h 604"/>
                <a:gd name="T84" fmla="*/ 5 w 1029"/>
                <a:gd name="T85" fmla="*/ 5 h 604"/>
                <a:gd name="T86" fmla="*/ 5 w 1029"/>
                <a:gd name="T87" fmla="*/ 4 h 604"/>
                <a:gd name="T88" fmla="*/ 6 w 1029"/>
                <a:gd name="T89" fmla="*/ 4 h 604"/>
                <a:gd name="T90" fmla="*/ 7 w 1029"/>
                <a:gd name="T91" fmla="*/ 5 h 604"/>
                <a:gd name="T92" fmla="*/ 7 w 1029"/>
                <a:gd name="T93" fmla="*/ 5 h 604"/>
                <a:gd name="T94" fmla="*/ 6 w 1029"/>
                <a:gd name="T95" fmla="*/ 4 h 604"/>
                <a:gd name="T96" fmla="*/ 6 w 1029"/>
                <a:gd name="T97" fmla="*/ 4 h 604"/>
                <a:gd name="T98" fmla="*/ 6 w 1029"/>
                <a:gd name="T99" fmla="*/ 4 h 604"/>
                <a:gd name="T100" fmla="*/ 6 w 1029"/>
                <a:gd name="T101" fmla="*/ 4 h 604"/>
                <a:gd name="T102" fmla="*/ 6 w 1029"/>
                <a:gd name="T103" fmla="*/ 3 h 604"/>
                <a:gd name="T104" fmla="*/ 5 w 1029"/>
                <a:gd name="T105" fmla="*/ 3 h 604"/>
                <a:gd name="T106" fmla="*/ 5 w 1029"/>
                <a:gd name="T107" fmla="*/ 2 h 604"/>
                <a:gd name="T108" fmla="*/ 5 w 1029"/>
                <a:gd name="T109" fmla="*/ 2 h 604"/>
                <a:gd name="T110" fmla="*/ 5 w 1029"/>
                <a:gd name="T111" fmla="*/ 2 h 604"/>
                <a:gd name="T112" fmla="*/ 4 w 1029"/>
                <a:gd name="T113" fmla="*/ 2 h 604"/>
                <a:gd name="T114" fmla="*/ 2 w 1029"/>
                <a:gd name="T115" fmla="*/ 2 h 604"/>
                <a:gd name="T116" fmla="*/ 1 w 1029"/>
                <a:gd name="T117" fmla="*/ 2 h 604"/>
                <a:gd name="T118" fmla="*/ 1 w 1029"/>
                <a:gd name="T119" fmla="*/ 2 h 604"/>
                <a:gd name="T120" fmla="*/ 0 w 1029"/>
                <a:gd name="T121" fmla="*/ 2 h 604"/>
                <a:gd name="T122" fmla="*/ 0 w 1029"/>
                <a:gd name="T123" fmla="*/ 2 h 604"/>
                <a:gd name="T124" fmla="*/ 1 w 1029"/>
                <a:gd name="T125" fmla="*/ 2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7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9 w 1268"/>
                <a:gd name="T1" fmla="*/ 0 h 321"/>
                <a:gd name="T2" fmla="*/ 9 w 1268"/>
                <a:gd name="T3" fmla="*/ 0 h 321"/>
                <a:gd name="T4" fmla="*/ 9 w 1268"/>
                <a:gd name="T5" fmla="*/ 0 h 321"/>
                <a:gd name="T6" fmla="*/ 9 w 1268"/>
                <a:gd name="T7" fmla="*/ 0 h 321"/>
                <a:gd name="T8" fmla="*/ 10 w 1268"/>
                <a:gd name="T9" fmla="*/ 0 h 321"/>
                <a:gd name="T10" fmla="*/ 11 w 1268"/>
                <a:gd name="T11" fmla="*/ 0 h 321"/>
                <a:gd name="T12" fmla="*/ 12 w 1268"/>
                <a:gd name="T13" fmla="*/ 0 h 321"/>
                <a:gd name="T14" fmla="*/ 12 w 1268"/>
                <a:gd name="T15" fmla="*/ 0 h 321"/>
                <a:gd name="T16" fmla="*/ 14 w 1268"/>
                <a:gd name="T17" fmla="*/ 0 h 321"/>
                <a:gd name="T18" fmla="*/ 14 w 1268"/>
                <a:gd name="T19" fmla="*/ 1 h 321"/>
                <a:gd name="T20" fmla="*/ 13 w 1268"/>
                <a:gd name="T21" fmla="*/ 1 h 321"/>
                <a:gd name="T22" fmla="*/ 11 w 1268"/>
                <a:gd name="T23" fmla="*/ 1 h 321"/>
                <a:gd name="T24" fmla="*/ 11 w 1268"/>
                <a:gd name="T25" fmla="*/ 1 h 321"/>
                <a:gd name="T26" fmla="*/ 11 w 1268"/>
                <a:gd name="T27" fmla="*/ 1 h 321"/>
                <a:gd name="T28" fmla="*/ 10 w 1268"/>
                <a:gd name="T29" fmla="*/ 1 h 321"/>
                <a:gd name="T30" fmla="*/ 10 w 1268"/>
                <a:gd name="T31" fmla="*/ 1 h 321"/>
                <a:gd name="T32" fmla="*/ 8 w 1268"/>
                <a:gd name="T33" fmla="*/ 2 h 321"/>
                <a:gd name="T34" fmla="*/ 7 w 1268"/>
                <a:gd name="T35" fmla="*/ 2 h 321"/>
                <a:gd name="T36" fmla="*/ 7 w 1268"/>
                <a:gd name="T37" fmla="*/ 2 h 321"/>
                <a:gd name="T38" fmla="*/ 6 w 1268"/>
                <a:gd name="T39" fmla="*/ 2 h 321"/>
                <a:gd name="T40" fmla="*/ 6 w 1268"/>
                <a:gd name="T41" fmla="*/ 2 h 321"/>
                <a:gd name="T42" fmla="*/ 6 w 1268"/>
                <a:gd name="T43" fmla="*/ 2 h 321"/>
                <a:gd name="T44" fmla="*/ 6 w 1268"/>
                <a:gd name="T45" fmla="*/ 3 h 321"/>
                <a:gd name="T46" fmla="*/ 5 w 1268"/>
                <a:gd name="T47" fmla="*/ 3 h 321"/>
                <a:gd name="T48" fmla="*/ 5 w 1268"/>
                <a:gd name="T49" fmla="*/ 3 h 321"/>
                <a:gd name="T50" fmla="*/ 5 w 1268"/>
                <a:gd name="T51" fmla="*/ 3 h 321"/>
                <a:gd name="T52" fmla="*/ 4 w 1268"/>
                <a:gd name="T53" fmla="*/ 3 h 321"/>
                <a:gd name="T54" fmla="*/ 4 w 1268"/>
                <a:gd name="T55" fmla="*/ 4 h 321"/>
                <a:gd name="T56" fmla="*/ 3 w 1268"/>
                <a:gd name="T57" fmla="*/ 3 h 321"/>
                <a:gd name="T58" fmla="*/ 3 w 1268"/>
                <a:gd name="T59" fmla="*/ 3 h 321"/>
                <a:gd name="T60" fmla="*/ 1 w 1268"/>
                <a:gd name="T61" fmla="*/ 3 h 321"/>
                <a:gd name="T62" fmla="*/ 0 w 1268"/>
                <a:gd name="T63" fmla="*/ 3 h 321"/>
                <a:gd name="T64" fmla="*/ 0 w 1268"/>
                <a:gd name="T65" fmla="*/ 3 h 321"/>
                <a:gd name="T66" fmla="*/ 1 w 1268"/>
                <a:gd name="T67" fmla="*/ 3 h 321"/>
                <a:gd name="T68" fmla="*/ 2 w 1268"/>
                <a:gd name="T69" fmla="*/ 3 h 321"/>
                <a:gd name="T70" fmla="*/ 2 w 1268"/>
                <a:gd name="T71" fmla="*/ 3 h 321"/>
                <a:gd name="T72" fmla="*/ 2 w 1268"/>
                <a:gd name="T73" fmla="*/ 3 h 321"/>
                <a:gd name="T74" fmla="*/ 2 w 1268"/>
                <a:gd name="T75" fmla="*/ 3 h 321"/>
                <a:gd name="T76" fmla="*/ 3 w 1268"/>
                <a:gd name="T77" fmla="*/ 3 h 321"/>
                <a:gd name="T78" fmla="*/ 2 w 1268"/>
                <a:gd name="T79" fmla="*/ 2 h 321"/>
                <a:gd name="T80" fmla="*/ 2 w 1268"/>
                <a:gd name="T81" fmla="*/ 2 h 321"/>
                <a:gd name="T82" fmla="*/ 2 w 1268"/>
                <a:gd name="T83" fmla="*/ 2 h 321"/>
                <a:gd name="T84" fmla="*/ 3 w 1268"/>
                <a:gd name="T85" fmla="*/ 2 h 321"/>
                <a:gd name="T86" fmla="*/ 4 w 1268"/>
                <a:gd name="T87" fmla="*/ 2 h 321"/>
                <a:gd name="T88" fmla="*/ 5 w 1268"/>
                <a:gd name="T89" fmla="*/ 2 h 321"/>
                <a:gd name="T90" fmla="*/ 4 w 1268"/>
                <a:gd name="T91" fmla="*/ 2 h 321"/>
                <a:gd name="T92" fmla="*/ 3 w 1268"/>
                <a:gd name="T93" fmla="*/ 2 h 321"/>
                <a:gd name="T94" fmla="*/ 4 w 1268"/>
                <a:gd name="T95" fmla="*/ 2 h 321"/>
                <a:gd name="T96" fmla="*/ 5 w 1268"/>
                <a:gd name="T97" fmla="*/ 2 h 321"/>
                <a:gd name="T98" fmla="*/ 5 w 1268"/>
                <a:gd name="T99" fmla="*/ 1 h 321"/>
                <a:gd name="T100" fmla="*/ 7 w 1268"/>
                <a:gd name="T101" fmla="*/ 1 h 321"/>
                <a:gd name="T102" fmla="*/ 6 w 1268"/>
                <a:gd name="T103" fmla="*/ 1 h 321"/>
                <a:gd name="T104" fmla="*/ 5 w 1268"/>
                <a:gd name="T105" fmla="*/ 1 h 321"/>
                <a:gd name="T106" fmla="*/ 4 w 1268"/>
                <a:gd name="T107" fmla="*/ 1 h 321"/>
                <a:gd name="T108" fmla="*/ 3 w 1268"/>
                <a:gd name="T109" fmla="*/ 1 h 321"/>
                <a:gd name="T110" fmla="*/ 2 w 1268"/>
                <a:gd name="T111" fmla="*/ 1 h 321"/>
                <a:gd name="T112" fmla="*/ 3 w 1268"/>
                <a:gd name="T113" fmla="*/ 1 h 321"/>
                <a:gd name="T114" fmla="*/ 5 w 1268"/>
                <a:gd name="T115" fmla="*/ 1 h 321"/>
                <a:gd name="T116" fmla="*/ 7 w 1268"/>
                <a:gd name="T117" fmla="*/ 0 h 321"/>
                <a:gd name="T118" fmla="*/ 7 w 1268"/>
                <a:gd name="T119" fmla="*/ 0 h 321"/>
                <a:gd name="T120" fmla="*/ 8 w 1268"/>
                <a:gd name="T121" fmla="*/ 0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8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0 h 117"/>
                <a:gd name="T4" fmla="*/ 0 w 160"/>
                <a:gd name="T5" fmla="*/ 0 h 117"/>
                <a:gd name="T6" fmla="*/ 0 w 160"/>
                <a:gd name="T7" fmla="*/ 0 h 117"/>
                <a:gd name="T8" fmla="*/ 0 w 160"/>
                <a:gd name="T9" fmla="*/ 0 h 117"/>
                <a:gd name="T10" fmla="*/ 0 w 160"/>
                <a:gd name="T11" fmla="*/ 1 h 117"/>
                <a:gd name="T12" fmla="*/ 0 w 160"/>
                <a:gd name="T13" fmla="*/ 1 h 117"/>
                <a:gd name="T14" fmla="*/ 0 w 160"/>
                <a:gd name="T15" fmla="*/ 1 h 117"/>
                <a:gd name="T16" fmla="*/ 1 w 160"/>
                <a:gd name="T17" fmla="*/ 1 h 117"/>
                <a:gd name="T18" fmla="*/ 1 w 160"/>
                <a:gd name="T19" fmla="*/ 1 h 117"/>
                <a:gd name="T20" fmla="*/ 1 w 160"/>
                <a:gd name="T21" fmla="*/ 1 h 117"/>
                <a:gd name="T22" fmla="*/ 1 w 160"/>
                <a:gd name="T23" fmla="*/ 1 h 117"/>
                <a:gd name="T24" fmla="*/ 1 w 160"/>
                <a:gd name="T25" fmla="*/ 1 h 117"/>
                <a:gd name="T26" fmla="*/ 1 w 160"/>
                <a:gd name="T27" fmla="*/ 1 h 117"/>
                <a:gd name="T28" fmla="*/ 1 w 160"/>
                <a:gd name="T29" fmla="*/ 1 h 117"/>
                <a:gd name="T30" fmla="*/ 1 w 160"/>
                <a:gd name="T31" fmla="*/ 1 h 117"/>
                <a:gd name="T32" fmla="*/ 1 w 160"/>
                <a:gd name="T33" fmla="*/ 1 h 117"/>
                <a:gd name="T34" fmla="*/ 1 w 160"/>
                <a:gd name="T35" fmla="*/ 1 h 117"/>
                <a:gd name="T36" fmla="*/ 2 w 160"/>
                <a:gd name="T37" fmla="*/ 1 h 117"/>
                <a:gd name="T38" fmla="*/ 2 w 160"/>
                <a:gd name="T39" fmla="*/ 1 h 117"/>
                <a:gd name="T40" fmla="*/ 2 w 160"/>
                <a:gd name="T41" fmla="*/ 1 h 117"/>
                <a:gd name="T42" fmla="*/ 2 w 160"/>
                <a:gd name="T43" fmla="*/ 1 h 117"/>
                <a:gd name="T44" fmla="*/ 1 w 160"/>
                <a:gd name="T45" fmla="*/ 1 h 117"/>
                <a:gd name="T46" fmla="*/ 1 w 160"/>
                <a:gd name="T47" fmla="*/ 1 h 117"/>
                <a:gd name="T48" fmla="*/ 1 w 160"/>
                <a:gd name="T49" fmla="*/ 1 h 117"/>
                <a:gd name="T50" fmla="*/ 1 w 160"/>
                <a:gd name="T51" fmla="*/ 1 h 117"/>
                <a:gd name="T52" fmla="*/ 1 w 160"/>
                <a:gd name="T53" fmla="*/ 1 h 117"/>
                <a:gd name="T54" fmla="*/ 1 w 160"/>
                <a:gd name="T55" fmla="*/ 1 h 117"/>
                <a:gd name="T56" fmla="*/ 1 w 160"/>
                <a:gd name="T57" fmla="*/ 1 h 117"/>
                <a:gd name="T58" fmla="*/ 1 w 160"/>
                <a:gd name="T59" fmla="*/ 0 h 117"/>
                <a:gd name="T60" fmla="*/ 1 w 160"/>
                <a:gd name="T61" fmla="*/ 0 h 117"/>
                <a:gd name="T62" fmla="*/ 1 w 160"/>
                <a:gd name="T63" fmla="*/ 0 h 117"/>
                <a:gd name="T64" fmla="*/ 1 w 160"/>
                <a:gd name="T65" fmla="*/ 0 h 117"/>
                <a:gd name="T66" fmla="*/ 1 w 160"/>
                <a:gd name="T67" fmla="*/ 0 h 117"/>
                <a:gd name="T68" fmla="*/ 1 w 160"/>
                <a:gd name="T69" fmla="*/ 0 h 117"/>
                <a:gd name="T70" fmla="*/ 1 w 160"/>
                <a:gd name="T71" fmla="*/ 0 h 117"/>
                <a:gd name="T72" fmla="*/ 1 w 160"/>
                <a:gd name="T73" fmla="*/ 0 h 117"/>
                <a:gd name="T74" fmla="*/ 1 w 160"/>
                <a:gd name="T75" fmla="*/ 0 h 117"/>
                <a:gd name="T76" fmla="*/ 1 w 160"/>
                <a:gd name="T77" fmla="*/ 0 h 117"/>
                <a:gd name="T78" fmla="*/ 0 w 160"/>
                <a:gd name="T79" fmla="*/ 0 h 117"/>
                <a:gd name="T80" fmla="*/ 0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9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0 w 80"/>
                <a:gd name="T1" fmla="*/ 1 h 141"/>
                <a:gd name="T2" fmla="*/ 1 w 80"/>
                <a:gd name="T3" fmla="*/ 0 h 141"/>
                <a:gd name="T4" fmla="*/ 1 w 80"/>
                <a:gd name="T5" fmla="*/ 0 h 141"/>
                <a:gd name="T6" fmla="*/ 1 w 80"/>
                <a:gd name="T7" fmla="*/ 0 h 141"/>
                <a:gd name="T8" fmla="*/ 1 w 80"/>
                <a:gd name="T9" fmla="*/ 0 h 141"/>
                <a:gd name="T10" fmla="*/ 1 w 80"/>
                <a:gd name="T11" fmla="*/ 0 h 141"/>
                <a:gd name="T12" fmla="*/ 1 w 80"/>
                <a:gd name="T13" fmla="*/ 0 h 141"/>
                <a:gd name="T14" fmla="*/ 1 w 80"/>
                <a:gd name="T15" fmla="*/ 0 h 141"/>
                <a:gd name="T16" fmla="*/ 1 w 80"/>
                <a:gd name="T17" fmla="*/ 0 h 141"/>
                <a:gd name="T18" fmla="*/ 0 w 80"/>
                <a:gd name="T19" fmla="*/ 0 h 141"/>
                <a:gd name="T20" fmla="*/ 0 w 80"/>
                <a:gd name="T21" fmla="*/ 0 h 141"/>
                <a:gd name="T22" fmla="*/ 0 w 80"/>
                <a:gd name="T23" fmla="*/ 0 h 141"/>
                <a:gd name="T24" fmla="*/ 0 w 80"/>
                <a:gd name="T25" fmla="*/ 0 h 141"/>
                <a:gd name="T26" fmla="*/ 0 w 80"/>
                <a:gd name="T27" fmla="*/ 0 h 141"/>
                <a:gd name="T28" fmla="*/ 0 w 80"/>
                <a:gd name="T29" fmla="*/ 1 h 141"/>
                <a:gd name="T30" fmla="*/ 0 w 80"/>
                <a:gd name="T31" fmla="*/ 1 h 141"/>
                <a:gd name="T32" fmla="*/ 0 w 80"/>
                <a:gd name="T33" fmla="*/ 1 h 141"/>
                <a:gd name="T34" fmla="*/ 0 w 80"/>
                <a:gd name="T35" fmla="*/ 1 h 141"/>
                <a:gd name="T36" fmla="*/ 0 w 80"/>
                <a:gd name="T37" fmla="*/ 1 h 141"/>
                <a:gd name="T38" fmla="*/ 0 w 80"/>
                <a:gd name="T39" fmla="*/ 1 h 141"/>
                <a:gd name="T40" fmla="*/ 0 w 80"/>
                <a:gd name="T41" fmla="*/ 1 h 141"/>
                <a:gd name="T42" fmla="*/ 0 w 80"/>
                <a:gd name="T43" fmla="*/ 2 h 141"/>
                <a:gd name="T44" fmla="*/ 0 w 80"/>
                <a:gd name="T45" fmla="*/ 2 h 141"/>
                <a:gd name="T46" fmla="*/ 0 w 80"/>
                <a:gd name="T47" fmla="*/ 2 h 141"/>
                <a:gd name="T48" fmla="*/ 0 w 80"/>
                <a:gd name="T49" fmla="*/ 1 h 141"/>
                <a:gd name="T50" fmla="*/ 0 w 80"/>
                <a:gd name="T51" fmla="*/ 1 h 141"/>
                <a:gd name="T52" fmla="*/ 0 w 80"/>
                <a:gd name="T53" fmla="*/ 1 h 141"/>
                <a:gd name="T54" fmla="*/ 0 w 80"/>
                <a:gd name="T55" fmla="*/ 1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0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1 h 124"/>
                <a:gd name="T2" fmla="*/ 0 w 259"/>
                <a:gd name="T3" fmla="*/ 1 h 124"/>
                <a:gd name="T4" fmla="*/ 0 w 259"/>
                <a:gd name="T5" fmla="*/ 1 h 124"/>
                <a:gd name="T6" fmla="*/ 0 w 259"/>
                <a:gd name="T7" fmla="*/ 1 h 124"/>
                <a:gd name="T8" fmla="*/ 0 w 259"/>
                <a:gd name="T9" fmla="*/ 1 h 124"/>
                <a:gd name="T10" fmla="*/ 0 w 259"/>
                <a:gd name="T11" fmla="*/ 1 h 124"/>
                <a:gd name="T12" fmla="*/ 0 w 259"/>
                <a:gd name="T13" fmla="*/ 1 h 124"/>
                <a:gd name="T14" fmla="*/ 0 w 259"/>
                <a:gd name="T15" fmla="*/ 1 h 124"/>
                <a:gd name="T16" fmla="*/ 0 w 259"/>
                <a:gd name="T17" fmla="*/ 1 h 124"/>
                <a:gd name="T18" fmla="*/ 1 w 259"/>
                <a:gd name="T19" fmla="*/ 2 h 124"/>
                <a:gd name="T20" fmla="*/ 1 w 259"/>
                <a:gd name="T21" fmla="*/ 2 h 124"/>
                <a:gd name="T22" fmla="*/ 1 w 259"/>
                <a:gd name="T23" fmla="*/ 2 h 124"/>
                <a:gd name="T24" fmla="*/ 1 w 259"/>
                <a:gd name="T25" fmla="*/ 2 h 124"/>
                <a:gd name="T26" fmla="*/ 1 w 259"/>
                <a:gd name="T27" fmla="*/ 1 h 124"/>
                <a:gd name="T28" fmla="*/ 1 w 259"/>
                <a:gd name="T29" fmla="*/ 1 h 124"/>
                <a:gd name="T30" fmla="*/ 1 w 259"/>
                <a:gd name="T31" fmla="*/ 1 h 124"/>
                <a:gd name="T32" fmla="*/ 1 w 259"/>
                <a:gd name="T33" fmla="*/ 1 h 124"/>
                <a:gd name="T34" fmla="*/ 1 w 259"/>
                <a:gd name="T35" fmla="*/ 1 h 124"/>
                <a:gd name="T36" fmla="*/ 1 w 259"/>
                <a:gd name="T37" fmla="*/ 1 h 124"/>
                <a:gd name="T38" fmla="*/ 1 w 259"/>
                <a:gd name="T39" fmla="*/ 1 h 124"/>
                <a:gd name="T40" fmla="*/ 1 w 259"/>
                <a:gd name="T41" fmla="*/ 1 h 124"/>
                <a:gd name="T42" fmla="*/ 2 w 259"/>
                <a:gd name="T43" fmla="*/ 1 h 124"/>
                <a:gd name="T44" fmla="*/ 2 w 259"/>
                <a:gd name="T45" fmla="*/ 1 h 124"/>
                <a:gd name="T46" fmla="*/ 2 w 259"/>
                <a:gd name="T47" fmla="*/ 1 h 124"/>
                <a:gd name="T48" fmla="*/ 2 w 259"/>
                <a:gd name="T49" fmla="*/ 1 h 124"/>
                <a:gd name="T50" fmla="*/ 2 w 259"/>
                <a:gd name="T51" fmla="*/ 1 h 124"/>
                <a:gd name="T52" fmla="*/ 2 w 259"/>
                <a:gd name="T53" fmla="*/ 1 h 124"/>
                <a:gd name="T54" fmla="*/ 2 w 259"/>
                <a:gd name="T55" fmla="*/ 1 h 124"/>
                <a:gd name="T56" fmla="*/ 2 w 259"/>
                <a:gd name="T57" fmla="*/ 1 h 124"/>
                <a:gd name="T58" fmla="*/ 3 w 259"/>
                <a:gd name="T59" fmla="*/ 1 h 124"/>
                <a:gd name="T60" fmla="*/ 3 w 259"/>
                <a:gd name="T61" fmla="*/ 1 h 124"/>
                <a:gd name="T62" fmla="*/ 3 w 259"/>
                <a:gd name="T63" fmla="*/ 1 h 124"/>
                <a:gd name="T64" fmla="*/ 3 w 259"/>
                <a:gd name="T65" fmla="*/ 1 h 124"/>
                <a:gd name="T66" fmla="*/ 3 w 259"/>
                <a:gd name="T67" fmla="*/ 1 h 124"/>
                <a:gd name="T68" fmla="*/ 2 w 259"/>
                <a:gd name="T69" fmla="*/ 1 h 124"/>
                <a:gd name="T70" fmla="*/ 3 w 259"/>
                <a:gd name="T71" fmla="*/ 1 h 124"/>
                <a:gd name="T72" fmla="*/ 3 w 259"/>
                <a:gd name="T73" fmla="*/ 1 h 124"/>
                <a:gd name="T74" fmla="*/ 3 w 259"/>
                <a:gd name="T75" fmla="*/ 1 h 124"/>
                <a:gd name="T76" fmla="*/ 3 w 259"/>
                <a:gd name="T77" fmla="*/ 1 h 124"/>
                <a:gd name="T78" fmla="*/ 3 w 259"/>
                <a:gd name="T79" fmla="*/ 1 h 124"/>
                <a:gd name="T80" fmla="*/ 3 w 259"/>
                <a:gd name="T81" fmla="*/ 1 h 124"/>
                <a:gd name="T82" fmla="*/ 2 w 259"/>
                <a:gd name="T83" fmla="*/ 1 h 124"/>
                <a:gd name="T84" fmla="*/ 2 w 259"/>
                <a:gd name="T85" fmla="*/ 1 h 124"/>
                <a:gd name="T86" fmla="*/ 2 w 259"/>
                <a:gd name="T87" fmla="*/ 0 h 124"/>
                <a:gd name="T88" fmla="*/ 2 w 259"/>
                <a:gd name="T89" fmla="*/ 0 h 124"/>
                <a:gd name="T90" fmla="*/ 2 w 259"/>
                <a:gd name="T91" fmla="*/ 0 h 124"/>
                <a:gd name="T92" fmla="*/ 2 w 259"/>
                <a:gd name="T93" fmla="*/ 0 h 124"/>
                <a:gd name="T94" fmla="*/ 2 w 259"/>
                <a:gd name="T95" fmla="*/ 0 h 124"/>
                <a:gd name="T96" fmla="*/ 1 w 259"/>
                <a:gd name="T97" fmla="*/ 0 h 124"/>
                <a:gd name="T98" fmla="*/ 1 w 259"/>
                <a:gd name="T99" fmla="*/ 0 h 124"/>
                <a:gd name="T100" fmla="*/ 1 w 259"/>
                <a:gd name="T101" fmla="*/ 0 h 124"/>
                <a:gd name="T102" fmla="*/ 1 w 259"/>
                <a:gd name="T103" fmla="*/ 0 h 124"/>
                <a:gd name="T104" fmla="*/ 1 w 259"/>
                <a:gd name="T105" fmla="*/ 0 h 124"/>
                <a:gd name="T106" fmla="*/ 1 w 259"/>
                <a:gd name="T107" fmla="*/ 0 h 124"/>
                <a:gd name="T108" fmla="*/ 1 w 259"/>
                <a:gd name="T109" fmla="*/ 0 h 124"/>
                <a:gd name="T110" fmla="*/ 1 w 259"/>
                <a:gd name="T111" fmla="*/ 0 h 124"/>
                <a:gd name="T112" fmla="*/ 1 w 259"/>
                <a:gd name="T113" fmla="*/ 1 h 124"/>
                <a:gd name="T114" fmla="*/ 0 w 259"/>
                <a:gd name="T115" fmla="*/ 1 h 124"/>
                <a:gd name="T116" fmla="*/ 0 w 259"/>
                <a:gd name="T117" fmla="*/ 1 h 124"/>
                <a:gd name="T118" fmla="*/ 0 w 259"/>
                <a:gd name="T119" fmla="*/ 1 h 124"/>
                <a:gd name="T120" fmla="*/ 0 w 259"/>
                <a:gd name="T121" fmla="*/ 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1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0 h 57"/>
                <a:gd name="T2" fmla="*/ 0 w 119"/>
                <a:gd name="T3" fmla="*/ 0 h 57"/>
                <a:gd name="T4" fmla="*/ 0 w 119"/>
                <a:gd name="T5" fmla="*/ 0 h 57"/>
                <a:gd name="T6" fmla="*/ 0 w 119"/>
                <a:gd name="T7" fmla="*/ 1 h 57"/>
                <a:gd name="T8" fmla="*/ 0 w 119"/>
                <a:gd name="T9" fmla="*/ 1 h 57"/>
                <a:gd name="T10" fmla="*/ 0 w 119"/>
                <a:gd name="T11" fmla="*/ 1 h 57"/>
                <a:gd name="T12" fmla="*/ 0 w 119"/>
                <a:gd name="T13" fmla="*/ 1 h 57"/>
                <a:gd name="T14" fmla="*/ 0 w 119"/>
                <a:gd name="T15" fmla="*/ 1 h 57"/>
                <a:gd name="T16" fmla="*/ 1 w 119"/>
                <a:gd name="T17" fmla="*/ 1 h 57"/>
                <a:gd name="T18" fmla="*/ 1 w 119"/>
                <a:gd name="T19" fmla="*/ 1 h 57"/>
                <a:gd name="T20" fmla="*/ 1 w 119"/>
                <a:gd name="T21" fmla="*/ 1 h 57"/>
                <a:gd name="T22" fmla="*/ 1 w 119"/>
                <a:gd name="T23" fmla="*/ 1 h 57"/>
                <a:gd name="T24" fmla="*/ 1 w 119"/>
                <a:gd name="T25" fmla="*/ 1 h 57"/>
                <a:gd name="T26" fmla="*/ 1 w 119"/>
                <a:gd name="T27" fmla="*/ 1 h 57"/>
                <a:gd name="T28" fmla="*/ 1 w 119"/>
                <a:gd name="T29" fmla="*/ 1 h 57"/>
                <a:gd name="T30" fmla="*/ 1 w 119"/>
                <a:gd name="T31" fmla="*/ 1 h 57"/>
                <a:gd name="T32" fmla="*/ 1 w 119"/>
                <a:gd name="T33" fmla="*/ 0 h 57"/>
                <a:gd name="T34" fmla="*/ 1 w 119"/>
                <a:gd name="T35" fmla="*/ 0 h 57"/>
                <a:gd name="T36" fmla="*/ 1 w 119"/>
                <a:gd name="T37" fmla="*/ 0 h 57"/>
                <a:gd name="T38" fmla="*/ 1 w 119"/>
                <a:gd name="T39" fmla="*/ 0 h 57"/>
                <a:gd name="T40" fmla="*/ 1 w 119"/>
                <a:gd name="T41" fmla="*/ 0 h 57"/>
                <a:gd name="T42" fmla="*/ 1 w 119"/>
                <a:gd name="T43" fmla="*/ 0 h 57"/>
                <a:gd name="T44" fmla="*/ 1 w 119"/>
                <a:gd name="T45" fmla="*/ 0 h 57"/>
                <a:gd name="T46" fmla="*/ 1 w 119"/>
                <a:gd name="T47" fmla="*/ 0 h 57"/>
                <a:gd name="T48" fmla="*/ 0 w 119"/>
                <a:gd name="T49" fmla="*/ 0 h 57"/>
                <a:gd name="T50" fmla="*/ 0 w 119"/>
                <a:gd name="T51" fmla="*/ 0 h 57"/>
                <a:gd name="T52" fmla="*/ 0 w 119"/>
                <a:gd name="T53" fmla="*/ 0 h 57"/>
                <a:gd name="T54" fmla="*/ 0 w 119"/>
                <a:gd name="T55" fmla="*/ 0 h 57"/>
                <a:gd name="T56" fmla="*/ 0 w 119"/>
                <a:gd name="T57" fmla="*/ 0 h 57"/>
                <a:gd name="T58" fmla="*/ 0 w 119"/>
                <a:gd name="T59" fmla="*/ 0 h 57"/>
                <a:gd name="T60" fmla="*/ 0 w 119"/>
                <a:gd name="T61" fmla="*/ 0 h 57"/>
                <a:gd name="T62" fmla="*/ 0 w 119"/>
                <a:gd name="T63" fmla="*/ 0 h 57"/>
                <a:gd name="T64" fmla="*/ 0 w 119"/>
                <a:gd name="T65" fmla="*/ 0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2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 h 52"/>
                <a:gd name="T2" fmla="*/ 0 w 107"/>
                <a:gd name="T3" fmla="*/ 1 h 52"/>
                <a:gd name="T4" fmla="*/ 0 w 107"/>
                <a:gd name="T5" fmla="*/ 1 h 52"/>
                <a:gd name="T6" fmla="*/ 0 w 107"/>
                <a:gd name="T7" fmla="*/ 1 h 52"/>
                <a:gd name="T8" fmla="*/ 0 w 107"/>
                <a:gd name="T9" fmla="*/ 1 h 52"/>
                <a:gd name="T10" fmla="*/ 0 w 107"/>
                <a:gd name="T11" fmla="*/ 1 h 52"/>
                <a:gd name="T12" fmla="*/ 0 w 107"/>
                <a:gd name="T13" fmla="*/ 1 h 52"/>
                <a:gd name="T14" fmla="*/ 0 w 107"/>
                <a:gd name="T15" fmla="*/ 1 h 52"/>
                <a:gd name="T16" fmla="*/ 1 w 107"/>
                <a:gd name="T17" fmla="*/ 1 h 52"/>
                <a:gd name="T18" fmla="*/ 1 w 107"/>
                <a:gd name="T19" fmla="*/ 1 h 52"/>
                <a:gd name="T20" fmla="*/ 1 w 107"/>
                <a:gd name="T21" fmla="*/ 1 h 52"/>
                <a:gd name="T22" fmla="*/ 1 w 107"/>
                <a:gd name="T23" fmla="*/ 0 h 52"/>
                <a:gd name="T24" fmla="*/ 1 w 107"/>
                <a:gd name="T25" fmla="*/ 0 h 52"/>
                <a:gd name="T26" fmla="*/ 1 w 107"/>
                <a:gd name="T27" fmla="*/ 0 h 52"/>
                <a:gd name="T28" fmla="*/ 1 w 107"/>
                <a:gd name="T29" fmla="*/ 0 h 52"/>
                <a:gd name="T30" fmla="*/ 1 w 107"/>
                <a:gd name="T31" fmla="*/ 0 h 52"/>
                <a:gd name="T32" fmla="*/ 1 w 107"/>
                <a:gd name="T33" fmla="*/ 0 h 52"/>
                <a:gd name="T34" fmla="*/ 1 w 107"/>
                <a:gd name="T35" fmla="*/ 0 h 52"/>
                <a:gd name="T36" fmla="*/ 1 w 107"/>
                <a:gd name="T37" fmla="*/ 0 h 52"/>
                <a:gd name="T38" fmla="*/ 1 w 107"/>
                <a:gd name="T39" fmla="*/ 0 h 52"/>
                <a:gd name="T40" fmla="*/ 0 w 107"/>
                <a:gd name="T41" fmla="*/ 0 h 52"/>
                <a:gd name="T42" fmla="*/ 0 w 107"/>
                <a:gd name="T43" fmla="*/ 0 h 52"/>
                <a:gd name="T44" fmla="*/ 0 w 107"/>
                <a:gd name="T45" fmla="*/ 0 h 52"/>
                <a:gd name="T46" fmla="*/ 0 w 107"/>
                <a:gd name="T47" fmla="*/ 0 h 52"/>
                <a:gd name="T48" fmla="*/ 0 w 107"/>
                <a:gd name="T49" fmla="*/ 1 h 52"/>
                <a:gd name="T50" fmla="*/ 0 w 107"/>
                <a:gd name="T51" fmla="*/ 1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3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0 w 246"/>
                <a:gd name="T1" fmla="*/ 1 h 99"/>
                <a:gd name="T2" fmla="*/ 0 w 246"/>
                <a:gd name="T3" fmla="*/ 1 h 99"/>
                <a:gd name="T4" fmla="*/ 0 w 246"/>
                <a:gd name="T5" fmla="*/ 1 h 99"/>
                <a:gd name="T6" fmla="*/ 0 w 246"/>
                <a:gd name="T7" fmla="*/ 1 h 99"/>
                <a:gd name="T8" fmla="*/ 0 w 246"/>
                <a:gd name="T9" fmla="*/ 1 h 99"/>
                <a:gd name="T10" fmla="*/ 0 w 246"/>
                <a:gd name="T11" fmla="*/ 1 h 99"/>
                <a:gd name="T12" fmla="*/ 0 w 246"/>
                <a:gd name="T13" fmla="*/ 1 h 99"/>
                <a:gd name="T14" fmla="*/ 0 w 246"/>
                <a:gd name="T15" fmla="*/ 1 h 99"/>
                <a:gd name="T16" fmla="*/ 0 w 246"/>
                <a:gd name="T17" fmla="*/ 1 h 99"/>
                <a:gd name="T18" fmla="*/ 0 w 246"/>
                <a:gd name="T19" fmla="*/ 1 h 99"/>
                <a:gd name="T20" fmla="*/ 0 w 246"/>
                <a:gd name="T21" fmla="*/ 1 h 99"/>
                <a:gd name="T22" fmla="*/ 0 w 246"/>
                <a:gd name="T23" fmla="*/ 1 h 99"/>
                <a:gd name="T24" fmla="*/ 0 w 246"/>
                <a:gd name="T25" fmla="*/ 1 h 99"/>
                <a:gd name="T26" fmla="*/ 0 w 246"/>
                <a:gd name="T27" fmla="*/ 1 h 99"/>
                <a:gd name="T28" fmla="*/ 0 w 246"/>
                <a:gd name="T29" fmla="*/ 0 h 99"/>
                <a:gd name="T30" fmla="*/ 0 w 246"/>
                <a:gd name="T31" fmla="*/ 0 h 99"/>
                <a:gd name="T32" fmla="*/ 0 w 246"/>
                <a:gd name="T33" fmla="*/ 0 h 99"/>
                <a:gd name="T34" fmla="*/ 1 w 246"/>
                <a:gd name="T35" fmla="*/ 0 h 99"/>
                <a:gd name="T36" fmla="*/ 1 w 246"/>
                <a:gd name="T37" fmla="*/ 0 h 99"/>
                <a:gd name="T38" fmla="*/ 1 w 246"/>
                <a:gd name="T39" fmla="*/ 0 h 99"/>
                <a:gd name="T40" fmla="*/ 1 w 246"/>
                <a:gd name="T41" fmla="*/ 0 h 99"/>
                <a:gd name="T42" fmla="*/ 1 w 246"/>
                <a:gd name="T43" fmla="*/ 0 h 99"/>
                <a:gd name="T44" fmla="*/ 1 w 246"/>
                <a:gd name="T45" fmla="*/ 0 h 99"/>
                <a:gd name="T46" fmla="*/ 1 w 246"/>
                <a:gd name="T47" fmla="*/ 0 h 99"/>
                <a:gd name="T48" fmla="*/ 1 w 246"/>
                <a:gd name="T49" fmla="*/ 0 h 99"/>
                <a:gd name="T50" fmla="*/ 2 w 246"/>
                <a:gd name="T51" fmla="*/ 0 h 99"/>
                <a:gd name="T52" fmla="*/ 2 w 246"/>
                <a:gd name="T53" fmla="*/ 0 h 99"/>
                <a:gd name="T54" fmla="*/ 2 w 246"/>
                <a:gd name="T55" fmla="*/ 0 h 99"/>
                <a:gd name="T56" fmla="*/ 3 w 246"/>
                <a:gd name="T57" fmla="*/ 0 h 99"/>
                <a:gd name="T58" fmla="*/ 3 w 246"/>
                <a:gd name="T59" fmla="*/ 0 h 99"/>
                <a:gd name="T60" fmla="*/ 3 w 246"/>
                <a:gd name="T61" fmla="*/ 0 h 99"/>
                <a:gd name="T62" fmla="*/ 3 w 246"/>
                <a:gd name="T63" fmla="*/ 0 h 99"/>
                <a:gd name="T64" fmla="*/ 3 w 246"/>
                <a:gd name="T65" fmla="*/ 0 h 99"/>
                <a:gd name="T66" fmla="*/ 2 w 246"/>
                <a:gd name="T67" fmla="*/ 0 h 99"/>
                <a:gd name="T68" fmla="*/ 2 w 246"/>
                <a:gd name="T69" fmla="*/ 1 h 99"/>
                <a:gd name="T70" fmla="*/ 2 w 246"/>
                <a:gd name="T71" fmla="*/ 1 h 99"/>
                <a:gd name="T72" fmla="*/ 2 w 246"/>
                <a:gd name="T73" fmla="*/ 1 h 99"/>
                <a:gd name="T74" fmla="*/ 2 w 246"/>
                <a:gd name="T75" fmla="*/ 1 h 99"/>
                <a:gd name="T76" fmla="*/ 2 w 246"/>
                <a:gd name="T77" fmla="*/ 1 h 99"/>
                <a:gd name="T78" fmla="*/ 1 w 246"/>
                <a:gd name="T79" fmla="*/ 1 h 99"/>
                <a:gd name="T80" fmla="*/ 1 w 246"/>
                <a:gd name="T81" fmla="*/ 1 h 99"/>
                <a:gd name="T82" fmla="*/ 1 w 246"/>
                <a:gd name="T83" fmla="*/ 1 h 99"/>
                <a:gd name="T84" fmla="*/ 1 w 246"/>
                <a:gd name="T85" fmla="*/ 1 h 99"/>
                <a:gd name="T86" fmla="*/ 1 w 246"/>
                <a:gd name="T87" fmla="*/ 1 h 99"/>
                <a:gd name="T88" fmla="*/ 1 w 246"/>
                <a:gd name="T89" fmla="*/ 1 h 99"/>
                <a:gd name="T90" fmla="*/ 1 w 246"/>
                <a:gd name="T91" fmla="*/ 1 h 99"/>
                <a:gd name="T92" fmla="*/ 1 w 246"/>
                <a:gd name="T93" fmla="*/ 1 h 99"/>
                <a:gd name="T94" fmla="*/ 1 w 246"/>
                <a:gd name="T95" fmla="*/ 1 h 99"/>
                <a:gd name="T96" fmla="*/ 1 w 246"/>
                <a:gd name="T97" fmla="*/ 1 h 99"/>
                <a:gd name="T98" fmla="*/ 1 w 246"/>
                <a:gd name="T99" fmla="*/ 1 h 99"/>
                <a:gd name="T100" fmla="*/ 0 w 246"/>
                <a:gd name="T101" fmla="*/ 1 h 99"/>
                <a:gd name="T102" fmla="*/ 0 w 246"/>
                <a:gd name="T103" fmla="*/ 1 h 99"/>
                <a:gd name="T104" fmla="*/ 0 w 246"/>
                <a:gd name="T105" fmla="*/ 1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4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0 w 233"/>
                <a:gd name="T1" fmla="*/ 1 h 123"/>
                <a:gd name="T2" fmla="*/ 0 w 233"/>
                <a:gd name="T3" fmla="*/ 1 h 123"/>
                <a:gd name="T4" fmla="*/ 0 w 233"/>
                <a:gd name="T5" fmla="*/ 1 h 123"/>
                <a:gd name="T6" fmla="*/ 0 w 233"/>
                <a:gd name="T7" fmla="*/ 0 h 123"/>
                <a:gd name="T8" fmla="*/ 0 w 233"/>
                <a:gd name="T9" fmla="*/ 0 h 123"/>
                <a:gd name="T10" fmla="*/ 1 w 233"/>
                <a:gd name="T11" fmla="*/ 0 h 123"/>
                <a:gd name="T12" fmla="*/ 1 w 233"/>
                <a:gd name="T13" fmla="*/ 0 h 123"/>
                <a:gd name="T14" fmla="*/ 1 w 233"/>
                <a:gd name="T15" fmla="*/ 0 h 123"/>
                <a:gd name="T16" fmla="*/ 1 w 233"/>
                <a:gd name="T17" fmla="*/ 0 h 123"/>
                <a:gd name="T18" fmla="*/ 1 w 233"/>
                <a:gd name="T19" fmla="*/ 0 h 123"/>
                <a:gd name="T20" fmla="*/ 2 w 233"/>
                <a:gd name="T21" fmla="*/ 0 h 123"/>
                <a:gd name="T22" fmla="*/ 2 w 233"/>
                <a:gd name="T23" fmla="*/ 0 h 123"/>
                <a:gd name="T24" fmla="*/ 2 w 233"/>
                <a:gd name="T25" fmla="*/ 0 h 123"/>
                <a:gd name="T26" fmla="*/ 2 w 233"/>
                <a:gd name="T27" fmla="*/ 0 h 123"/>
                <a:gd name="T28" fmla="*/ 2 w 233"/>
                <a:gd name="T29" fmla="*/ 0 h 123"/>
                <a:gd name="T30" fmla="*/ 3 w 233"/>
                <a:gd name="T31" fmla="*/ 0 h 123"/>
                <a:gd name="T32" fmla="*/ 3 w 233"/>
                <a:gd name="T33" fmla="*/ 0 h 123"/>
                <a:gd name="T34" fmla="*/ 3 w 233"/>
                <a:gd name="T35" fmla="*/ 0 h 123"/>
                <a:gd name="T36" fmla="*/ 3 w 233"/>
                <a:gd name="T37" fmla="*/ 0 h 123"/>
                <a:gd name="T38" fmla="*/ 2 w 233"/>
                <a:gd name="T39" fmla="*/ 0 h 123"/>
                <a:gd name="T40" fmla="*/ 2 w 233"/>
                <a:gd name="T41" fmla="*/ 1 h 123"/>
                <a:gd name="T42" fmla="*/ 2 w 233"/>
                <a:gd name="T43" fmla="*/ 1 h 123"/>
                <a:gd name="T44" fmla="*/ 2 w 233"/>
                <a:gd name="T45" fmla="*/ 1 h 123"/>
                <a:gd name="T46" fmla="*/ 2 w 233"/>
                <a:gd name="T47" fmla="*/ 1 h 123"/>
                <a:gd name="T48" fmla="*/ 2 w 233"/>
                <a:gd name="T49" fmla="*/ 1 h 123"/>
                <a:gd name="T50" fmla="*/ 1 w 233"/>
                <a:gd name="T51" fmla="*/ 1 h 123"/>
                <a:gd name="T52" fmla="*/ 1 w 233"/>
                <a:gd name="T53" fmla="*/ 1 h 123"/>
                <a:gd name="T54" fmla="*/ 1 w 233"/>
                <a:gd name="T55" fmla="*/ 1 h 123"/>
                <a:gd name="T56" fmla="*/ 1 w 233"/>
                <a:gd name="T57" fmla="*/ 1 h 123"/>
                <a:gd name="T58" fmla="*/ 1 w 233"/>
                <a:gd name="T59" fmla="*/ 1 h 123"/>
                <a:gd name="T60" fmla="*/ 1 w 233"/>
                <a:gd name="T61" fmla="*/ 1 h 123"/>
                <a:gd name="T62" fmla="*/ 1 w 233"/>
                <a:gd name="T63" fmla="*/ 1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5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2 h 172"/>
                <a:gd name="T2" fmla="*/ 0 w 484"/>
                <a:gd name="T3" fmla="*/ 2 h 172"/>
                <a:gd name="T4" fmla="*/ 0 w 484"/>
                <a:gd name="T5" fmla="*/ 2 h 172"/>
                <a:gd name="T6" fmla="*/ 0 w 484"/>
                <a:gd name="T7" fmla="*/ 2 h 172"/>
                <a:gd name="T8" fmla="*/ 0 w 484"/>
                <a:gd name="T9" fmla="*/ 2 h 172"/>
                <a:gd name="T10" fmla="*/ 1 w 484"/>
                <a:gd name="T11" fmla="*/ 2 h 172"/>
                <a:gd name="T12" fmla="*/ 1 w 484"/>
                <a:gd name="T13" fmla="*/ 2 h 172"/>
                <a:gd name="T14" fmla="*/ 1 w 484"/>
                <a:gd name="T15" fmla="*/ 2 h 172"/>
                <a:gd name="T16" fmla="*/ 2 w 484"/>
                <a:gd name="T17" fmla="*/ 2 h 172"/>
                <a:gd name="T18" fmla="*/ 2 w 484"/>
                <a:gd name="T19" fmla="*/ 2 h 172"/>
                <a:gd name="T20" fmla="*/ 3 w 484"/>
                <a:gd name="T21" fmla="*/ 1 h 172"/>
                <a:gd name="T22" fmla="*/ 3 w 484"/>
                <a:gd name="T23" fmla="*/ 1 h 172"/>
                <a:gd name="T24" fmla="*/ 4 w 484"/>
                <a:gd name="T25" fmla="*/ 1 h 172"/>
                <a:gd name="T26" fmla="*/ 5 w 484"/>
                <a:gd name="T27" fmla="*/ 1 h 172"/>
                <a:gd name="T28" fmla="*/ 5 w 484"/>
                <a:gd name="T29" fmla="*/ 1 h 172"/>
                <a:gd name="T30" fmla="*/ 5 w 484"/>
                <a:gd name="T31" fmla="*/ 1 h 172"/>
                <a:gd name="T32" fmla="*/ 5 w 484"/>
                <a:gd name="T33" fmla="*/ 1 h 172"/>
                <a:gd name="T34" fmla="*/ 6 w 484"/>
                <a:gd name="T35" fmla="*/ 0 h 172"/>
                <a:gd name="T36" fmla="*/ 5 w 484"/>
                <a:gd name="T37" fmla="*/ 0 h 172"/>
                <a:gd name="T38" fmla="*/ 4 w 484"/>
                <a:gd name="T39" fmla="*/ 0 h 172"/>
                <a:gd name="T40" fmla="*/ 4 w 484"/>
                <a:gd name="T41" fmla="*/ 0 h 172"/>
                <a:gd name="T42" fmla="*/ 3 w 484"/>
                <a:gd name="T43" fmla="*/ 0 h 172"/>
                <a:gd name="T44" fmla="*/ 3 w 484"/>
                <a:gd name="T45" fmla="*/ 0 h 172"/>
                <a:gd name="T46" fmla="*/ 2 w 484"/>
                <a:gd name="T47" fmla="*/ 0 h 172"/>
                <a:gd name="T48" fmla="*/ 2 w 484"/>
                <a:gd name="T49" fmla="*/ 0 h 172"/>
                <a:gd name="T50" fmla="*/ 2 w 484"/>
                <a:gd name="T51" fmla="*/ 0 h 172"/>
                <a:gd name="T52" fmla="*/ 2 w 484"/>
                <a:gd name="T53" fmla="*/ 0 h 172"/>
                <a:gd name="T54" fmla="*/ 2 w 484"/>
                <a:gd name="T55" fmla="*/ 0 h 172"/>
                <a:gd name="T56" fmla="*/ 2 w 484"/>
                <a:gd name="T57" fmla="*/ 0 h 172"/>
                <a:gd name="T58" fmla="*/ 2 w 484"/>
                <a:gd name="T59" fmla="*/ 0 h 172"/>
                <a:gd name="T60" fmla="*/ 2 w 484"/>
                <a:gd name="T61" fmla="*/ 1 h 172"/>
                <a:gd name="T62" fmla="*/ 1 w 484"/>
                <a:gd name="T63" fmla="*/ 1 h 172"/>
                <a:gd name="T64" fmla="*/ 1 w 484"/>
                <a:gd name="T65" fmla="*/ 1 h 172"/>
                <a:gd name="T66" fmla="*/ 1 w 484"/>
                <a:gd name="T67" fmla="*/ 1 h 172"/>
                <a:gd name="T68" fmla="*/ 0 w 484"/>
                <a:gd name="T69" fmla="*/ 1 h 172"/>
                <a:gd name="T70" fmla="*/ 0 w 484"/>
                <a:gd name="T71" fmla="*/ 1 h 172"/>
                <a:gd name="T72" fmla="*/ 0 w 484"/>
                <a:gd name="T73" fmla="*/ 1 h 172"/>
                <a:gd name="T74" fmla="*/ 0 w 484"/>
                <a:gd name="T75" fmla="*/ 1 h 172"/>
                <a:gd name="T76" fmla="*/ 0 w 484"/>
                <a:gd name="T77" fmla="*/ 2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6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4 w 684"/>
                <a:gd name="T1" fmla="*/ 0 h 240"/>
                <a:gd name="T2" fmla="*/ 3 w 684"/>
                <a:gd name="T3" fmla="*/ 0 h 240"/>
                <a:gd name="T4" fmla="*/ 3 w 684"/>
                <a:gd name="T5" fmla="*/ 0 h 240"/>
                <a:gd name="T6" fmla="*/ 3 w 684"/>
                <a:gd name="T7" fmla="*/ 1 h 240"/>
                <a:gd name="T8" fmla="*/ 4 w 684"/>
                <a:gd name="T9" fmla="*/ 0 h 240"/>
                <a:gd name="T10" fmla="*/ 4 w 684"/>
                <a:gd name="T11" fmla="*/ 0 h 240"/>
                <a:gd name="T12" fmla="*/ 4 w 684"/>
                <a:gd name="T13" fmla="*/ 0 h 240"/>
                <a:gd name="T14" fmla="*/ 4 w 684"/>
                <a:gd name="T15" fmla="*/ 1 h 240"/>
                <a:gd name="T16" fmla="*/ 5 w 684"/>
                <a:gd name="T17" fmla="*/ 1 h 240"/>
                <a:gd name="T18" fmla="*/ 5 w 684"/>
                <a:gd name="T19" fmla="*/ 1 h 240"/>
                <a:gd name="T20" fmla="*/ 5 w 684"/>
                <a:gd name="T21" fmla="*/ 1 h 240"/>
                <a:gd name="T22" fmla="*/ 6 w 684"/>
                <a:gd name="T23" fmla="*/ 1 h 240"/>
                <a:gd name="T24" fmla="*/ 6 w 684"/>
                <a:gd name="T25" fmla="*/ 1 h 240"/>
                <a:gd name="T26" fmla="*/ 6 w 684"/>
                <a:gd name="T27" fmla="*/ 0 h 240"/>
                <a:gd name="T28" fmla="*/ 6 w 684"/>
                <a:gd name="T29" fmla="*/ 0 h 240"/>
                <a:gd name="T30" fmla="*/ 6 w 684"/>
                <a:gd name="T31" fmla="*/ 0 h 240"/>
                <a:gd name="T32" fmla="*/ 7 w 684"/>
                <a:gd name="T33" fmla="*/ 0 h 240"/>
                <a:gd name="T34" fmla="*/ 7 w 684"/>
                <a:gd name="T35" fmla="*/ 0 h 240"/>
                <a:gd name="T36" fmla="*/ 7 w 684"/>
                <a:gd name="T37" fmla="*/ 0 h 240"/>
                <a:gd name="T38" fmla="*/ 7 w 684"/>
                <a:gd name="T39" fmla="*/ 1 h 240"/>
                <a:gd name="T40" fmla="*/ 7 w 684"/>
                <a:gd name="T41" fmla="*/ 1 h 240"/>
                <a:gd name="T42" fmla="*/ 7 w 684"/>
                <a:gd name="T43" fmla="*/ 1 h 240"/>
                <a:gd name="T44" fmla="*/ 7 w 684"/>
                <a:gd name="T45" fmla="*/ 2 h 240"/>
                <a:gd name="T46" fmla="*/ 7 w 684"/>
                <a:gd name="T47" fmla="*/ 2 h 240"/>
                <a:gd name="T48" fmla="*/ 7 w 684"/>
                <a:gd name="T49" fmla="*/ 2 h 240"/>
                <a:gd name="T50" fmla="*/ 7 w 684"/>
                <a:gd name="T51" fmla="*/ 2 h 240"/>
                <a:gd name="T52" fmla="*/ 6 w 684"/>
                <a:gd name="T53" fmla="*/ 2 h 240"/>
                <a:gd name="T54" fmla="*/ 6 w 684"/>
                <a:gd name="T55" fmla="*/ 2 h 240"/>
                <a:gd name="T56" fmla="*/ 6 w 684"/>
                <a:gd name="T57" fmla="*/ 2 h 240"/>
                <a:gd name="T58" fmla="*/ 6 w 684"/>
                <a:gd name="T59" fmla="*/ 2 h 240"/>
                <a:gd name="T60" fmla="*/ 6 w 684"/>
                <a:gd name="T61" fmla="*/ 3 h 240"/>
                <a:gd name="T62" fmla="*/ 5 w 684"/>
                <a:gd name="T63" fmla="*/ 3 h 240"/>
                <a:gd name="T64" fmla="*/ 5 w 684"/>
                <a:gd name="T65" fmla="*/ 2 h 240"/>
                <a:gd name="T66" fmla="*/ 5 w 684"/>
                <a:gd name="T67" fmla="*/ 2 h 240"/>
                <a:gd name="T68" fmla="*/ 4 w 684"/>
                <a:gd name="T69" fmla="*/ 3 h 240"/>
                <a:gd name="T70" fmla="*/ 3 w 684"/>
                <a:gd name="T71" fmla="*/ 3 h 240"/>
                <a:gd name="T72" fmla="*/ 2 w 684"/>
                <a:gd name="T73" fmla="*/ 3 h 240"/>
                <a:gd name="T74" fmla="*/ 1 w 684"/>
                <a:gd name="T75" fmla="*/ 3 h 240"/>
                <a:gd name="T76" fmla="*/ 1 w 684"/>
                <a:gd name="T77" fmla="*/ 3 h 240"/>
                <a:gd name="T78" fmla="*/ 1 w 684"/>
                <a:gd name="T79" fmla="*/ 2 h 240"/>
                <a:gd name="T80" fmla="*/ 0 w 684"/>
                <a:gd name="T81" fmla="*/ 2 h 240"/>
                <a:gd name="T82" fmla="*/ 0 w 684"/>
                <a:gd name="T83" fmla="*/ 2 h 240"/>
                <a:gd name="T84" fmla="*/ 1 w 684"/>
                <a:gd name="T85" fmla="*/ 2 h 240"/>
                <a:gd name="T86" fmla="*/ 1 w 684"/>
                <a:gd name="T87" fmla="*/ 2 h 240"/>
                <a:gd name="T88" fmla="*/ 2 w 684"/>
                <a:gd name="T89" fmla="*/ 2 h 240"/>
                <a:gd name="T90" fmla="*/ 2 w 684"/>
                <a:gd name="T91" fmla="*/ 2 h 240"/>
                <a:gd name="T92" fmla="*/ 2 w 684"/>
                <a:gd name="T93" fmla="*/ 2 h 240"/>
                <a:gd name="T94" fmla="*/ 0 w 684"/>
                <a:gd name="T95" fmla="*/ 2 h 240"/>
                <a:gd name="T96" fmla="*/ 1 w 684"/>
                <a:gd name="T97" fmla="*/ 2 h 240"/>
                <a:gd name="T98" fmla="*/ 1 w 684"/>
                <a:gd name="T99" fmla="*/ 1 h 240"/>
                <a:gd name="T100" fmla="*/ 2 w 684"/>
                <a:gd name="T101" fmla="*/ 1 h 240"/>
                <a:gd name="T102" fmla="*/ 2 w 684"/>
                <a:gd name="T103" fmla="*/ 1 h 240"/>
                <a:gd name="T104" fmla="*/ 2 w 684"/>
                <a:gd name="T105" fmla="*/ 1 h 240"/>
                <a:gd name="T106" fmla="*/ 1 w 684"/>
                <a:gd name="T107" fmla="*/ 1 h 240"/>
                <a:gd name="T108" fmla="*/ 1 w 684"/>
                <a:gd name="T109" fmla="*/ 1 h 240"/>
                <a:gd name="T110" fmla="*/ 1 w 684"/>
                <a:gd name="T111" fmla="*/ 1 h 240"/>
                <a:gd name="T112" fmla="*/ 1 w 684"/>
                <a:gd name="T113" fmla="*/ 1 h 240"/>
                <a:gd name="T114" fmla="*/ 1 w 684"/>
                <a:gd name="T115" fmla="*/ 1 h 240"/>
                <a:gd name="T116" fmla="*/ 1 w 684"/>
                <a:gd name="T117" fmla="*/ 1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7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2 w 332"/>
                <a:gd name="T1" fmla="*/ 0 h 287"/>
                <a:gd name="T2" fmla="*/ 2 w 332"/>
                <a:gd name="T3" fmla="*/ 0 h 287"/>
                <a:gd name="T4" fmla="*/ 3 w 332"/>
                <a:gd name="T5" fmla="*/ 0 h 287"/>
                <a:gd name="T6" fmla="*/ 3 w 332"/>
                <a:gd name="T7" fmla="*/ 0 h 287"/>
                <a:gd name="T8" fmla="*/ 3 w 332"/>
                <a:gd name="T9" fmla="*/ 0 h 287"/>
                <a:gd name="T10" fmla="*/ 3 w 332"/>
                <a:gd name="T11" fmla="*/ 0 h 287"/>
                <a:gd name="T12" fmla="*/ 3 w 332"/>
                <a:gd name="T13" fmla="*/ 0 h 287"/>
                <a:gd name="T14" fmla="*/ 2 w 332"/>
                <a:gd name="T15" fmla="*/ 1 h 287"/>
                <a:gd name="T16" fmla="*/ 2 w 332"/>
                <a:gd name="T17" fmla="*/ 1 h 287"/>
                <a:gd name="T18" fmla="*/ 2 w 332"/>
                <a:gd name="T19" fmla="*/ 1 h 287"/>
                <a:gd name="T20" fmla="*/ 2 w 332"/>
                <a:gd name="T21" fmla="*/ 1 h 287"/>
                <a:gd name="T22" fmla="*/ 2 w 332"/>
                <a:gd name="T23" fmla="*/ 1 h 287"/>
                <a:gd name="T24" fmla="*/ 2 w 332"/>
                <a:gd name="T25" fmla="*/ 1 h 287"/>
                <a:gd name="T26" fmla="*/ 3 w 332"/>
                <a:gd name="T27" fmla="*/ 1 h 287"/>
                <a:gd name="T28" fmla="*/ 2 w 332"/>
                <a:gd name="T29" fmla="*/ 1 h 287"/>
                <a:gd name="T30" fmla="*/ 2 w 332"/>
                <a:gd name="T31" fmla="*/ 1 h 287"/>
                <a:gd name="T32" fmla="*/ 2 w 332"/>
                <a:gd name="T33" fmla="*/ 1 h 287"/>
                <a:gd name="T34" fmla="*/ 3 w 332"/>
                <a:gd name="T35" fmla="*/ 1 h 287"/>
                <a:gd name="T36" fmla="*/ 4 w 332"/>
                <a:gd name="T37" fmla="*/ 1 h 287"/>
                <a:gd name="T38" fmla="*/ 4 w 332"/>
                <a:gd name="T39" fmla="*/ 2 h 287"/>
                <a:gd name="T40" fmla="*/ 4 w 332"/>
                <a:gd name="T41" fmla="*/ 2 h 287"/>
                <a:gd name="T42" fmla="*/ 3 w 332"/>
                <a:gd name="T43" fmla="*/ 2 h 287"/>
                <a:gd name="T44" fmla="*/ 3 w 332"/>
                <a:gd name="T45" fmla="*/ 2 h 287"/>
                <a:gd name="T46" fmla="*/ 3 w 332"/>
                <a:gd name="T47" fmla="*/ 2 h 287"/>
                <a:gd name="T48" fmla="*/ 4 w 332"/>
                <a:gd name="T49" fmla="*/ 2 h 287"/>
                <a:gd name="T50" fmla="*/ 4 w 332"/>
                <a:gd name="T51" fmla="*/ 2 h 287"/>
                <a:gd name="T52" fmla="*/ 4 w 332"/>
                <a:gd name="T53" fmla="*/ 2 h 287"/>
                <a:gd name="T54" fmla="*/ 3 w 332"/>
                <a:gd name="T55" fmla="*/ 2 h 287"/>
                <a:gd name="T56" fmla="*/ 3 w 332"/>
                <a:gd name="T57" fmla="*/ 3 h 287"/>
                <a:gd name="T58" fmla="*/ 2 w 332"/>
                <a:gd name="T59" fmla="*/ 3 h 287"/>
                <a:gd name="T60" fmla="*/ 2 w 332"/>
                <a:gd name="T61" fmla="*/ 3 h 287"/>
                <a:gd name="T62" fmla="*/ 2 w 332"/>
                <a:gd name="T63" fmla="*/ 3 h 287"/>
                <a:gd name="T64" fmla="*/ 2 w 332"/>
                <a:gd name="T65" fmla="*/ 3 h 287"/>
                <a:gd name="T66" fmla="*/ 2 w 332"/>
                <a:gd name="T67" fmla="*/ 3 h 287"/>
                <a:gd name="T68" fmla="*/ 2 w 332"/>
                <a:gd name="T69" fmla="*/ 3 h 287"/>
                <a:gd name="T70" fmla="*/ 1 w 332"/>
                <a:gd name="T71" fmla="*/ 3 h 287"/>
                <a:gd name="T72" fmla="*/ 1 w 332"/>
                <a:gd name="T73" fmla="*/ 3 h 287"/>
                <a:gd name="T74" fmla="*/ 0 w 332"/>
                <a:gd name="T75" fmla="*/ 3 h 287"/>
                <a:gd name="T76" fmla="*/ 0 w 332"/>
                <a:gd name="T77" fmla="*/ 3 h 287"/>
                <a:gd name="T78" fmla="*/ 0 w 332"/>
                <a:gd name="T79" fmla="*/ 2 h 287"/>
                <a:gd name="T80" fmla="*/ 0 w 332"/>
                <a:gd name="T81" fmla="*/ 2 h 287"/>
                <a:gd name="T82" fmla="*/ 0 w 332"/>
                <a:gd name="T83" fmla="*/ 2 h 287"/>
                <a:gd name="T84" fmla="*/ 0 w 332"/>
                <a:gd name="T85" fmla="*/ 2 h 287"/>
                <a:gd name="T86" fmla="*/ 0 w 332"/>
                <a:gd name="T87" fmla="*/ 2 h 287"/>
                <a:gd name="T88" fmla="*/ 1 w 332"/>
                <a:gd name="T89" fmla="*/ 2 h 287"/>
                <a:gd name="T90" fmla="*/ 1 w 332"/>
                <a:gd name="T91" fmla="*/ 2 h 287"/>
                <a:gd name="T92" fmla="*/ 1 w 332"/>
                <a:gd name="T93" fmla="*/ 2 h 287"/>
                <a:gd name="T94" fmla="*/ 1 w 332"/>
                <a:gd name="T95" fmla="*/ 2 h 287"/>
                <a:gd name="T96" fmla="*/ 1 w 332"/>
                <a:gd name="T97" fmla="*/ 1 h 287"/>
                <a:gd name="T98" fmla="*/ 2 w 332"/>
                <a:gd name="T99" fmla="*/ 1 h 287"/>
                <a:gd name="T100" fmla="*/ 2 w 332"/>
                <a:gd name="T101" fmla="*/ 1 h 287"/>
                <a:gd name="T102" fmla="*/ 2 w 332"/>
                <a:gd name="T103" fmla="*/ 1 h 287"/>
                <a:gd name="T104" fmla="*/ 2 w 332"/>
                <a:gd name="T105" fmla="*/ 1 h 287"/>
                <a:gd name="T106" fmla="*/ 2 w 332"/>
                <a:gd name="T107" fmla="*/ 0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8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 w 345"/>
                <a:gd name="T1" fmla="*/ 1 h 86"/>
                <a:gd name="T2" fmla="*/ 1 w 345"/>
                <a:gd name="T3" fmla="*/ 1 h 86"/>
                <a:gd name="T4" fmla="*/ 2 w 345"/>
                <a:gd name="T5" fmla="*/ 1 h 86"/>
                <a:gd name="T6" fmla="*/ 2 w 345"/>
                <a:gd name="T7" fmla="*/ 1 h 86"/>
                <a:gd name="T8" fmla="*/ 2 w 345"/>
                <a:gd name="T9" fmla="*/ 1 h 86"/>
                <a:gd name="T10" fmla="*/ 2 w 345"/>
                <a:gd name="T11" fmla="*/ 1 h 86"/>
                <a:gd name="T12" fmla="*/ 3 w 345"/>
                <a:gd name="T13" fmla="*/ 1 h 86"/>
                <a:gd name="T14" fmla="*/ 3 w 345"/>
                <a:gd name="T15" fmla="*/ 1 h 86"/>
                <a:gd name="T16" fmla="*/ 3 w 345"/>
                <a:gd name="T17" fmla="*/ 1 h 86"/>
                <a:gd name="T18" fmla="*/ 3 w 345"/>
                <a:gd name="T19" fmla="*/ 0 h 86"/>
                <a:gd name="T20" fmla="*/ 3 w 345"/>
                <a:gd name="T21" fmla="*/ 0 h 86"/>
                <a:gd name="T22" fmla="*/ 3 w 345"/>
                <a:gd name="T23" fmla="*/ 0 h 86"/>
                <a:gd name="T24" fmla="*/ 4 w 345"/>
                <a:gd name="T25" fmla="*/ 0 h 86"/>
                <a:gd name="T26" fmla="*/ 4 w 345"/>
                <a:gd name="T27" fmla="*/ 0 h 86"/>
                <a:gd name="T28" fmla="*/ 4 w 345"/>
                <a:gd name="T29" fmla="*/ 0 h 86"/>
                <a:gd name="T30" fmla="*/ 4 w 345"/>
                <a:gd name="T31" fmla="*/ 0 h 86"/>
                <a:gd name="T32" fmla="*/ 4 w 345"/>
                <a:gd name="T33" fmla="*/ 0 h 86"/>
                <a:gd name="T34" fmla="*/ 4 w 345"/>
                <a:gd name="T35" fmla="*/ 0 h 86"/>
                <a:gd name="T36" fmla="*/ 3 w 345"/>
                <a:gd name="T37" fmla="*/ 0 h 86"/>
                <a:gd name="T38" fmla="*/ 3 w 345"/>
                <a:gd name="T39" fmla="*/ 0 h 86"/>
                <a:gd name="T40" fmla="*/ 3 w 345"/>
                <a:gd name="T41" fmla="*/ 0 h 86"/>
                <a:gd name="T42" fmla="*/ 3 w 345"/>
                <a:gd name="T43" fmla="*/ 0 h 86"/>
                <a:gd name="T44" fmla="*/ 3 w 345"/>
                <a:gd name="T45" fmla="*/ 0 h 86"/>
                <a:gd name="T46" fmla="*/ 3 w 345"/>
                <a:gd name="T47" fmla="*/ 0 h 86"/>
                <a:gd name="T48" fmla="*/ 3 w 345"/>
                <a:gd name="T49" fmla="*/ 0 h 86"/>
                <a:gd name="T50" fmla="*/ 2 w 345"/>
                <a:gd name="T51" fmla="*/ 0 h 86"/>
                <a:gd name="T52" fmla="*/ 2 w 345"/>
                <a:gd name="T53" fmla="*/ 0 h 86"/>
                <a:gd name="T54" fmla="*/ 2 w 345"/>
                <a:gd name="T55" fmla="*/ 0 h 86"/>
                <a:gd name="T56" fmla="*/ 1 w 345"/>
                <a:gd name="T57" fmla="*/ 0 h 86"/>
                <a:gd name="T58" fmla="*/ 1 w 345"/>
                <a:gd name="T59" fmla="*/ 0 h 86"/>
                <a:gd name="T60" fmla="*/ 1 w 345"/>
                <a:gd name="T61" fmla="*/ 0 h 86"/>
                <a:gd name="T62" fmla="*/ 1 w 345"/>
                <a:gd name="T63" fmla="*/ 1 h 86"/>
                <a:gd name="T64" fmla="*/ 1 w 345"/>
                <a:gd name="T65" fmla="*/ 1 h 86"/>
                <a:gd name="T66" fmla="*/ 0 w 345"/>
                <a:gd name="T67" fmla="*/ 1 h 86"/>
                <a:gd name="T68" fmla="*/ 0 w 345"/>
                <a:gd name="T69" fmla="*/ 1 h 86"/>
                <a:gd name="T70" fmla="*/ 0 w 345"/>
                <a:gd name="T71" fmla="*/ 1 h 86"/>
                <a:gd name="T72" fmla="*/ 0 w 345"/>
                <a:gd name="T73" fmla="*/ 1 h 86"/>
                <a:gd name="T74" fmla="*/ 1 w 345"/>
                <a:gd name="T75" fmla="*/ 1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9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0 w 464"/>
                <a:gd name="T1" fmla="*/ 1 h 130"/>
                <a:gd name="T2" fmla="*/ 1 w 464"/>
                <a:gd name="T3" fmla="*/ 1 h 130"/>
                <a:gd name="T4" fmla="*/ 1 w 464"/>
                <a:gd name="T5" fmla="*/ 1 h 130"/>
                <a:gd name="T6" fmla="*/ 1 w 464"/>
                <a:gd name="T7" fmla="*/ 1 h 130"/>
                <a:gd name="T8" fmla="*/ 1 w 464"/>
                <a:gd name="T9" fmla="*/ 1 h 130"/>
                <a:gd name="T10" fmla="*/ 1 w 464"/>
                <a:gd name="T11" fmla="*/ 1 h 130"/>
                <a:gd name="T12" fmla="*/ 1 w 464"/>
                <a:gd name="T13" fmla="*/ 1 h 130"/>
                <a:gd name="T14" fmla="*/ 1 w 464"/>
                <a:gd name="T15" fmla="*/ 2 h 130"/>
                <a:gd name="T16" fmla="*/ 1 w 464"/>
                <a:gd name="T17" fmla="*/ 2 h 130"/>
                <a:gd name="T18" fmla="*/ 1 w 464"/>
                <a:gd name="T19" fmla="*/ 2 h 130"/>
                <a:gd name="T20" fmla="*/ 1 w 464"/>
                <a:gd name="T21" fmla="*/ 2 h 130"/>
                <a:gd name="T22" fmla="*/ 2 w 464"/>
                <a:gd name="T23" fmla="*/ 1 h 130"/>
                <a:gd name="T24" fmla="*/ 2 w 464"/>
                <a:gd name="T25" fmla="*/ 1 h 130"/>
                <a:gd name="T26" fmla="*/ 2 w 464"/>
                <a:gd name="T27" fmla="*/ 1 h 130"/>
                <a:gd name="T28" fmla="*/ 3 w 464"/>
                <a:gd name="T29" fmla="*/ 1 h 130"/>
                <a:gd name="T30" fmla="*/ 3 w 464"/>
                <a:gd name="T31" fmla="*/ 1 h 130"/>
                <a:gd name="T32" fmla="*/ 3 w 464"/>
                <a:gd name="T33" fmla="*/ 1 h 130"/>
                <a:gd name="T34" fmla="*/ 4 w 464"/>
                <a:gd name="T35" fmla="*/ 1 h 130"/>
                <a:gd name="T36" fmla="*/ 4 w 464"/>
                <a:gd name="T37" fmla="*/ 1 h 130"/>
                <a:gd name="T38" fmla="*/ 4 w 464"/>
                <a:gd name="T39" fmla="*/ 1 h 130"/>
                <a:gd name="T40" fmla="*/ 5 w 464"/>
                <a:gd name="T41" fmla="*/ 1 h 130"/>
                <a:gd name="T42" fmla="*/ 5 w 464"/>
                <a:gd name="T43" fmla="*/ 1 h 130"/>
                <a:gd name="T44" fmla="*/ 4 w 464"/>
                <a:gd name="T45" fmla="*/ 1 h 130"/>
                <a:gd name="T46" fmla="*/ 4 w 464"/>
                <a:gd name="T47" fmla="*/ 1 h 130"/>
                <a:gd name="T48" fmla="*/ 4 w 464"/>
                <a:gd name="T49" fmla="*/ 1 h 130"/>
                <a:gd name="T50" fmla="*/ 4 w 464"/>
                <a:gd name="T51" fmla="*/ 0 h 130"/>
                <a:gd name="T52" fmla="*/ 4 w 464"/>
                <a:gd name="T53" fmla="*/ 0 h 130"/>
                <a:gd name="T54" fmla="*/ 4 w 464"/>
                <a:gd name="T55" fmla="*/ 0 h 130"/>
                <a:gd name="T56" fmla="*/ 4 w 464"/>
                <a:gd name="T57" fmla="*/ 0 h 130"/>
                <a:gd name="T58" fmla="*/ 4 w 464"/>
                <a:gd name="T59" fmla="*/ 0 h 130"/>
                <a:gd name="T60" fmla="*/ 4 w 464"/>
                <a:gd name="T61" fmla="*/ 1 h 130"/>
                <a:gd name="T62" fmla="*/ 4 w 464"/>
                <a:gd name="T63" fmla="*/ 1 h 130"/>
                <a:gd name="T64" fmla="*/ 3 w 464"/>
                <a:gd name="T65" fmla="*/ 1 h 130"/>
                <a:gd name="T66" fmla="*/ 3 w 464"/>
                <a:gd name="T67" fmla="*/ 1 h 130"/>
                <a:gd name="T68" fmla="*/ 3 w 464"/>
                <a:gd name="T69" fmla="*/ 1 h 130"/>
                <a:gd name="T70" fmla="*/ 3 w 464"/>
                <a:gd name="T71" fmla="*/ 1 h 130"/>
                <a:gd name="T72" fmla="*/ 3 w 464"/>
                <a:gd name="T73" fmla="*/ 1 h 130"/>
                <a:gd name="T74" fmla="*/ 2 w 464"/>
                <a:gd name="T75" fmla="*/ 0 h 130"/>
                <a:gd name="T76" fmla="*/ 2 w 464"/>
                <a:gd name="T77" fmla="*/ 0 h 130"/>
                <a:gd name="T78" fmla="*/ 2 w 464"/>
                <a:gd name="T79" fmla="*/ 0 h 130"/>
                <a:gd name="T80" fmla="*/ 1 w 464"/>
                <a:gd name="T81" fmla="*/ 0 h 130"/>
                <a:gd name="T82" fmla="*/ 1 w 464"/>
                <a:gd name="T83" fmla="*/ 1 h 130"/>
                <a:gd name="T84" fmla="*/ 1 w 464"/>
                <a:gd name="T85" fmla="*/ 1 h 130"/>
                <a:gd name="T86" fmla="*/ 0 w 464"/>
                <a:gd name="T87" fmla="*/ 1 h 130"/>
                <a:gd name="T88" fmla="*/ 0 w 464"/>
                <a:gd name="T89" fmla="*/ 1 h 130"/>
                <a:gd name="T90" fmla="*/ 0 w 464"/>
                <a:gd name="T91" fmla="*/ 1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0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1 w 472"/>
                <a:gd name="T1" fmla="*/ 0 h 92"/>
                <a:gd name="T2" fmla="*/ 1 w 472"/>
                <a:gd name="T3" fmla="*/ 0 h 92"/>
                <a:gd name="T4" fmla="*/ 0 w 472"/>
                <a:gd name="T5" fmla="*/ 0 h 92"/>
                <a:gd name="T6" fmla="*/ 0 w 472"/>
                <a:gd name="T7" fmla="*/ 0 h 92"/>
                <a:gd name="T8" fmla="*/ 0 w 472"/>
                <a:gd name="T9" fmla="*/ 0 h 92"/>
                <a:gd name="T10" fmla="*/ 0 w 472"/>
                <a:gd name="T11" fmla="*/ 0 h 92"/>
                <a:gd name="T12" fmla="*/ 0 w 472"/>
                <a:gd name="T13" fmla="*/ 0 h 92"/>
                <a:gd name="T14" fmla="*/ 0 w 472"/>
                <a:gd name="T15" fmla="*/ 0 h 92"/>
                <a:gd name="T16" fmla="*/ 0 w 472"/>
                <a:gd name="T17" fmla="*/ 1 h 92"/>
                <a:gd name="T18" fmla="*/ 0 w 472"/>
                <a:gd name="T19" fmla="*/ 1 h 92"/>
                <a:gd name="T20" fmla="*/ 0 w 472"/>
                <a:gd name="T21" fmla="*/ 1 h 92"/>
                <a:gd name="T22" fmla="*/ 0 w 472"/>
                <a:gd name="T23" fmla="*/ 1 h 92"/>
                <a:gd name="T24" fmla="*/ 0 w 472"/>
                <a:gd name="T25" fmla="*/ 1 h 92"/>
                <a:gd name="T26" fmla="*/ 1 w 472"/>
                <a:gd name="T27" fmla="*/ 1 h 92"/>
                <a:gd name="T28" fmla="*/ 1 w 472"/>
                <a:gd name="T29" fmla="*/ 1 h 92"/>
                <a:gd name="T30" fmla="*/ 2 w 472"/>
                <a:gd name="T31" fmla="*/ 1 h 92"/>
                <a:gd name="T32" fmla="*/ 4 w 472"/>
                <a:gd name="T33" fmla="*/ 1 h 92"/>
                <a:gd name="T34" fmla="*/ 4 w 472"/>
                <a:gd name="T35" fmla="*/ 1 h 92"/>
                <a:gd name="T36" fmla="*/ 4 w 472"/>
                <a:gd name="T37" fmla="*/ 1 h 92"/>
                <a:gd name="T38" fmla="*/ 5 w 472"/>
                <a:gd name="T39" fmla="*/ 1 h 92"/>
                <a:gd name="T40" fmla="*/ 5 w 472"/>
                <a:gd name="T41" fmla="*/ 1 h 92"/>
                <a:gd name="T42" fmla="*/ 5 w 472"/>
                <a:gd name="T43" fmla="*/ 1 h 92"/>
                <a:gd name="T44" fmla="*/ 5 w 472"/>
                <a:gd name="T45" fmla="*/ 1 h 92"/>
                <a:gd name="T46" fmla="*/ 5 w 472"/>
                <a:gd name="T47" fmla="*/ 1 h 92"/>
                <a:gd name="T48" fmla="*/ 5 w 472"/>
                <a:gd name="T49" fmla="*/ 0 h 92"/>
                <a:gd name="T50" fmla="*/ 5 w 472"/>
                <a:gd name="T51" fmla="*/ 0 h 92"/>
                <a:gd name="T52" fmla="*/ 5 w 472"/>
                <a:gd name="T53" fmla="*/ 0 h 92"/>
                <a:gd name="T54" fmla="*/ 5 w 472"/>
                <a:gd name="T55" fmla="*/ 0 h 92"/>
                <a:gd name="T56" fmla="*/ 5 w 472"/>
                <a:gd name="T57" fmla="*/ 0 h 92"/>
                <a:gd name="T58" fmla="*/ 4 w 472"/>
                <a:gd name="T59" fmla="*/ 0 h 92"/>
                <a:gd name="T60" fmla="*/ 4 w 472"/>
                <a:gd name="T61" fmla="*/ 0 h 92"/>
                <a:gd name="T62" fmla="*/ 4 w 472"/>
                <a:gd name="T63" fmla="*/ 0 h 92"/>
                <a:gd name="T64" fmla="*/ 3 w 472"/>
                <a:gd name="T65" fmla="*/ 0 h 92"/>
                <a:gd name="T66" fmla="*/ 3 w 472"/>
                <a:gd name="T67" fmla="*/ 1 h 92"/>
                <a:gd name="T68" fmla="*/ 3 w 472"/>
                <a:gd name="T69" fmla="*/ 1 h 92"/>
                <a:gd name="T70" fmla="*/ 2 w 472"/>
                <a:gd name="T71" fmla="*/ 1 h 92"/>
                <a:gd name="T72" fmla="*/ 2 w 472"/>
                <a:gd name="T73" fmla="*/ 1 h 92"/>
                <a:gd name="T74" fmla="*/ 1 w 472"/>
                <a:gd name="T75" fmla="*/ 1 h 92"/>
                <a:gd name="T76" fmla="*/ 1 w 472"/>
                <a:gd name="T77" fmla="*/ 1 h 92"/>
                <a:gd name="T78" fmla="*/ 1 w 472"/>
                <a:gd name="T79" fmla="*/ 0 h 92"/>
                <a:gd name="T80" fmla="*/ 1 w 472"/>
                <a:gd name="T81" fmla="*/ 0 h 92"/>
                <a:gd name="T82" fmla="*/ 1 w 472"/>
                <a:gd name="T83" fmla="*/ 0 h 92"/>
                <a:gd name="T84" fmla="*/ 1 w 472"/>
                <a:gd name="T85" fmla="*/ 0 h 92"/>
                <a:gd name="T86" fmla="*/ 1 w 472"/>
                <a:gd name="T87" fmla="*/ 0 h 92"/>
                <a:gd name="T88" fmla="*/ 1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1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2 w 326"/>
                <a:gd name="T1" fmla="*/ 1 h 135"/>
                <a:gd name="T2" fmla="*/ 2 w 326"/>
                <a:gd name="T3" fmla="*/ 1 h 135"/>
                <a:gd name="T4" fmla="*/ 3 w 326"/>
                <a:gd name="T5" fmla="*/ 1 h 135"/>
                <a:gd name="T6" fmla="*/ 3 w 326"/>
                <a:gd name="T7" fmla="*/ 1 h 135"/>
                <a:gd name="T8" fmla="*/ 4 w 326"/>
                <a:gd name="T9" fmla="*/ 1 h 135"/>
                <a:gd name="T10" fmla="*/ 4 w 326"/>
                <a:gd name="T11" fmla="*/ 1 h 135"/>
                <a:gd name="T12" fmla="*/ 4 w 326"/>
                <a:gd name="T13" fmla="*/ 1 h 135"/>
                <a:gd name="T14" fmla="*/ 3 w 326"/>
                <a:gd name="T15" fmla="*/ 1 h 135"/>
                <a:gd name="T16" fmla="*/ 3 w 326"/>
                <a:gd name="T17" fmla="*/ 0 h 135"/>
                <a:gd name="T18" fmla="*/ 3 w 326"/>
                <a:gd name="T19" fmla="*/ 0 h 135"/>
                <a:gd name="T20" fmla="*/ 3 w 326"/>
                <a:gd name="T21" fmla="*/ 0 h 135"/>
                <a:gd name="T22" fmla="*/ 2 w 326"/>
                <a:gd name="T23" fmla="*/ 0 h 135"/>
                <a:gd name="T24" fmla="*/ 2 w 326"/>
                <a:gd name="T25" fmla="*/ 0 h 135"/>
                <a:gd name="T26" fmla="*/ 2 w 326"/>
                <a:gd name="T27" fmla="*/ 0 h 135"/>
                <a:gd name="T28" fmla="*/ 2 w 326"/>
                <a:gd name="T29" fmla="*/ 0 h 135"/>
                <a:gd name="T30" fmla="*/ 2 w 326"/>
                <a:gd name="T31" fmla="*/ 0 h 135"/>
                <a:gd name="T32" fmla="*/ 2 w 326"/>
                <a:gd name="T33" fmla="*/ 0 h 135"/>
                <a:gd name="T34" fmla="*/ 2 w 326"/>
                <a:gd name="T35" fmla="*/ 0 h 135"/>
                <a:gd name="T36" fmla="*/ 1 w 326"/>
                <a:gd name="T37" fmla="*/ 0 h 135"/>
                <a:gd name="T38" fmla="*/ 1 w 326"/>
                <a:gd name="T39" fmla="*/ 0 h 135"/>
                <a:gd name="T40" fmla="*/ 0 w 326"/>
                <a:gd name="T41" fmla="*/ 0 h 135"/>
                <a:gd name="T42" fmla="*/ 0 w 326"/>
                <a:gd name="T43" fmla="*/ 0 h 135"/>
                <a:gd name="T44" fmla="*/ 0 w 326"/>
                <a:gd name="T45" fmla="*/ 1 h 135"/>
                <a:gd name="T46" fmla="*/ 0 w 326"/>
                <a:gd name="T47" fmla="*/ 1 h 135"/>
                <a:gd name="T48" fmla="*/ 0 w 326"/>
                <a:gd name="T49" fmla="*/ 1 h 135"/>
                <a:gd name="T50" fmla="*/ 1 w 326"/>
                <a:gd name="T51" fmla="*/ 1 h 135"/>
                <a:gd name="T52" fmla="*/ 0 w 326"/>
                <a:gd name="T53" fmla="*/ 1 h 135"/>
                <a:gd name="T54" fmla="*/ 0 w 326"/>
                <a:gd name="T55" fmla="*/ 1 h 135"/>
                <a:gd name="T56" fmla="*/ 1 w 326"/>
                <a:gd name="T57" fmla="*/ 1 h 135"/>
                <a:gd name="T58" fmla="*/ 1 w 326"/>
                <a:gd name="T59" fmla="*/ 2 h 135"/>
                <a:gd name="T60" fmla="*/ 1 w 326"/>
                <a:gd name="T61" fmla="*/ 2 h 135"/>
                <a:gd name="T62" fmla="*/ 1 w 326"/>
                <a:gd name="T63" fmla="*/ 2 h 135"/>
                <a:gd name="T64" fmla="*/ 1 w 326"/>
                <a:gd name="T65" fmla="*/ 2 h 135"/>
                <a:gd name="T66" fmla="*/ 1 w 326"/>
                <a:gd name="T67" fmla="*/ 2 h 135"/>
                <a:gd name="T68" fmla="*/ 1 w 326"/>
                <a:gd name="T69" fmla="*/ 2 h 135"/>
                <a:gd name="T70" fmla="*/ 1 w 326"/>
                <a:gd name="T71" fmla="*/ 1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2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 w 159"/>
                <a:gd name="T1" fmla="*/ 1 h 56"/>
                <a:gd name="T2" fmla="*/ 0 w 159"/>
                <a:gd name="T3" fmla="*/ 1 h 56"/>
                <a:gd name="T4" fmla="*/ 0 w 159"/>
                <a:gd name="T5" fmla="*/ 1 h 56"/>
                <a:gd name="T6" fmla="*/ 0 w 159"/>
                <a:gd name="T7" fmla="*/ 1 h 56"/>
                <a:gd name="T8" fmla="*/ 0 w 159"/>
                <a:gd name="T9" fmla="*/ 0 h 56"/>
                <a:gd name="T10" fmla="*/ 0 w 159"/>
                <a:gd name="T11" fmla="*/ 0 h 56"/>
                <a:gd name="T12" fmla="*/ 0 w 159"/>
                <a:gd name="T13" fmla="*/ 0 h 56"/>
                <a:gd name="T14" fmla="*/ 0 w 159"/>
                <a:gd name="T15" fmla="*/ 0 h 56"/>
                <a:gd name="T16" fmla="*/ 0 w 159"/>
                <a:gd name="T17" fmla="*/ 0 h 56"/>
                <a:gd name="T18" fmla="*/ 0 w 159"/>
                <a:gd name="T19" fmla="*/ 0 h 56"/>
                <a:gd name="T20" fmla="*/ 0 w 159"/>
                <a:gd name="T21" fmla="*/ 0 h 56"/>
                <a:gd name="T22" fmla="*/ 0 w 159"/>
                <a:gd name="T23" fmla="*/ 0 h 56"/>
                <a:gd name="T24" fmla="*/ 0 w 159"/>
                <a:gd name="T25" fmla="*/ 0 h 56"/>
                <a:gd name="T26" fmla="*/ 1 w 159"/>
                <a:gd name="T27" fmla="*/ 0 h 56"/>
                <a:gd name="T28" fmla="*/ 1 w 159"/>
                <a:gd name="T29" fmla="*/ 0 h 56"/>
                <a:gd name="T30" fmla="*/ 1 w 159"/>
                <a:gd name="T31" fmla="*/ 0 h 56"/>
                <a:gd name="T32" fmla="*/ 1 w 159"/>
                <a:gd name="T33" fmla="*/ 0 h 56"/>
                <a:gd name="T34" fmla="*/ 1 w 159"/>
                <a:gd name="T35" fmla="*/ 0 h 56"/>
                <a:gd name="T36" fmla="*/ 1 w 159"/>
                <a:gd name="T37" fmla="*/ 0 h 56"/>
                <a:gd name="T38" fmla="*/ 1 w 159"/>
                <a:gd name="T39" fmla="*/ 0 h 56"/>
                <a:gd name="T40" fmla="*/ 2 w 159"/>
                <a:gd name="T41" fmla="*/ 0 h 56"/>
                <a:gd name="T42" fmla="*/ 2 w 159"/>
                <a:gd name="T43" fmla="*/ 0 h 56"/>
                <a:gd name="T44" fmla="*/ 2 w 159"/>
                <a:gd name="T45" fmla="*/ 0 h 56"/>
                <a:gd name="T46" fmla="*/ 2 w 159"/>
                <a:gd name="T47" fmla="*/ 0 h 56"/>
                <a:gd name="T48" fmla="*/ 2 w 159"/>
                <a:gd name="T49" fmla="*/ 0 h 56"/>
                <a:gd name="T50" fmla="*/ 2 w 159"/>
                <a:gd name="T51" fmla="*/ 0 h 56"/>
                <a:gd name="T52" fmla="*/ 2 w 159"/>
                <a:gd name="T53" fmla="*/ 0 h 56"/>
                <a:gd name="T54" fmla="*/ 2 w 159"/>
                <a:gd name="T55" fmla="*/ 1 h 56"/>
                <a:gd name="T56" fmla="*/ 2 w 159"/>
                <a:gd name="T57" fmla="*/ 1 h 56"/>
                <a:gd name="T58" fmla="*/ 1 w 159"/>
                <a:gd name="T59" fmla="*/ 1 h 56"/>
                <a:gd name="T60" fmla="*/ 1 w 159"/>
                <a:gd name="T61" fmla="*/ 1 h 56"/>
                <a:gd name="T62" fmla="*/ 1 w 159"/>
                <a:gd name="T63" fmla="*/ 1 h 56"/>
                <a:gd name="T64" fmla="*/ 1 w 159"/>
                <a:gd name="T65" fmla="*/ 1 h 56"/>
                <a:gd name="T66" fmla="*/ 1 w 159"/>
                <a:gd name="T67" fmla="*/ 1 h 56"/>
                <a:gd name="T68" fmla="*/ 1 w 159"/>
                <a:gd name="T69" fmla="*/ 1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3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32 w 3734"/>
                <a:gd name="T1" fmla="*/ 16 h 1644"/>
                <a:gd name="T2" fmla="*/ 28 w 3734"/>
                <a:gd name="T3" fmla="*/ 18 h 1644"/>
                <a:gd name="T4" fmla="*/ 25 w 3734"/>
                <a:gd name="T5" fmla="*/ 18 h 1644"/>
                <a:gd name="T6" fmla="*/ 25 w 3734"/>
                <a:gd name="T7" fmla="*/ 19 h 1644"/>
                <a:gd name="T8" fmla="*/ 24 w 3734"/>
                <a:gd name="T9" fmla="*/ 19 h 1644"/>
                <a:gd name="T10" fmla="*/ 25 w 3734"/>
                <a:gd name="T11" fmla="*/ 17 h 1644"/>
                <a:gd name="T12" fmla="*/ 24 w 3734"/>
                <a:gd name="T13" fmla="*/ 16 h 1644"/>
                <a:gd name="T14" fmla="*/ 23 w 3734"/>
                <a:gd name="T15" fmla="*/ 15 h 1644"/>
                <a:gd name="T16" fmla="*/ 21 w 3734"/>
                <a:gd name="T17" fmla="*/ 15 h 1644"/>
                <a:gd name="T18" fmla="*/ 19 w 3734"/>
                <a:gd name="T19" fmla="*/ 15 h 1644"/>
                <a:gd name="T20" fmla="*/ 3 w 3734"/>
                <a:gd name="T21" fmla="*/ 14 h 1644"/>
                <a:gd name="T22" fmla="*/ 1 w 3734"/>
                <a:gd name="T23" fmla="*/ 13 h 1644"/>
                <a:gd name="T24" fmla="*/ 2 w 3734"/>
                <a:gd name="T25" fmla="*/ 12 h 1644"/>
                <a:gd name="T26" fmla="*/ 2 w 3734"/>
                <a:gd name="T27" fmla="*/ 11 h 1644"/>
                <a:gd name="T28" fmla="*/ 3 w 3734"/>
                <a:gd name="T29" fmla="*/ 10 h 1644"/>
                <a:gd name="T30" fmla="*/ 3 w 3734"/>
                <a:gd name="T31" fmla="*/ 9 h 1644"/>
                <a:gd name="T32" fmla="*/ 1 w 3734"/>
                <a:gd name="T33" fmla="*/ 8 h 1644"/>
                <a:gd name="T34" fmla="*/ 6 w 3734"/>
                <a:gd name="T35" fmla="*/ 1 h 1644"/>
                <a:gd name="T36" fmla="*/ 12 w 3734"/>
                <a:gd name="T37" fmla="*/ 1 h 1644"/>
                <a:gd name="T38" fmla="*/ 14 w 3734"/>
                <a:gd name="T39" fmla="*/ 1 h 1644"/>
                <a:gd name="T40" fmla="*/ 18 w 3734"/>
                <a:gd name="T41" fmla="*/ 2 h 1644"/>
                <a:gd name="T42" fmla="*/ 19 w 3734"/>
                <a:gd name="T43" fmla="*/ 2 h 1644"/>
                <a:gd name="T44" fmla="*/ 23 w 3734"/>
                <a:gd name="T45" fmla="*/ 2 h 1644"/>
                <a:gd name="T46" fmla="*/ 25 w 3734"/>
                <a:gd name="T47" fmla="*/ 3 h 1644"/>
                <a:gd name="T48" fmla="*/ 25 w 3734"/>
                <a:gd name="T49" fmla="*/ 3 h 1644"/>
                <a:gd name="T50" fmla="*/ 27 w 3734"/>
                <a:gd name="T51" fmla="*/ 1 h 1644"/>
                <a:gd name="T52" fmla="*/ 28 w 3734"/>
                <a:gd name="T53" fmla="*/ 0 h 1644"/>
                <a:gd name="T54" fmla="*/ 29 w 3734"/>
                <a:gd name="T55" fmla="*/ 1 h 1644"/>
                <a:gd name="T56" fmla="*/ 29 w 3734"/>
                <a:gd name="T57" fmla="*/ 2 h 1644"/>
                <a:gd name="T58" fmla="*/ 29 w 3734"/>
                <a:gd name="T59" fmla="*/ 2 h 1644"/>
                <a:gd name="T60" fmla="*/ 31 w 3734"/>
                <a:gd name="T61" fmla="*/ 1 h 1644"/>
                <a:gd name="T62" fmla="*/ 33 w 3734"/>
                <a:gd name="T63" fmla="*/ 2 h 1644"/>
                <a:gd name="T64" fmla="*/ 31 w 3734"/>
                <a:gd name="T65" fmla="*/ 3 h 1644"/>
                <a:gd name="T66" fmla="*/ 30 w 3734"/>
                <a:gd name="T67" fmla="*/ 3 h 1644"/>
                <a:gd name="T68" fmla="*/ 28 w 3734"/>
                <a:gd name="T69" fmla="*/ 4 h 1644"/>
                <a:gd name="T70" fmla="*/ 27 w 3734"/>
                <a:gd name="T71" fmla="*/ 5 h 1644"/>
                <a:gd name="T72" fmla="*/ 25 w 3734"/>
                <a:gd name="T73" fmla="*/ 5 h 1644"/>
                <a:gd name="T74" fmla="*/ 23 w 3734"/>
                <a:gd name="T75" fmla="*/ 7 h 1644"/>
                <a:gd name="T76" fmla="*/ 23 w 3734"/>
                <a:gd name="T77" fmla="*/ 9 h 1644"/>
                <a:gd name="T78" fmla="*/ 25 w 3734"/>
                <a:gd name="T79" fmla="*/ 10 h 1644"/>
                <a:gd name="T80" fmla="*/ 26 w 3734"/>
                <a:gd name="T81" fmla="*/ 12 h 1644"/>
                <a:gd name="T82" fmla="*/ 28 w 3734"/>
                <a:gd name="T83" fmla="*/ 11 h 1644"/>
                <a:gd name="T84" fmla="*/ 31 w 3734"/>
                <a:gd name="T85" fmla="*/ 9 h 1644"/>
                <a:gd name="T86" fmla="*/ 31 w 3734"/>
                <a:gd name="T87" fmla="*/ 7 h 1644"/>
                <a:gd name="T88" fmla="*/ 34 w 3734"/>
                <a:gd name="T89" fmla="*/ 6 h 1644"/>
                <a:gd name="T90" fmla="*/ 35 w 3734"/>
                <a:gd name="T91" fmla="*/ 7 h 1644"/>
                <a:gd name="T92" fmla="*/ 35 w 3734"/>
                <a:gd name="T93" fmla="*/ 9 h 1644"/>
                <a:gd name="T94" fmla="*/ 38 w 3734"/>
                <a:gd name="T95" fmla="*/ 7 h 1644"/>
                <a:gd name="T96" fmla="*/ 38 w 3734"/>
                <a:gd name="T97" fmla="*/ 9 h 1644"/>
                <a:gd name="T98" fmla="*/ 40 w 3734"/>
                <a:gd name="T99" fmla="*/ 10 h 1644"/>
                <a:gd name="T100" fmla="*/ 39 w 3734"/>
                <a:gd name="T101" fmla="*/ 11 h 1644"/>
                <a:gd name="T102" fmla="*/ 40 w 3734"/>
                <a:gd name="T103" fmla="*/ 12 h 1644"/>
                <a:gd name="T104" fmla="*/ 38 w 3734"/>
                <a:gd name="T105" fmla="*/ 13 h 1644"/>
                <a:gd name="T106" fmla="*/ 34 w 3734"/>
                <a:gd name="T107" fmla="*/ 13 h 1644"/>
                <a:gd name="T108" fmla="*/ 31 w 3734"/>
                <a:gd name="T109" fmla="*/ 15 h 1644"/>
                <a:gd name="T110" fmla="*/ 31 w 3734"/>
                <a:gd name="T111" fmla="*/ 15 h 1644"/>
                <a:gd name="T112" fmla="*/ 35 w 3734"/>
                <a:gd name="T113" fmla="*/ 14 h 1644"/>
                <a:gd name="T114" fmla="*/ 33 w 3734"/>
                <a:gd name="T115" fmla="*/ 15 h 1644"/>
                <a:gd name="T116" fmla="*/ 34 w 3734"/>
                <a:gd name="T117" fmla="*/ 16 h 1644"/>
                <a:gd name="T118" fmla="*/ 35 w 3734"/>
                <a:gd name="T119" fmla="*/ 17 h 1644"/>
                <a:gd name="T120" fmla="*/ 33 w 3734"/>
                <a:gd name="T121" fmla="*/ 18 h 1644"/>
                <a:gd name="T122" fmla="*/ 35 w 3734"/>
                <a:gd name="T123" fmla="*/ 17 h 1644"/>
                <a:gd name="T124" fmla="*/ 33 w 3734"/>
                <a:gd name="T125" fmla="*/ 1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24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925878" y="4504953"/>
            <a:ext cx="127000" cy="158750"/>
          </a:xfrm>
          <a:custGeom>
            <a:avLst/>
            <a:gdLst>
              <a:gd name="T0" fmla="*/ 2147483647 w 292"/>
              <a:gd name="T1" fmla="*/ 2147483647 h 308"/>
              <a:gd name="T2" fmla="*/ 2147483647 w 292"/>
              <a:gd name="T3" fmla="*/ 2147483647 h 308"/>
              <a:gd name="T4" fmla="*/ 2147483647 w 292"/>
              <a:gd name="T5" fmla="*/ 2147483647 h 308"/>
              <a:gd name="T6" fmla="*/ 2147483647 w 292"/>
              <a:gd name="T7" fmla="*/ 2147483647 h 308"/>
              <a:gd name="T8" fmla="*/ 2147483647 w 292"/>
              <a:gd name="T9" fmla="*/ 2147483647 h 308"/>
              <a:gd name="T10" fmla="*/ 2147483647 w 292"/>
              <a:gd name="T11" fmla="*/ 2147483647 h 308"/>
              <a:gd name="T12" fmla="*/ 2147483647 w 292"/>
              <a:gd name="T13" fmla="*/ 2147483647 h 308"/>
              <a:gd name="T14" fmla="*/ 2147483647 w 292"/>
              <a:gd name="T15" fmla="*/ 2147483647 h 308"/>
              <a:gd name="T16" fmla="*/ 2147483647 w 292"/>
              <a:gd name="T17" fmla="*/ 2147483647 h 308"/>
              <a:gd name="T18" fmla="*/ 2147483647 w 292"/>
              <a:gd name="T19" fmla="*/ 2147483647 h 308"/>
              <a:gd name="T20" fmla="*/ 2147483647 w 292"/>
              <a:gd name="T21" fmla="*/ 2147483647 h 308"/>
              <a:gd name="T22" fmla="*/ 2147483647 w 292"/>
              <a:gd name="T23" fmla="*/ 2147483647 h 308"/>
              <a:gd name="T24" fmla="*/ 2147483647 w 292"/>
              <a:gd name="T25" fmla="*/ 2147483647 h 308"/>
              <a:gd name="T26" fmla="*/ 2147483647 w 292"/>
              <a:gd name="T27" fmla="*/ 2147483647 h 308"/>
              <a:gd name="T28" fmla="*/ 2147483647 w 292"/>
              <a:gd name="T29" fmla="*/ 2147483647 h 308"/>
              <a:gd name="T30" fmla="*/ 2147483647 w 292"/>
              <a:gd name="T31" fmla="*/ 2147483647 h 308"/>
              <a:gd name="T32" fmla="*/ 2147483647 w 292"/>
              <a:gd name="T33" fmla="*/ 2147483647 h 308"/>
              <a:gd name="T34" fmla="*/ 0 w 292"/>
              <a:gd name="T35" fmla="*/ 2147483647 h 308"/>
              <a:gd name="T36" fmla="*/ 2147483647 w 292"/>
              <a:gd name="T37" fmla="*/ 2147483647 h 308"/>
              <a:gd name="T38" fmla="*/ 2147483647 w 292"/>
              <a:gd name="T39" fmla="*/ 2147483647 h 308"/>
              <a:gd name="T40" fmla="*/ 2147483647 w 292"/>
              <a:gd name="T41" fmla="*/ 2147483647 h 308"/>
              <a:gd name="T42" fmla="*/ 2147483647 w 292"/>
              <a:gd name="T43" fmla="*/ 2147483647 h 308"/>
              <a:gd name="T44" fmla="*/ 2147483647 w 292"/>
              <a:gd name="T45" fmla="*/ 2147483647 h 308"/>
              <a:gd name="T46" fmla="*/ 2147483647 w 292"/>
              <a:gd name="T47" fmla="*/ 2147483647 h 308"/>
              <a:gd name="T48" fmla="*/ 2147483647 w 292"/>
              <a:gd name="T49" fmla="*/ 2147483647 h 308"/>
              <a:gd name="T50" fmla="*/ 2147483647 w 292"/>
              <a:gd name="T51" fmla="*/ 2147483647 h 308"/>
              <a:gd name="T52" fmla="*/ 2147483647 w 292"/>
              <a:gd name="T53" fmla="*/ 2147483647 h 308"/>
              <a:gd name="T54" fmla="*/ 2147483647 w 292"/>
              <a:gd name="T55" fmla="*/ 2147483647 h 308"/>
              <a:gd name="T56" fmla="*/ 2147483647 w 292"/>
              <a:gd name="T57" fmla="*/ 2147483647 h 308"/>
              <a:gd name="T58" fmla="*/ 2147483647 w 292"/>
              <a:gd name="T59" fmla="*/ 2147483647 h 308"/>
              <a:gd name="T60" fmla="*/ 2147483647 w 292"/>
              <a:gd name="T61" fmla="*/ 2147483647 h 308"/>
              <a:gd name="T62" fmla="*/ 2147483647 w 292"/>
              <a:gd name="T63" fmla="*/ 2147483647 h 308"/>
              <a:gd name="T64" fmla="*/ 2147483647 w 292"/>
              <a:gd name="T65" fmla="*/ 2147483647 h 308"/>
              <a:gd name="T66" fmla="*/ 2147483647 w 292"/>
              <a:gd name="T67" fmla="*/ 2147483647 h 308"/>
              <a:gd name="T68" fmla="*/ 2147483647 w 292"/>
              <a:gd name="T69" fmla="*/ 2147483647 h 308"/>
              <a:gd name="T70" fmla="*/ 2147483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5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5032240" y="4655765"/>
            <a:ext cx="6350" cy="57150"/>
          </a:xfrm>
          <a:custGeom>
            <a:avLst/>
            <a:gdLst>
              <a:gd name="T0" fmla="*/ 2147483647 w 14"/>
              <a:gd name="T1" fmla="*/ 0 h 7"/>
              <a:gd name="T2" fmla="*/ 2147483647 w 14"/>
              <a:gd name="T3" fmla="*/ 2147483647 h 7"/>
              <a:gd name="T4" fmla="*/ 2147483647 w 14"/>
              <a:gd name="T5" fmla="*/ 2147483647 h 7"/>
              <a:gd name="T6" fmla="*/ 0 w 14"/>
              <a:gd name="T7" fmla="*/ 2147483647 h 7"/>
              <a:gd name="T8" fmla="*/ 2147483647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6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522653" y="3892178"/>
            <a:ext cx="249237" cy="500062"/>
          </a:xfrm>
          <a:custGeom>
            <a:avLst/>
            <a:gdLst>
              <a:gd name="T0" fmla="*/ 2147483647 w 581"/>
              <a:gd name="T1" fmla="*/ 2147483647 h 955"/>
              <a:gd name="T2" fmla="*/ 2147483647 w 581"/>
              <a:gd name="T3" fmla="*/ 2147483647 h 955"/>
              <a:gd name="T4" fmla="*/ 2147483647 w 581"/>
              <a:gd name="T5" fmla="*/ 2147483647 h 955"/>
              <a:gd name="T6" fmla="*/ 2147483647 w 581"/>
              <a:gd name="T7" fmla="*/ 2147483647 h 955"/>
              <a:gd name="T8" fmla="*/ 2147483647 w 581"/>
              <a:gd name="T9" fmla="*/ 2147483647 h 955"/>
              <a:gd name="T10" fmla="*/ 2147483647 w 581"/>
              <a:gd name="T11" fmla="*/ 2147483647 h 955"/>
              <a:gd name="T12" fmla="*/ 2147483647 w 581"/>
              <a:gd name="T13" fmla="*/ 2147483647 h 955"/>
              <a:gd name="T14" fmla="*/ 2147483647 w 581"/>
              <a:gd name="T15" fmla="*/ 2147483647 h 955"/>
              <a:gd name="T16" fmla="*/ 2147483647 w 581"/>
              <a:gd name="T17" fmla="*/ 2147483647 h 955"/>
              <a:gd name="T18" fmla="*/ 2147483647 w 581"/>
              <a:gd name="T19" fmla="*/ 2147483647 h 955"/>
              <a:gd name="T20" fmla="*/ 2147483647 w 581"/>
              <a:gd name="T21" fmla="*/ 2147483647 h 955"/>
              <a:gd name="T22" fmla="*/ 2147483647 w 581"/>
              <a:gd name="T23" fmla="*/ 2147483647 h 955"/>
              <a:gd name="T24" fmla="*/ 2147483647 w 581"/>
              <a:gd name="T25" fmla="*/ 2147483647 h 955"/>
              <a:gd name="T26" fmla="*/ 2147483647 w 581"/>
              <a:gd name="T27" fmla="*/ 2147483647 h 955"/>
              <a:gd name="T28" fmla="*/ 2147483647 w 581"/>
              <a:gd name="T29" fmla="*/ 2147483647 h 955"/>
              <a:gd name="T30" fmla="*/ 2147483647 w 581"/>
              <a:gd name="T31" fmla="*/ 2147483647 h 955"/>
              <a:gd name="T32" fmla="*/ 2147483647 w 581"/>
              <a:gd name="T33" fmla="*/ 2147483647 h 955"/>
              <a:gd name="T34" fmla="*/ 2147483647 w 581"/>
              <a:gd name="T35" fmla="*/ 2147483647 h 955"/>
              <a:gd name="T36" fmla="*/ 2147483647 w 581"/>
              <a:gd name="T37" fmla="*/ 2147483647 h 955"/>
              <a:gd name="T38" fmla="*/ 2147483647 w 581"/>
              <a:gd name="T39" fmla="*/ 2147483647 h 955"/>
              <a:gd name="T40" fmla="*/ 2147483647 w 581"/>
              <a:gd name="T41" fmla="*/ 2147483647 h 955"/>
              <a:gd name="T42" fmla="*/ 2147483647 w 581"/>
              <a:gd name="T43" fmla="*/ 2147483647 h 955"/>
              <a:gd name="T44" fmla="*/ 2147483647 w 581"/>
              <a:gd name="T45" fmla="*/ 2147483647 h 955"/>
              <a:gd name="T46" fmla="*/ 2147483647 w 581"/>
              <a:gd name="T47" fmla="*/ 2147483647 h 955"/>
              <a:gd name="T48" fmla="*/ 2147483647 w 581"/>
              <a:gd name="T49" fmla="*/ 2147483647 h 955"/>
              <a:gd name="T50" fmla="*/ 2147483647 w 581"/>
              <a:gd name="T51" fmla="*/ 2147483647 h 955"/>
              <a:gd name="T52" fmla="*/ 2147483647 w 581"/>
              <a:gd name="T53" fmla="*/ 2147483647 h 955"/>
              <a:gd name="T54" fmla="*/ 2147483647 w 581"/>
              <a:gd name="T55" fmla="*/ 2147483647 h 955"/>
              <a:gd name="T56" fmla="*/ 2147483647 w 581"/>
              <a:gd name="T57" fmla="*/ 2147483647 h 955"/>
              <a:gd name="T58" fmla="*/ 2147483647 w 581"/>
              <a:gd name="T59" fmla="*/ 2147483647 h 955"/>
              <a:gd name="T60" fmla="*/ 2147483647 w 581"/>
              <a:gd name="T61" fmla="*/ 2147483647 h 955"/>
              <a:gd name="T62" fmla="*/ 2147483647 w 581"/>
              <a:gd name="T63" fmla="*/ 2147483647 h 955"/>
              <a:gd name="T64" fmla="*/ 2147483647 w 581"/>
              <a:gd name="T65" fmla="*/ 2147483647 h 955"/>
              <a:gd name="T66" fmla="*/ 2147483647 w 581"/>
              <a:gd name="T67" fmla="*/ 2147483647 h 955"/>
              <a:gd name="T68" fmla="*/ 2147483647 w 581"/>
              <a:gd name="T69" fmla="*/ 2147483647 h 955"/>
              <a:gd name="T70" fmla="*/ 2147483647 w 581"/>
              <a:gd name="T71" fmla="*/ 2147483647 h 955"/>
              <a:gd name="T72" fmla="*/ 2147483647 w 581"/>
              <a:gd name="T73" fmla="*/ 2147483647 h 955"/>
              <a:gd name="T74" fmla="*/ 2147483647 w 581"/>
              <a:gd name="T75" fmla="*/ 2147483647 h 955"/>
              <a:gd name="T76" fmla="*/ 2147483647 w 581"/>
              <a:gd name="T77" fmla="*/ 2147483647 h 955"/>
              <a:gd name="T78" fmla="*/ 2147483647 w 581"/>
              <a:gd name="T79" fmla="*/ 2147483647 h 955"/>
              <a:gd name="T80" fmla="*/ 2147483647 w 581"/>
              <a:gd name="T81" fmla="*/ 2147483647 h 955"/>
              <a:gd name="T82" fmla="*/ 2147483647 w 581"/>
              <a:gd name="T83" fmla="*/ 2147483647 h 955"/>
              <a:gd name="T84" fmla="*/ 2147483647 w 581"/>
              <a:gd name="T85" fmla="*/ 2147483647 h 955"/>
              <a:gd name="T86" fmla="*/ 2147483647 w 581"/>
              <a:gd name="T87" fmla="*/ 2147483647 h 955"/>
              <a:gd name="T88" fmla="*/ 2147483647 w 581"/>
              <a:gd name="T89" fmla="*/ 2147483647 h 955"/>
              <a:gd name="T90" fmla="*/ 2147483647 w 581"/>
              <a:gd name="T91" fmla="*/ 2147483647 h 955"/>
              <a:gd name="T92" fmla="*/ 2147483647 w 581"/>
              <a:gd name="T93" fmla="*/ 2147483647 h 955"/>
              <a:gd name="T94" fmla="*/ 2147483647 w 581"/>
              <a:gd name="T95" fmla="*/ 2147483647 h 955"/>
              <a:gd name="T96" fmla="*/ 2147483647 w 581"/>
              <a:gd name="T97" fmla="*/ 2147483647 h 955"/>
              <a:gd name="T98" fmla="*/ 2147483647 w 581"/>
              <a:gd name="T99" fmla="*/ 2147483647 h 955"/>
              <a:gd name="T100" fmla="*/ 2147483647 w 581"/>
              <a:gd name="T101" fmla="*/ 0 h 955"/>
              <a:gd name="T102" fmla="*/ 2147483647 w 581"/>
              <a:gd name="T103" fmla="*/ 2147483647 h 955"/>
              <a:gd name="T104" fmla="*/ 2147483647 w 581"/>
              <a:gd name="T105" fmla="*/ 214748364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7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198803" y="3274640"/>
            <a:ext cx="15875" cy="57150"/>
          </a:xfrm>
          <a:custGeom>
            <a:avLst/>
            <a:gdLst>
              <a:gd name="T0" fmla="*/ 2147483647 w 45"/>
              <a:gd name="T1" fmla="*/ 0 h 36"/>
              <a:gd name="T2" fmla="*/ 0 w 45"/>
              <a:gd name="T3" fmla="*/ 2147483647 h 36"/>
              <a:gd name="T4" fmla="*/ 2147483647 w 45"/>
              <a:gd name="T5" fmla="*/ 2147483647 h 36"/>
              <a:gd name="T6" fmla="*/ 2147483647 w 45"/>
              <a:gd name="T7" fmla="*/ 2147483647 h 36"/>
              <a:gd name="T8" fmla="*/ 2147483647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grpSp>
        <p:nvGrpSpPr>
          <p:cNvPr id="2328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498590" y="5335215"/>
            <a:ext cx="384175" cy="1031875"/>
            <a:chOff x="1589" y="3126"/>
            <a:chExt cx="290" cy="657"/>
          </a:xfrm>
          <a:solidFill>
            <a:schemeClr val="bg1">
              <a:lumMod val="75000"/>
            </a:schemeClr>
          </a:solidFill>
        </p:grpSpPr>
        <p:sp>
          <p:nvSpPr>
            <p:cNvPr id="2449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 w 46"/>
                <a:gd name="T1" fmla="*/ 0 h 51"/>
                <a:gd name="T2" fmla="*/ 0 w 46"/>
                <a:gd name="T3" fmla="*/ 0 h 51"/>
                <a:gd name="T4" fmla="*/ 0 w 46"/>
                <a:gd name="T5" fmla="*/ 0 h 51"/>
                <a:gd name="T6" fmla="*/ 0 w 46"/>
                <a:gd name="T7" fmla="*/ 0 h 51"/>
                <a:gd name="T8" fmla="*/ 0 w 46"/>
                <a:gd name="T9" fmla="*/ 0 h 51"/>
                <a:gd name="T10" fmla="*/ 0 w 46"/>
                <a:gd name="T11" fmla="*/ 0 h 51"/>
                <a:gd name="T12" fmla="*/ 0 w 46"/>
                <a:gd name="T13" fmla="*/ 0 h 51"/>
                <a:gd name="T14" fmla="*/ 0 w 46"/>
                <a:gd name="T15" fmla="*/ 0 h 51"/>
                <a:gd name="T16" fmla="*/ 0 w 46"/>
                <a:gd name="T17" fmla="*/ 0 h 51"/>
                <a:gd name="T18" fmla="*/ 0 w 46"/>
                <a:gd name="T19" fmla="*/ 0 h 51"/>
                <a:gd name="T20" fmla="*/ 0 w 46"/>
                <a:gd name="T21" fmla="*/ 0 h 51"/>
                <a:gd name="T22" fmla="*/ 0 w 46"/>
                <a:gd name="T23" fmla="*/ 1 h 51"/>
                <a:gd name="T24" fmla="*/ 0 w 46"/>
                <a:gd name="T25" fmla="*/ 1 h 51"/>
                <a:gd name="T26" fmla="*/ 0 w 46"/>
                <a:gd name="T27" fmla="*/ 1 h 51"/>
                <a:gd name="T28" fmla="*/ 0 w 46"/>
                <a:gd name="T29" fmla="*/ 1 h 51"/>
                <a:gd name="T30" fmla="*/ 0 w 46"/>
                <a:gd name="T31" fmla="*/ 1 h 51"/>
                <a:gd name="T32" fmla="*/ 0 w 46"/>
                <a:gd name="T33" fmla="*/ 1 h 51"/>
                <a:gd name="T34" fmla="*/ 0 w 46"/>
                <a:gd name="T35" fmla="*/ 1 h 51"/>
                <a:gd name="T36" fmla="*/ 0 w 46"/>
                <a:gd name="T37" fmla="*/ 1 h 51"/>
                <a:gd name="T38" fmla="*/ 1 w 46"/>
                <a:gd name="T39" fmla="*/ 1 h 51"/>
                <a:gd name="T40" fmla="*/ 1 w 46"/>
                <a:gd name="T41" fmla="*/ 0 h 51"/>
                <a:gd name="T42" fmla="*/ 1 w 46"/>
                <a:gd name="T43" fmla="*/ 0 h 51"/>
                <a:gd name="T44" fmla="*/ 1 w 46"/>
                <a:gd name="T45" fmla="*/ 0 h 51"/>
                <a:gd name="T46" fmla="*/ 1 w 46"/>
                <a:gd name="T47" fmla="*/ 0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50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0 h 158"/>
                <a:gd name="T4" fmla="*/ 0 w 192"/>
                <a:gd name="T5" fmla="*/ 0 h 158"/>
                <a:gd name="T6" fmla="*/ 0 w 192"/>
                <a:gd name="T7" fmla="*/ 0 h 158"/>
                <a:gd name="T8" fmla="*/ 0 w 192"/>
                <a:gd name="T9" fmla="*/ 1 h 158"/>
                <a:gd name="T10" fmla="*/ 0 w 192"/>
                <a:gd name="T11" fmla="*/ 1 h 158"/>
                <a:gd name="T12" fmla="*/ 0 w 192"/>
                <a:gd name="T13" fmla="*/ 1 h 158"/>
                <a:gd name="T14" fmla="*/ 0 w 192"/>
                <a:gd name="T15" fmla="*/ 1 h 158"/>
                <a:gd name="T16" fmla="*/ 0 w 192"/>
                <a:gd name="T17" fmla="*/ 1 h 158"/>
                <a:gd name="T18" fmla="*/ 1 w 192"/>
                <a:gd name="T19" fmla="*/ 2 h 158"/>
                <a:gd name="T20" fmla="*/ 1 w 192"/>
                <a:gd name="T21" fmla="*/ 2 h 158"/>
                <a:gd name="T22" fmla="*/ 1 w 192"/>
                <a:gd name="T23" fmla="*/ 2 h 158"/>
                <a:gd name="T24" fmla="*/ 1 w 192"/>
                <a:gd name="T25" fmla="*/ 2 h 158"/>
                <a:gd name="T26" fmla="*/ 1 w 192"/>
                <a:gd name="T27" fmla="*/ 2 h 158"/>
                <a:gd name="T28" fmla="*/ 1 w 192"/>
                <a:gd name="T29" fmla="*/ 2 h 158"/>
                <a:gd name="T30" fmla="*/ 1 w 192"/>
                <a:gd name="T31" fmla="*/ 2 h 158"/>
                <a:gd name="T32" fmla="*/ 1 w 192"/>
                <a:gd name="T33" fmla="*/ 2 h 158"/>
                <a:gd name="T34" fmla="*/ 2 w 192"/>
                <a:gd name="T35" fmla="*/ 2 h 158"/>
                <a:gd name="T36" fmla="*/ 2 w 192"/>
                <a:gd name="T37" fmla="*/ 2 h 158"/>
                <a:gd name="T38" fmla="*/ 2 w 192"/>
                <a:gd name="T39" fmla="*/ 2 h 158"/>
                <a:gd name="T40" fmla="*/ 2 w 192"/>
                <a:gd name="T41" fmla="*/ 2 h 158"/>
                <a:gd name="T42" fmla="*/ 2 w 192"/>
                <a:gd name="T43" fmla="*/ 2 h 158"/>
                <a:gd name="T44" fmla="*/ 2 w 192"/>
                <a:gd name="T45" fmla="*/ 2 h 158"/>
                <a:gd name="T46" fmla="*/ 2 w 192"/>
                <a:gd name="T47" fmla="*/ 2 h 158"/>
                <a:gd name="T48" fmla="*/ 2 w 192"/>
                <a:gd name="T49" fmla="*/ 2 h 158"/>
                <a:gd name="T50" fmla="*/ 1 w 192"/>
                <a:gd name="T51" fmla="*/ 2 h 158"/>
                <a:gd name="T52" fmla="*/ 1 w 192"/>
                <a:gd name="T53" fmla="*/ 1 h 158"/>
                <a:gd name="T54" fmla="*/ 1 w 192"/>
                <a:gd name="T55" fmla="*/ 1 h 158"/>
                <a:gd name="T56" fmla="*/ 1 w 192"/>
                <a:gd name="T57" fmla="*/ 1 h 158"/>
                <a:gd name="T58" fmla="*/ 1 w 192"/>
                <a:gd name="T59" fmla="*/ 1 h 158"/>
                <a:gd name="T60" fmla="*/ 1 w 192"/>
                <a:gd name="T61" fmla="*/ 1 h 158"/>
                <a:gd name="T62" fmla="*/ 1 w 192"/>
                <a:gd name="T63" fmla="*/ 1 h 158"/>
                <a:gd name="T64" fmla="*/ 0 w 192"/>
                <a:gd name="T65" fmla="*/ 1 h 158"/>
                <a:gd name="T66" fmla="*/ 0 w 192"/>
                <a:gd name="T67" fmla="*/ 0 h 158"/>
                <a:gd name="T68" fmla="*/ 0 w 192"/>
                <a:gd name="T69" fmla="*/ 0 h 158"/>
                <a:gd name="T70" fmla="*/ 0 w 192"/>
                <a:gd name="T71" fmla="*/ 0 h 158"/>
                <a:gd name="T72" fmla="*/ 0 w 192"/>
                <a:gd name="T73" fmla="*/ 0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51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9 w 884"/>
                <a:gd name="T1" fmla="*/ 5 h 1818"/>
                <a:gd name="T2" fmla="*/ 10 w 884"/>
                <a:gd name="T3" fmla="*/ 4 h 1818"/>
                <a:gd name="T4" fmla="*/ 10 w 884"/>
                <a:gd name="T5" fmla="*/ 3 h 1818"/>
                <a:gd name="T6" fmla="*/ 10 w 884"/>
                <a:gd name="T7" fmla="*/ 2 h 1818"/>
                <a:gd name="T8" fmla="*/ 10 w 884"/>
                <a:gd name="T9" fmla="*/ 3 h 1818"/>
                <a:gd name="T10" fmla="*/ 9 w 884"/>
                <a:gd name="T11" fmla="*/ 4 h 1818"/>
                <a:gd name="T12" fmla="*/ 8 w 884"/>
                <a:gd name="T13" fmla="*/ 4 h 1818"/>
                <a:gd name="T14" fmla="*/ 7 w 884"/>
                <a:gd name="T15" fmla="*/ 4 h 1818"/>
                <a:gd name="T16" fmla="*/ 8 w 884"/>
                <a:gd name="T17" fmla="*/ 3 h 1818"/>
                <a:gd name="T18" fmla="*/ 6 w 884"/>
                <a:gd name="T19" fmla="*/ 2 h 1818"/>
                <a:gd name="T20" fmla="*/ 5 w 884"/>
                <a:gd name="T21" fmla="*/ 1 h 1818"/>
                <a:gd name="T22" fmla="*/ 4 w 884"/>
                <a:gd name="T23" fmla="*/ 0 h 1818"/>
                <a:gd name="T24" fmla="*/ 3 w 884"/>
                <a:gd name="T25" fmla="*/ 0 h 1818"/>
                <a:gd name="T26" fmla="*/ 3 w 884"/>
                <a:gd name="T27" fmla="*/ 0 h 1818"/>
                <a:gd name="T28" fmla="*/ 2 w 884"/>
                <a:gd name="T29" fmla="*/ 0 h 1818"/>
                <a:gd name="T30" fmla="*/ 1 w 884"/>
                <a:gd name="T31" fmla="*/ 1 h 1818"/>
                <a:gd name="T32" fmla="*/ 1 w 884"/>
                <a:gd name="T33" fmla="*/ 1 h 1818"/>
                <a:gd name="T34" fmla="*/ 0 w 884"/>
                <a:gd name="T35" fmla="*/ 2 h 1818"/>
                <a:gd name="T36" fmla="*/ 1 w 884"/>
                <a:gd name="T37" fmla="*/ 3 h 1818"/>
                <a:gd name="T38" fmla="*/ 1 w 884"/>
                <a:gd name="T39" fmla="*/ 4 h 1818"/>
                <a:gd name="T40" fmla="*/ 0 w 884"/>
                <a:gd name="T41" fmla="*/ 5 h 1818"/>
                <a:gd name="T42" fmla="*/ 0 w 884"/>
                <a:gd name="T43" fmla="*/ 8 h 1818"/>
                <a:gd name="T44" fmla="*/ 1 w 884"/>
                <a:gd name="T45" fmla="*/ 9 h 1818"/>
                <a:gd name="T46" fmla="*/ 1 w 884"/>
                <a:gd name="T47" fmla="*/ 9 h 1818"/>
                <a:gd name="T48" fmla="*/ 1 w 884"/>
                <a:gd name="T49" fmla="*/ 10 h 1818"/>
                <a:gd name="T50" fmla="*/ 1 w 884"/>
                <a:gd name="T51" fmla="*/ 10 h 1818"/>
                <a:gd name="T52" fmla="*/ 1 w 884"/>
                <a:gd name="T53" fmla="*/ 11 h 1818"/>
                <a:gd name="T54" fmla="*/ 1 w 884"/>
                <a:gd name="T55" fmla="*/ 12 h 1818"/>
                <a:gd name="T56" fmla="*/ 1 w 884"/>
                <a:gd name="T57" fmla="*/ 13 h 1818"/>
                <a:gd name="T58" fmla="*/ 1 w 884"/>
                <a:gd name="T59" fmla="*/ 14 h 1818"/>
                <a:gd name="T60" fmla="*/ 2 w 884"/>
                <a:gd name="T61" fmla="*/ 16 h 1818"/>
                <a:gd name="T62" fmla="*/ 2 w 884"/>
                <a:gd name="T63" fmla="*/ 17 h 1818"/>
                <a:gd name="T64" fmla="*/ 3 w 884"/>
                <a:gd name="T65" fmla="*/ 18 h 1818"/>
                <a:gd name="T66" fmla="*/ 3 w 884"/>
                <a:gd name="T67" fmla="*/ 19 h 1818"/>
                <a:gd name="T68" fmla="*/ 3 w 884"/>
                <a:gd name="T69" fmla="*/ 20 h 1818"/>
                <a:gd name="T70" fmla="*/ 2 w 884"/>
                <a:gd name="T71" fmla="*/ 20 h 1818"/>
                <a:gd name="T72" fmla="*/ 3 w 884"/>
                <a:gd name="T73" fmla="*/ 21 h 1818"/>
                <a:gd name="T74" fmla="*/ 4 w 884"/>
                <a:gd name="T75" fmla="*/ 22 h 1818"/>
                <a:gd name="T76" fmla="*/ 5 w 884"/>
                <a:gd name="T77" fmla="*/ 22 h 1818"/>
                <a:gd name="T78" fmla="*/ 5 w 884"/>
                <a:gd name="T79" fmla="*/ 22 h 1818"/>
                <a:gd name="T80" fmla="*/ 5 w 884"/>
                <a:gd name="T81" fmla="*/ 21 h 1818"/>
                <a:gd name="T82" fmla="*/ 6 w 884"/>
                <a:gd name="T83" fmla="*/ 20 h 1818"/>
                <a:gd name="T84" fmla="*/ 6 w 884"/>
                <a:gd name="T85" fmla="*/ 19 h 1818"/>
                <a:gd name="T86" fmla="*/ 5 w 884"/>
                <a:gd name="T87" fmla="*/ 18 h 1818"/>
                <a:gd name="T88" fmla="*/ 5 w 884"/>
                <a:gd name="T89" fmla="*/ 18 h 1818"/>
                <a:gd name="T90" fmla="*/ 5 w 884"/>
                <a:gd name="T91" fmla="*/ 17 h 1818"/>
                <a:gd name="T92" fmla="*/ 6 w 884"/>
                <a:gd name="T93" fmla="*/ 16 h 1818"/>
                <a:gd name="T94" fmla="*/ 5 w 884"/>
                <a:gd name="T95" fmla="*/ 15 h 1818"/>
                <a:gd name="T96" fmla="*/ 5 w 884"/>
                <a:gd name="T97" fmla="*/ 14 h 1818"/>
                <a:gd name="T98" fmla="*/ 6 w 884"/>
                <a:gd name="T99" fmla="*/ 14 h 1818"/>
                <a:gd name="T100" fmla="*/ 7 w 884"/>
                <a:gd name="T101" fmla="*/ 14 h 1818"/>
                <a:gd name="T102" fmla="*/ 7 w 884"/>
                <a:gd name="T103" fmla="*/ 13 h 1818"/>
                <a:gd name="T104" fmla="*/ 7 w 884"/>
                <a:gd name="T105" fmla="*/ 13 h 1818"/>
                <a:gd name="T106" fmla="*/ 8 w 884"/>
                <a:gd name="T107" fmla="*/ 13 h 1818"/>
                <a:gd name="T108" fmla="*/ 9 w 884"/>
                <a:gd name="T109" fmla="*/ 12 h 1818"/>
                <a:gd name="T110" fmla="*/ 10 w 884"/>
                <a:gd name="T111" fmla="*/ 11 h 1818"/>
                <a:gd name="T112" fmla="*/ 9 w 884"/>
                <a:gd name="T113" fmla="*/ 11 h 1818"/>
                <a:gd name="T114" fmla="*/ 9 w 884"/>
                <a:gd name="T115" fmla="*/ 10 h 1818"/>
                <a:gd name="T116" fmla="*/ 8 w 884"/>
                <a:gd name="T117" fmla="*/ 9 h 1818"/>
                <a:gd name="T118" fmla="*/ 8 w 884"/>
                <a:gd name="T119" fmla="*/ 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29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208453" y="3287340"/>
            <a:ext cx="123825" cy="109538"/>
          </a:xfrm>
          <a:custGeom>
            <a:avLst/>
            <a:gdLst>
              <a:gd name="T0" fmla="*/ 2147483647 w 279"/>
              <a:gd name="T1" fmla="*/ 2147483647 h 204"/>
              <a:gd name="T2" fmla="*/ 2147483647 w 279"/>
              <a:gd name="T3" fmla="*/ 2147483647 h 204"/>
              <a:gd name="T4" fmla="*/ 2147483647 w 279"/>
              <a:gd name="T5" fmla="*/ 2147483647 h 204"/>
              <a:gd name="T6" fmla="*/ 2147483647 w 279"/>
              <a:gd name="T7" fmla="*/ 2147483647 h 204"/>
              <a:gd name="T8" fmla="*/ 2147483647 w 279"/>
              <a:gd name="T9" fmla="*/ 2147483647 h 204"/>
              <a:gd name="T10" fmla="*/ 2147483647 w 279"/>
              <a:gd name="T11" fmla="*/ 2147483647 h 204"/>
              <a:gd name="T12" fmla="*/ 2147483647 w 279"/>
              <a:gd name="T13" fmla="*/ 2147483647 h 204"/>
              <a:gd name="T14" fmla="*/ 2147483647 w 279"/>
              <a:gd name="T15" fmla="*/ 2147483647 h 204"/>
              <a:gd name="T16" fmla="*/ 2147483647 w 279"/>
              <a:gd name="T17" fmla="*/ 2147483647 h 204"/>
              <a:gd name="T18" fmla="*/ 2147483647 w 279"/>
              <a:gd name="T19" fmla="*/ 2147483647 h 204"/>
              <a:gd name="T20" fmla="*/ 2147483647 w 279"/>
              <a:gd name="T21" fmla="*/ 2147483647 h 204"/>
              <a:gd name="T22" fmla="*/ 2147483647 w 279"/>
              <a:gd name="T23" fmla="*/ 2147483647 h 204"/>
              <a:gd name="T24" fmla="*/ 2147483647 w 279"/>
              <a:gd name="T25" fmla="*/ 2147483647 h 204"/>
              <a:gd name="T26" fmla="*/ 2147483647 w 279"/>
              <a:gd name="T27" fmla="*/ 2147483647 h 204"/>
              <a:gd name="T28" fmla="*/ 2147483647 w 279"/>
              <a:gd name="T29" fmla="*/ 2147483647 h 204"/>
              <a:gd name="T30" fmla="*/ 2147483647 w 279"/>
              <a:gd name="T31" fmla="*/ 2147483647 h 204"/>
              <a:gd name="T32" fmla="*/ 2147483647 w 279"/>
              <a:gd name="T33" fmla="*/ 2147483647 h 204"/>
              <a:gd name="T34" fmla="*/ 2147483647 w 279"/>
              <a:gd name="T35" fmla="*/ 2147483647 h 204"/>
              <a:gd name="T36" fmla="*/ 2147483647 w 279"/>
              <a:gd name="T37" fmla="*/ 2147483647 h 204"/>
              <a:gd name="T38" fmla="*/ 2147483647 w 279"/>
              <a:gd name="T39" fmla="*/ 2147483647 h 204"/>
              <a:gd name="T40" fmla="*/ 2147483647 w 279"/>
              <a:gd name="T41" fmla="*/ 2147483647 h 204"/>
              <a:gd name="T42" fmla="*/ 2147483647 w 279"/>
              <a:gd name="T43" fmla="*/ 2147483647 h 204"/>
              <a:gd name="T44" fmla="*/ 2147483647 w 279"/>
              <a:gd name="T45" fmla="*/ 2147483647 h 204"/>
              <a:gd name="T46" fmla="*/ 2147483647 w 279"/>
              <a:gd name="T47" fmla="*/ 2147483647 h 204"/>
              <a:gd name="T48" fmla="*/ 2147483647 w 279"/>
              <a:gd name="T49" fmla="*/ 2147483647 h 204"/>
              <a:gd name="T50" fmla="*/ 2147483647 w 279"/>
              <a:gd name="T51" fmla="*/ 2147483647 h 204"/>
              <a:gd name="T52" fmla="*/ 2147483647 w 279"/>
              <a:gd name="T53" fmla="*/ 2147483647 h 204"/>
              <a:gd name="T54" fmla="*/ 2147483647 w 279"/>
              <a:gd name="T55" fmla="*/ 2147483647 h 204"/>
              <a:gd name="T56" fmla="*/ 2147483647 w 279"/>
              <a:gd name="T57" fmla="*/ 2147483647 h 204"/>
              <a:gd name="T58" fmla="*/ 2147483647 w 279"/>
              <a:gd name="T59" fmla="*/ 2147483647 h 204"/>
              <a:gd name="T60" fmla="*/ 2147483647 w 279"/>
              <a:gd name="T61" fmla="*/ 2147483647 h 204"/>
              <a:gd name="T62" fmla="*/ 2147483647 w 279"/>
              <a:gd name="T63" fmla="*/ 2147483647 h 204"/>
              <a:gd name="T64" fmla="*/ 0 w 279"/>
              <a:gd name="T65" fmla="*/ 2147483647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0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675053" y="2860303"/>
            <a:ext cx="209550" cy="150812"/>
          </a:xfrm>
          <a:custGeom>
            <a:avLst/>
            <a:gdLst>
              <a:gd name="T0" fmla="*/ 2147483647 w 485"/>
              <a:gd name="T1" fmla="*/ 2147483647 h 291"/>
              <a:gd name="T2" fmla="*/ 2147483647 w 485"/>
              <a:gd name="T3" fmla="*/ 2147483647 h 291"/>
              <a:gd name="T4" fmla="*/ 2147483647 w 485"/>
              <a:gd name="T5" fmla="*/ 2147483647 h 291"/>
              <a:gd name="T6" fmla="*/ 2147483647 w 485"/>
              <a:gd name="T7" fmla="*/ 2147483647 h 291"/>
              <a:gd name="T8" fmla="*/ 2147483647 w 485"/>
              <a:gd name="T9" fmla="*/ 2147483647 h 291"/>
              <a:gd name="T10" fmla="*/ 2147483647 w 485"/>
              <a:gd name="T11" fmla="*/ 2147483647 h 291"/>
              <a:gd name="T12" fmla="*/ 2147483647 w 485"/>
              <a:gd name="T13" fmla="*/ 2147483647 h 291"/>
              <a:gd name="T14" fmla="*/ 2147483647 w 485"/>
              <a:gd name="T15" fmla="*/ 2147483647 h 291"/>
              <a:gd name="T16" fmla="*/ 2147483647 w 485"/>
              <a:gd name="T17" fmla="*/ 2147483647 h 291"/>
              <a:gd name="T18" fmla="*/ 2147483647 w 485"/>
              <a:gd name="T19" fmla="*/ 2147483647 h 291"/>
              <a:gd name="T20" fmla="*/ 2147483647 w 485"/>
              <a:gd name="T21" fmla="*/ 2147483647 h 291"/>
              <a:gd name="T22" fmla="*/ 2147483647 w 485"/>
              <a:gd name="T23" fmla="*/ 2147483647 h 291"/>
              <a:gd name="T24" fmla="*/ 2147483647 w 485"/>
              <a:gd name="T25" fmla="*/ 2147483647 h 291"/>
              <a:gd name="T26" fmla="*/ 2147483647 w 485"/>
              <a:gd name="T27" fmla="*/ 2147483647 h 291"/>
              <a:gd name="T28" fmla="*/ 2147483647 w 485"/>
              <a:gd name="T29" fmla="*/ 2147483647 h 291"/>
              <a:gd name="T30" fmla="*/ 0 w 485"/>
              <a:gd name="T31" fmla="*/ 2147483647 h 291"/>
              <a:gd name="T32" fmla="*/ 2147483647 w 485"/>
              <a:gd name="T33" fmla="*/ 2147483647 h 291"/>
              <a:gd name="T34" fmla="*/ 2147483647 w 485"/>
              <a:gd name="T35" fmla="*/ 2147483647 h 291"/>
              <a:gd name="T36" fmla="*/ 2147483647 w 485"/>
              <a:gd name="T37" fmla="*/ 2147483647 h 291"/>
              <a:gd name="T38" fmla="*/ 2147483647 w 485"/>
              <a:gd name="T39" fmla="*/ 2147483647 h 291"/>
              <a:gd name="T40" fmla="*/ 2147483647 w 485"/>
              <a:gd name="T41" fmla="*/ 2147483647 h 291"/>
              <a:gd name="T42" fmla="*/ 2147483647 w 485"/>
              <a:gd name="T43" fmla="*/ 2147483647 h 291"/>
              <a:gd name="T44" fmla="*/ 2147483647 w 485"/>
              <a:gd name="T45" fmla="*/ 2147483647 h 291"/>
              <a:gd name="T46" fmla="*/ 2147483647 w 485"/>
              <a:gd name="T47" fmla="*/ 2147483647 h 291"/>
              <a:gd name="T48" fmla="*/ 2147483647 w 485"/>
              <a:gd name="T49" fmla="*/ 2147483647 h 291"/>
              <a:gd name="T50" fmla="*/ 2147483647 w 485"/>
              <a:gd name="T51" fmla="*/ 2147483647 h 291"/>
              <a:gd name="T52" fmla="*/ 2147483647 w 485"/>
              <a:gd name="T53" fmla="*/ 2147483647 h 291"/>
              <a:gd name="T54" fmla="*/ 2147483647 w 485"/>
              <a:gd name="T55" fmla="*/ 2147483647 h 291"/>
              <a:gd name="T56" fmla="*/ 2147483647 w 485"/>
              <a:gd name="T57" fmla="*/ 2147483647 h 291"/>
              <a:gd name="T58" fmla="*/ 2147483647 w 485"/>
              <a:gd name="T59" fmla="*/ 2147483647 h 291"/>
              <a:gd name="T60" fmla="*/ 2147483647 w 485"/>
              <a:gd name="T61" fmla="*/ 2147483647 h 291"/>
              <a:gd name="T62" fmla="*/ 2147483647 w 485"/>
              <a:gd name="T63" fmla="*/ 2147483647 h 291"/>
              <a:gd name="T64" fmla="*/ 2147483647 w 485"/>
              <a:gd name="T65" fmla="*/ 2147483647 h 291"/>
              <a:gd name="T66" fmla="*/ 2147483647 w 485"/>
              <a:gd name="T67" fmla="*/ 2147483647 h 291"/>
              <a:gd name="T68" fmla="*/ 2147483647 w 485"/>
              <a:gd name="T69" fmla="*/ 2147483647 h 291"/>
              <a:gd name="T70" fmla="*/ 2147483647 w 485"/>
              <a:gd name="T71" fmla="*/ 2147483647 h 291"/>
              <a:gd name="T72" fmla="*/ 2147483647 w 485"/>
              <a:gd name="T73" fmla="*/ 2147483647 h 291"/>
              <a:gd name="T74" fmla="*/ 2147483647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1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532178" y="3192090"/>
            <a:ext cx="82550" cy="87313"/>
          </a:xfrm>
          <a:custGeom>
            <a:avLst/>
            <a:gdLst>
              <a:gd name="T0" fmla="*/ 2147483647 w 186"/>
              <a:gd name="T1" fmla="*/ 2147483647 h 166"/>
              <a:gd name="T2" fmla="*/ 2147483647 w 186"/>
              <a:gd name="T3" fmla="*/ 2147483647 h 166"/>
              <a:gd name="T4" fmla="*/ 2147483647 w 186"/>
              <a:gd name="T5" fmla="*/ 2147483647 h 166"/>
              <a:gd name="T6" fmla="*/ 2147483647 w 186"/>
              <a:gd name="T7" fmla="*/ 2147483647 h 166"/>
              <a:gd name="T8" fmla="*/ 2147483647 w 186"/>
              <a:gd name="T9" fmla="*/ 2147483647 h 166"/>
              <a:gd name="T10" fmla="*/ 2147483647 w 186"/>
              <a:gd name="T11" fmla="*/ 2147483647 h 166"/>
              <a:gd name="T12" fmla="*/ 2147483647 w 186"/>
              <a:gd name="T13" fmla="*/ 2147483647 h 166"/>
              <a:gd name="T14" fmla="*/ 2147483647 w 186"/>
              <a:gd name="T15" fmla="*/ 2147483647 h 166"/>
              <a:gd name="T16" fmla="*/ 2147483647 w 186"/>
              <a:gd name="T17" fmla="*/ 2147483647 h 166"/>
              <a:gd name="T18" fmla="*/ 2147483647 w 186"/>
              <a:gd name="T19" fmla="*/ 2147483647 h 166"/>
              <a:gd name="T20" fmla="*/ 0 w 186"/>
              <a:gd name="T21" fmla="*/ 2147483647 h 166"/>
              <a:gd name="T22" fmla="*/ 0 w 186"/>
              <a:gd name="T23" fmla="*/ 0 h 166"/>
              <a:gd name="T24" fmla="*/ 2147483647 w 186"/>
              <a:gd name="T25" fmla="*/ 2147483647 h 166"/>
              <a:gd name="T26" fmla="*/ 2147483647 w 186"/>
              <a:gd name="T27" fmla="*/ 2147483647 h 166"/>
              <a:gd name="T28" fmla="*/ 2147483647 w 186"/>
              <a:gd name="T29" fmla="*/ 2147483647 h 166"/>
              <a:gd name="T30" fmla="*/ 2147483647 w 186"/>
              <a:gd name="T31" fmla="*/ 2147483647 h 166"/>
              <a:gd name="T32" fmla="*/ 2147483647 w 186"/>
              <a:gd name="T33" fmla="*/ 2147483647 h 166"/>
              <a:gd name="T34" fmla="*/ 2147483647 w 186"/>
              <a:gd name="T35" fmla="*/ 2147483647 h 166"/>
              <a:gd name="T36" fmla="*/ 2147483647 w 186"/>
              <a:gd name="T37" fmla="*/ 2147483647 h 166"/>
              <a:gd name="T38" fmla="*/ 2147483647 w 186"/>
              <a:gd name="T39" fmla="*/ 0 h 166"/>
              <a:gd name="T40" fmla="*/ 2147483647 w 186"/>
              <a:gd name="T41" fmla="*/ 2147483647 h 166"/>
              <a:gd name="T42" fmla="*/ 2147483647 w 186"/>
              <a:gd name="T43" fmla="*/ 2147483647 h 166"/>
              <a:gd name="T44" fmla="*/ 2147483647 w 186"/>
              <a:gd name="T45" fmla="*/ 2147483647 h 166"/>
              <a:gd name="T46" fmla="*/ 2147483647 w 186"/>
              <a:gd name="T47" fmla="*/ 2147483647 h 166"/>
              <a:gd name="T48" fmla="*/ 2147483647 w 186"/>
              <a:gd name="T49" fmla="*/ 2147483647 h 166"/>
              <a:gd name="T50" fmla="*/ 2147483647 w 186"/>
              <a:gd name="T51" fmla="*/ 2147483647 h 166"/>
              <a:gd name="T52" fmla="*/ 2147483647 w 186"/>
              <a:gd name="T53" fmla="*/ 2147483647 h 166"/>
              <a:gd name="T54" fmla="*/ 2147483647 w 186"/>
              <a:gd name="T55" fmla="*/ 2147483647 h 166"/>
              <a:gd name="T56" fmla="*/ 2147483647 w 186"/>
              <a:gd name="T57" fmla="*/ 2147483647 h 166"/>
              <a:gd name="T58" fmla="*/ 2147483647 w 186"/>
              <a:gd name="T59" fmla="*/ 2147483647 h 166"/>
              <a:gd name="T60" fmla="*/ 2147483647 w 186"/>
              <a:gd name="T61" fmla="*/ 214748364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2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897053" y="4628778"/>
            <a:ext cx="82550" cy="57150"/>
          </a:xfrm>
          <a:custGeom>
            <a:avLst/>
            <a:gdLst>
              <a:gd name="T0" fmla="*/ 2147483647 w 186"/>
              <a:gd name="T1" fmla="*/ 2147483647 h 104"/>
              <a:gd name="T2" fmla="*/ 2147483647 w 186"/>
              <a:gd name="T3" fmla="*/ 2147483647 h 104"/>
              <a:gd name="T4" fmla="*/ 2147483647 w 186"/>
              <a:gd name="T5" fmla="*/ 2147483647 h 104"/>
              <a:gd name="T6" fmla="*/ 2147483647 w 186"/>
              <a:gd name="T7" fmla="*/ 2147483647 h 104"/>
              <a:gd name="T8" fmla="*/ 2147483647 w 186"/>
              <a:gd name="T9" fmla="*/ 2147483647 h 104"/>
              <a:gd name="T10" fmla="*/ 2147483647 w 186"/>
              <a:gd name="T11" fmla="*/ 2147483647 h 104"/>
              <a:gd name="T12" fmla="*/ 2147483647 w 186"/>
              <a:gd name="T13" fmla="*/ 2147483647 h 104"/>
              <a:gd name="T14" fmla="*/ 2147483647 w 186"/>
              <a:gd name="T15" fmla="*/ 2147483647 h 104"/>
              <a:gd name="T16" fmla="*/ 2147483647 w 186"/>
              <a:gd name="T17" fmla="*/ 2147483647 h 104"/>
              <a:gd name="T18" fmla="*/ 2147483647 w 186"/>
              <a:gd name="T19" fmla="*/ 2147483647 h 104"/>
              <a:gd name="T20" fmla="*/ 2147483647 w 186"/>
              <a:gd name="T21" fmla="*/ 2147483647 h 104"/>
              <a:gd name="T22" fmla="*/ 2147483647 w 186"/>
              <a:gd name="T23" fmla="*/ 2147483647 h 104"/>
              <a:gd name="T24" fmla="*/ 2147483647 w 186"/>
              <a:gd name="T25" fmla="*/ 2147483647 h 104"/>
              <a:gd name="T26" fmla="*/ 2147483647 w 186"/>
              <a:gd name="T27" fmla="*/ 0 h 104"/>
              <a:gd name="T28" fmla="*/ 2147483647 w 186"/>
              <a:gd name="T29" fmla="*/ 0 h 104"/>
              <a:gd name="T30" fmla="*/ 2147483647 w 186"/>
              <a:gd name="T31" fmla="*/ 2147483647 h 104"/>
              <a:gd name="T32" fmla="*/ 2147483647 w 186"/>
              <a:gd name="T33" fmla="*/ 2147483647 h 104"/>
              <a:gd name="T34" fmla="*/ 2147483647 w 186"/>
              <a:gd name="T35" fmla="*/ 2147483647 h 104"/>
              <a:gd name="T36" fmla="*/ 2147483647 w 186"/>
              <a:gd name="T37" fmla="*/ 2147483647 h 104"/>
              <a:gd name="T38" fmla="*/ 2147483647 w 186"/>
              <a:gd name="T39" fmla="*/ 2147483647 h 104"/>
              <a:gd name="T40" fmla="*/ 2147483647 w 186"/>
              <a:gd name="T41" fmla="*/ 2147483647 h 104"/>
              <a:gd name="T42" fmla="*/ 2147483647 w 186"/>
              <a:gd name="T43" fmla="*/ 2147483647 h 104"/>
              <a:gd name="T44" fmla="*/ 2147483647 w 186"/>
              <a:gd name="T45" fmla="*/ 2147483647 h 104"/>
              <a:gd name="T46" fmla="*/ 2147483647 w 186"/>
              <a:gd name="T47" fmla="*/ 2147483647 h 104"/>
              <a:gd name="T48" fmla="*/ 0 w 186"/>
              <a:gd name="T49" fmla="*/ 2147483647 h 104"/>
              <a:gd name="T50" fmla="*/ 2147483647 w 186"/>
              <a:gd name="T51" fmla="*/ 2147483647 h 104"/>
              <a:gd name="T52" fmla="*/ 2147483647 w 186"/>
              <a:gd name="T53" fmla="*/ 2147483647 h 104"/>
              <a:gd name="T54" fmla="*/ 2147483647 w 186"/>
              <a:gd name="T55" fmla="*/ 2147483647 h 104"/>
              <a:gd name="T56" fmla="*/ 2147483647 w 186"/>
              <a:gd name="T57" fmla="*/ 2147483647 h 104"/>
              <a:gd name="T58" fmla="*/ 2147483647 w 186"/>
              <a:gd name="T59" fmla="*/ 2147483647 h 104"/>
              <a:gd name="T60" fmla="*/ 2147483647 w 186"/>
              <a:gd name="T61" fmla="*/ 2147483647 h 104"/>
              <a:gd name="T62" fmla="*/ 2147483647 w 186"/>
              <a:gd name="T63" fmla="*/ 2147483647 h 104"/>
              <a:gd name="T64" fmla="*/ 2147483647 w 186"/>
              <a:gd name="T65" fmla="*/ 2147483647 h 104"/>
              <a:gd name="T66" fmla="*/ 2147483647 w 186"/>
              <a:gd name="T67" fmla="*/ 2147483647 h 104"/>
              <a:gd name="T68" fmla="*/ 2147483647 w 186"/>
              <a:gd name="T69" fmla="*/ 2147483647 h 104"/>
              <a:gd name="T70" fmla="*/ 2147483647 w 186"/>
              <a:gd name="T71" fmla="*/ 2147483647 h 104"/>
              <a:gd name="T72" fmla="*/ 2147483647 w 186"/>
              <a:gd name="T73" fmla="*/ 2147483647 h 104"/>
              <a:gd name="T74" fmla="*/ 2147483647 w 186"/>
              <a:gd name="T75" fmla="*/ 2147483647 h 104"/>
              <a:gd name="T76" fmla="*/ 2147483647 w 186"/>
              <a:gd name="T77" fmla="*/ 2147483647 h 104"/>
              <a:gd name="T78" fmla="*/ 2147483647 w 186"/>
              <a:gd name="T79" fmla="*/ 2147483647 h 104"/>
              <a:gd name="T80" fmla="*/ 2147483647 w 186"/>
              <a:gd name="T81" fmla="*/ 2147483647 h 104"/>
              <a:gd name="T82" fmla="*/ 2147483647 w 186"/>
              <a:gd name="T83" fmla="*/ 2147483647 h 104"/>
              <a:gd name="T84" fmla="*/ 2147483647 w 186"/>
              <a:gd name="T85" fmla="*/ 2147483647 h 104"/>
              <a:gd name="T86" fmla="*/ 2147483647 w 186"/>
              <a:gd name="T87" fmla="*/ 2147483647 h 104"/>
              <a:gd name="T88" fmla="*/ 2147483647 w 186"/>
              <a:gd name="T89" fmla="*/ 2147483647 h 104"/>
              <a:gd name="T90" fmla="*/ 2147483647 w 186"/>
              <a:gd name="T91" fmla="*/ 2147483647 h 104"/>
              <a:gd name="T92" fmla="*/ 2147483647 w 186"/>
              <a:gd name="T93" fmla="*/ 2147483647 h 104"/>
              <a:gd name="T94" fmla="*/ 2147483647 w 186"/>
              <a:gd name="T95" fmla="*/ 2147483647 h 104"/>
              <a:gd name="T96" fmla="*/ 2147483647 w 186"/>
              <a:gd name="T97" fmla="*/ 2147483647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33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690928" y="3227015"/>
            <a:ext cx="133350" cy="96838"/>
          </a:xfrm>
          <a:custGeom>
            <a:avLst/>
            <a:gdLst>
              <a:gd name="T0" fmla="*/ 2147483647 w 311"/>
              <a:gd name="T1" fmla="*/ 2147483647 h 179"/>
              <a:gd name="T2" fmla="*/ 2147483647 w 311"/>
              <a:gd name="T3" fmla="*/ 2147483647 h 179"/>
              <a:gd name="T4" fmla="*/ 2147483647 w 311"/>
              <a:gd name="T5" fmla="*/ 2147483647 h 179"/>
              <a:gd name="T6" fmla="*/ 2147483647 w 311"/>
              <a:gd name="T7" fmla="*/ 2147483647 h 179"/>
              <a:gd name="T8" fmla="*/ 2147483647 w 311"/>
              <a:gd name="T9" fmla="*/ 0 h 179"/>
              <a:gd name="T10" fmla="*/ 2147483647 w 311"/>
              <a:gd name="T11" fmla="*/ 2147483647 h 179"/>
              <a:gd name="T12" fmla="*/ 2147483647 w 311"/>
              <a:gd name="T13" fmla="*/ 2147483647 h 179"/>
              <a:gd name="T14" fmla="*/ 2147483647 w 311"/>
              <a:gd name="T15" fmla="*/ 2147483647 h 179"/>
              <a:gd name="T16" fmla="*/ 2147483647 w 311"/>
              <a:gd name="T17" fmla="*/ 2147483647 h 179"/>
              <a:gd name="T18" fmla="*/ 2147483647 w 311"/>
              <a:gd name="T19" fmla="*/ 2147483647 h 179"/>
              <a:gd name="T20" fmla="*/ 2147483647 w 311"/>
              <a:gd name="T21" fmla="*/ 2147483647 h 179"/>
              <a:gd name="T22" fmla="*/ 2147483647 w 311"/>
              <a:gd name="T23" fmla="*/ 2147483647 h 179"/>
              <a:gd name="T24" fmla="*/ 2147483647 w 311"/>
              <a:gd name="T25" fmla="*/ 2147483647 h 179"/>
              <a:gd name="T26" fmla="*/ 2147483647 w 311"/>
              <a:gd name="T27" fmla="*/ 2147483647 h 179"/>
              <a:gd name="T28" fmla="*/ 2147483647 w 311"/>
              <a:gd name="T29" fmla="*/ 2147483647 h 179"/>
              <a:gd name="T30" fmla="*/ 2147483647 w 311"/>
              <a:gd name="T31" fmla="*/ 2147483647 h 179"/>
              <a:gd name="T32" fmla="*/ 2147483647 w 311"/>
              <a:gd name="T33" fmla="*/ 2147483647 h 179"/>
              <a:gd name="T34" fmla="*/ 2147483647 w 311"/>
              <a:gd name="T35" fmla="*/ 2147483647 h 179"/>
              <a:gd name="T36" fmla="*/ 2147483647 w 311"/>
              <a:gd name="T37" fmla="*/ 2147483647 h 179"/>
              <a:gd name="T38" fmla="*/ 2147483647 w 311"/>
              <a:gd name="T39" fmla="*/ 2147483647 h 179"/>
              <a:gd name="T40" fmla="*/ 2147483647 w 311"/>
              <a:gd name="T41" fmla="*/ 2147483647 h 179"/>
              <a:gd name="T42" fmla="*/ 2147483647 w 311"/>
              <a:gd name="T43" fmla="*/ 2147483647 h 179"/>
              <a:gd name="T44" fmla="*/ 2147483647 w 311"/>
              <a:gd name="T45" fmla="*/ 2147483647 h 179"/>
              <a:gd name="T46" fmla="*/ 2147483647 w 311"/>
              <a:gd name="T47" fmla="*/ 2147483647 h 179"/>
              <a:gd name="T48" fmla="*/ 2147483647 w 311"/>
              <a:gd name="T49" fmla="*/ 2147483647 h 179"/>
              <a:gd name="T50" fmla="*/ 2147483647 w 311"/>
              <a:gd name="T51" fmla="*/ 2147483647 h 179"/>
              <a:gd name="T52" fmla="*/ 2147483647 w 311"/>
              <a:gd name="T53" fmla="*/ 2147483647 h 179"/>
              <a:gd name="T54" fmla="*/ 2147483647 w 311"/>
              <a:gd name="T55" fmla="*/ 2147483647 h 179"/>
              <a:gd name="T56" fmla="*/ 2147483647 w 311"/>
              <a:gd name="T57" fmla="*/ 2147483647 h 179"/>
              <a:gd name="T58" fmla="*/ 2147483647 w 311"/>
              <a:gd name="T59" fmla="*/ 2147483647 h 179"/>
              <a:gd name="T60" fmla="*/ 2147483647 w 311"/>
              <a:gd name="T61" fmla="*/ 2147483647 h 179"/>
              <a:gd name="T62" fmla="*/ 2147483647 w 311"/>
              <a:gd name="T63" fmla="*/ 2147483647 h 179"/>
              <a:gd name="T64" fmla="*/ 2147483647 w 311"/>
              <a:gd name="T65" fmla="*/ 2147483647 h 179"/>
              <a:gd name="T66" fmla="*/ 2147483647 w 311"/>
              <a:gd name="T67" fmla="*/ 2147483647 h 179"/>
              <a:gd name="T68" fmla="*/ 2147483647 w 311"/>
              <a:gd name="T69" fmla="*/ 2147483647 h 179"/>
              <a:gd name="T70" fmla="*/ 2147483647 w 311"/>
              <a:gd name="T71" fmla="*/ 2147483647 h 179"/>
              <a:gd name="T72" fmla="*/ 2147483647 w 311"/>
              <a:gd name="T73" fmla="*/ 2147483647 h 179"/>
              <a:gd name="T74" fmla="*/ 0 w 311"/>
              <a:gd name="T75" fmla="*/ 2147483647 h 179"/>
              <a:gd name="T76" fmla="*/ 0 w 311"/>
              <a:gd name="T77" fmla="*/ 2147483647 h 179"/>
              <a:gd name="T78" fmla="*/ 2147483647 w 311"/>
              <a:gd name="T79" fmla="*/ 2147483647 h 179"/>
              <a:gd name="T80" fmla="*/ 2147483647 w 311"/>
              <a:gd name="T81" fmla="*/ 2147483647 h 179"/>
              <a:gd name="T82" fmla="*/ 2147483647 w 311"/>
              <a:gd name="T83" fmla="*/ 2147483647 h 179"/>
              <a:gd name="T84" fmla="*/ 2147483647 w 311"/>
              <a:gd name="T85" fmla="*/ 2147483647 h 179"/>
              <a:gd name="T86" fmla="*/ 2147483647 w 311"/>
              <a:gd name="T87" fmla="*/ 2147483647 h 179"/>
              <a:gd name="T88" fmla="*/ 2147483647 w 311"/>
              <a:gd name="T89" fmla="*/ 2147483647 h 179"/>
              <a:gd name="T90" fmla="*/ 2147483647 w 311"/>
              <a:gd name="T91" fmla="*/ 2147483647 h 179"/>
              <a:gd name="T92" fmla="*/ 2147483647 w 311"/>
              <a:gd name="T93" fmla="*/ 2147483647 h 179"/>
              <a:gd name="T94" fmla="*/ 2147483647 w 311"/>
              <a:gd name="T95" fmla="*/ 2147483647 h 179"/>
              <a:gd name="T96" fmla="*/ 2147483647 w 311"/>
              <a:gd name="T97" fmla="*/ 2147483647 h 179"/>
              <a:gd name="T98" fmla="*/ 2147483647 w 311"/>
              <a:gd name="T99" fmla="*/ 2147483647 h 179"/>
              <a:gd name="T100" fmla="*/ 0 w 311"/>
              <a:gd name="T101" fmla="*/ 2147483647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334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4046403" y="4154115"/>
            <a:ext cx="177800" cy="165100"/>
          </a:xfrm>
          <a:custGeom>
            <a:avLst/>
            <a:gdLst>
              <a:gd name="T0" fmla="*/ 2147483647 w 405"/>
              <a:gd name="T1" fmla="*/ 2147483647 h 314"/>
              <a:gd name="T2" fmla="*/ 2147483647 w 405"/>
              <a:gd name="T3" fmla="*/ 2147483647 h 314"/>
              <a:gd name="T4" fmla="*/ 2147483647 w 405"/>
              <a:gd name="T5" fmla="*/ 2147483647 h 314"/>
              <a:gd name="T6" fmla="*/ 2147483647 w 405"/>
              <a:gd name="T7" fmla="*/ 2147483647 h 314"/>
              <a:gd name="T8" fmla="*/ 2147483647 w 405"/>
              <a:gd name="T9" fmla="*/ 2147483647 h 314"/>
              <a:gd name="T10" fmla="*/ 2147483647 w 405"/>
              <a:gd name="T11" fmla="*/ 2147483647 h 314"/>
              <a:gd name="T12" fmla="*/ 2147483647 w 405"/>
              <a:gd name="T13" fmla="*/ 2147483647 h 314"/>
              <a:gd name="T14" fmla="*/ 2147483647 w 405"/>
              <a:gd name="T15" fmla="*/ 2147483647 h 314"/>
              <a:gd name="T16" fmla="*/ 2147483647 w 405"/>
              <a:gd name="T17" fmla="*/ 2147483647 h 314"/>
              <a:gd name="T18" fmla="*/ 2147483647 w 405"/>
              <a:gd name="T19" fmla="*/ 2147483647 h 314"/>
              <a:gd name="T20" fmla="*/ 2147483647 w 405"/>
              <a:gd name="T21" fmla="*/ 2147483647 h 314"/>
              <a:gd name="T22" fmla="*/ 2147483647 w 405"/>
              <a:gd name="T23" fmla="*/ 2147483647 h 314"/>
              <a:gd name="T24" fmla="*/ 2147483647 w 405"/>
              <a:gd name="T25" fmla="*/ 2147483647 h 314"/>
              <a:gd name="T26" fmla="*/ 2147483647 w 405"/>
              <a:gd name="T27" fmla="*/ 2147483647 h 314"/>
              <a:gd name="T28" fmla="*/ 2147483647 w 405"/>
              <a:gd name="T29" fmla="*/ 2147483647 h 314"/>
              <a:gd name="T30" fmla="*/ 2147483647 w 405"/>
              <a:gd name="T31" fmla="*/ 2147483647 h 314"/>
              <a:gd name="T32" fmla="*/ 2147483647 w 405"/>
              <a:gd name="T33" fmla="*/ 2147483647 h 314"/>
              <a:gd name="T34" fmla="*/ 2147483647 w 405"/>
              <a:gd name="T35" fmla="*/ 2147483647 h 314"/>
              <a:gd name="T36" fmla="*/ 2147483647 w 405"/>
              <a:gd name="T37" fmla="*/ 2147483647 h 314"/>
              <a:gd name="T38" fmla="*/ 2147483647 w 405"/>
              <a:gd name="T39" fmla="*/ 2147483647 h 314"/>
              <a:gd name="T40" fmla="*/ 2147483647 w 405"/>
              <a:gd name="T41" fmla="*/ 0 h 314"/>
              <a:gd name="T42" fmla="*/ 2147483647 w 405"/>
              <a:gd name="T43" fmla="*/ 2147483647 h 314"/>
              <a:gd name="T44" fmla="*/ 2147483647 w 405"/>
              <a:gd name="T45" fmla="*/ 2147483647 h 314"/>
              <a:gd name="T46" fmla="*/ 2147483647 w 405"/>
              <a:gd name="T47" fmla="*/ 2147483647 h 314"/>
              <a:gd name="T48" fmla="*/ 2147483647 w 405"/>
              <a:gd name="T49" fmla="*/ 2147483647 h 314"/>
              <a:gd name="T50" fmla="*/ 2147483647 w 405"/>
              <a:gd name="T51" fmla="*/ 2147483647 h 314"/>
              <a:gd name="T52" fmla="*/ 2147483647 w 405"/>
              <a:gd name="T53" fmla="*/ 2147483647 h 314"/>
              <a:gd name="T54" fmla="*/ 2147483647 w 405"/>
              <a:gd name="T55" fmla="*/ 2147483647 h 314"/>
              <a:gd name="T56" fmla="*/ 2147483647 w 405"/>
              <a:gd name="T57" fmla="*/ 2147483647 h 314"/>
              <a:gd name="T58" fmla="*/ 2147483647 w 405"/>
              <a:gd name="T59" fmla="*/ 2147483647 h 314"/>
              <a:gd name="T60" fmla="*/ 2147483647 w 405"/>
              <a:gd name="T61" fmla="*/ 2147483647 h 314"/>
              <a:gd name="T62" fmla="*/ 2147483647 w 405"/>
              <a:gd name="T63" fmla="*/ 2147483647 h 314"/>
              <a:gd name="T64" fmla="*/ 2147483647 w 405"/>
              <a:gd name="T65" fmla="*/ 2147483647 h 314"/>
              <a:gd name="T66" fmla="*/ 2147483647 w 405"/>
              <a:gd name="T67" fmla="*/ 2147483647 h 314"/>
              <a:gd name="T68" fmla="*/ 2147483647 w 405"/>
              <a:gd name="T69" fmla="*/ 2147483647 h 314"/>
              <a:gd name="T70" fmla="*/ 2147483647 w 405"/>
              <a:gd name="T71" fmla="*/ 2147483647 h 314"/>
              <a:gd name="T72" fmla="*/ 2147483647 w 405"/>
              <a:gd name="T73" fmla="*/ 2147483647 h 314"/>
              <a:gd name="T74" fmla="*/ 2147483647 w 405"/>
              <a:gd name="T75" fmla="*/ 2147483647 h 314"/>
              <a:gd name="T76" fmla="*/ 2147483647 w 405"/>
              <a:gd name="T77" fmla="*/ 2147483647 h 314"/>
              <a:gd name="T78" fmla="*/ 2147483647 w 405"/>
              <a:gd name="T79" fmla="*/ 2147483647 h 314"/>
              <a:gd name="T80" fmla="*/ 2147483647 w 405"/>
              <a:gd name="T81" fmla="*/ 2147483647 h 314"/>
              <a:gd name="T82" fmla="*/ 2147483647 w 405"/>
              <a:gd name="T83" fmla="*/ 2147483647 h 314"/>
              <a:gd name="T84" fmla="*/ 2147483647 w 405"/>
              <a:gd name="T85" fmla="*/ 2147483647 h 314"/>
              <a:gd name="T86" fmla="*/ 2147483647 w 405"/>
              <a:gd name="T87" fmla="*/ 2147483647 h 314"/>
              <a:gd name="T88" fmla="*/ 2147483647 w 405"/>
              <a:gd name="T89" fmla="*/ 2147483647 h 314"/>
              <a:gd name="T90" fmla="*/ 2147483647 w 405"/>
              <a:gd name="T91" fmla="*/ 2147483647 h 314"/>
              <a:gd name="T92" fmla="*/ 2147483647 w 405"/>
              <a:gd name="T93" fmla="*/ 2147483647 h 314"/>
              <a:gd name="T94" fmla="*/ 2147483647 w 405"/>
              <a:gd name="T95" fmla="*/ 2147483647 h 314"/>
              <a:gd name="T96" fmla="*/ 2147483647 w 405"/>
              <a:gd name="T97" fmla="*/ 2147483647 h 314"/>
              <a:gd name="T98" fmla="*/ 2147483647 w 405"/>
              <a:gd name="T99" fmla="*/ 2147483647 h 314"/>
              <a:gd name="T100" fmla="*/ 2147483647 w 405"/>
              <a:gd name="T101" fmla="*/ 2147483647 h 314"/>
              <a:gd name="T102" fmla="*/ 2147483647 w 405"/>
              <a:gd name="T103" fmla="*/ 2147483647 h 314"/>
              <a:gd name="T104" fmla="*/ 0 w 405"/>
              <a:gd name="T105" fmla="*/ 2147483647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5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394065" y="4222378"/>
            <a:ext cx="193675" cy="349250"/>
          </a:xfrm>
          <a:custGeom>
            <a:avLst/>
            <a:gdLst>
              <a:gd name="T0" fmla="*/ 2147483647 w 453"/>
              <a:gd name="T1" fmla="*/ 2147483647 h 661"/>
              <a:gd name="T2" fmla="*/ 2147483647 w 453"/>
              <a:gd name="T3" fmla="*/ 2147483647 h 661"/>
              <a:gd name="T4" fmla="*/ 2147483647 w 453"/>
              <a:gd name="T5" fmla="*/ 2147483647 h 661"/>
              <a:gd name="T6" fmla="*/ 2147483647 w 453"/>
              <a:gd name="T7" fmla="*/ 2147483647 h 661"/>
              <a:gd name="T8" fmla="*/ 2147483647 w 453"/>
              <a:gd name="T9" fmla="*/ 2147483647 h 661"/>
              <a:gd name="T10" fmla="*/ 2147483647 w 453"/>
              <a:gd name="T11" fmla="*/ 2147483647 h 661"/>
              <a:gd name="T12" fmla="*/ 2147483647 w 453"/>
              <a:gd name="T13" fmla="*/ 2147483647 h 661"/>
              <a:gd name="T14" fmla="*/ 2147483647 w 453"/>
              <a:gd name="T15" fmla="*/ 2147483647 h 661"/>
              <a:gd name="T16" fmla="*/ 2147483647 w 453"/>
              <a:gd name="T17" fmla="*/ 2147483647 h 661"/>
              <a:gd name="T18" fmla="*/ 2147483647 w 453"/>
              <a:gd name="T19" fmla="*/ 2147483647 h 661"/>
              <a:gd name="T20" fmla="*/ 2147483647 w 453"/>
              <a:gd name="T21" fmla="*/ 2147483647 h 661"/>
              <a:gd name="T22" fmla="*/ 2147483647 w 453"/>
              <a:gd name="T23" fmla="*/ 2147483647 h 661"/>
              <a:gd name="T24" fmla="*/ 2147483647 w 453"/>
              <a:gd name="T25" fmla="*/ 2147483647 h 661"/>
              <a:gd name="T26" fmla="*/ 2147483647 w 453"/>
              <a:gd name="T27" fmla="*/ 2147483647 h 661"/>
              <a:gd name="T28" fmla="*/ 2147483647 w 453"/>
              <a:gd name="T29" fmla="*/ 2147483647 h 661"/>
              <a:gd name="T30" fmla="*/ 2147483647 w 453"/>
              <a:gd name="T31" fmla="*/ 2147483647 h 661"/>
              <a:gd name="T32" fmla="*/ 2147483647 w 453"/>
              <a:gd name="T33" fmla="*/ 2147483647 h 661"/>
              <a:gd name="T34" fmla="*/ 2147483647 w 453"/>
              <a:gd name="T35" fmla="*/ 2147483647 h 661"/>
              <a:gd name="T36" fmla="*/ 2147483647 w 453"/>
              <a:gd name="T37" fmla="*/ 2147483647 h 661"/>
              <a:gd name="T38" fmla="*/ 2147483647 w 453"/>
              <a:gd name="T39" fmla="*/ 2147483647 h 661"/>
              <a:gd name="T40" fmla="*/ 2147483647 w 453"/>
              <a:gd name="T41" fmla="*/ 2147483647 h 661"/>
              <a:gd name="T42" fmla="*/ 2147483647 w 453"/>
              <a:gd name="T43" fmla="*/ 2147483647 h 661"/>
              <a:gd name="T44" fmla="*/ 2147483647 w 453"/>
              <a:gd name="T45" fmla="*/ 2147483647 h 661"/>
              <a:gd name="T46" fmla="*/ 2147483647 w 453"/>
              <a:gd name="T47" fmla="*/ 2147483647 h 661"/>
              <a:gd name="T48" fmla="*/ 2147483647 w 453"/>
              <a:gd name="T49" fmla="*/ 2147483647 h 661"/>
              <a:gd name="T50" fmla="*/ 2147483647 w 453"/>
              <a:gd name="T51" fmla="*/ 2147483647 h 661"/>
              <a:gd name="T52" fmla="*/ 2147483647 w 453"/>
              <a:gd name="T53" fmla="*/ 2147483647 h 661"/>
              <a:gd name="T54" fmla="*/ 2147483647 w 453"/>
              <a:gd name="T55" fmla="*/ 2147483647 h 661"/>
              <a:gd name="T56" fmla="*/ 2147483647 w 453"/>
              <a:gd name="T57" fmla="*/ 2147483647 h 661"/>
              <a:gd name="T58" fmla="*/ 2147483647 w 453"/>
              <a:gd name="T59" fmla="*/ 2147483647 h 661"/>
              <a:gd name="T60" fmla="*/ 2147483647 w 453"/>
              <a:gd name="T61" fmla="*/ 2147483647 h 661"/>
              <a:gd name="T62" fmla="*/ 2147483647 w 453"/>
              <a:gd name="T63" fmla="*/ 2147483647 h 661"/>
              <a:gd name="T64" fmla="*/ 2147483647 w 453"/>
              <a:gd name="T65" fmla="*/ 2147483647 h 661"/>
              <a:gd name="T66" fmla="*/ 2147483647 w 453"/>
              <a:gd name="T67" fmla="*/ 2147483647 h 661"/>
              <a:gd name="T68" fmla="*/ 2147483647 w 453"/>
              <a:gd name="T69" fmla="*/ 2147483647 h 661"/>
              <a:gd name="T70" fmla="*/ 2147483647 w 453"/>
              <a:gd name="T71" fmla="*/ 2147483647 h 661"/>
              <a:gd name="T72" fmla="*/ 2147483647 w 453"/>
              <a:gd name="T73" fmla="*/ 2147483647 h 661"/>
              <a:gd name="T74" fmla="*/ 2147483647 w 453"/>
              <a:gd name="T75" fmla="*/ 2147483647 h 661"/>
              <a:gd name="T76" fmla="*/ 2147483647 w 453"/>
              <a:gd name="T77" fmla="*/ 2147483647 h 661"/>
              <a:gd name="T78" fmla="*/ 2147483647 w 453"/>
              <a:gd name="T79" fmla="*/ 2147483647 h 661"/>
              <a:gd name="T80" fmla="*/ 2147483647 w 453"/>
              <a:gd name="T81" fmla="*/ 2147483647 h 661"/>
              <a:gd name="T82" fmla="*/ 2147483647 w 453"/>
              <a:gd name="T83" fmla="*/ 2147483647 h 661"/>
              <a:gd name="T84" fmla="*/ 2147483647 w 453"/>
              <a:gd name="T85" fmla="*/ 2147483647 h 661"/>
              <a:gd name="T86" fmla="*/ 2147483647 w 453"/>
              <a:gd name="T87" fmla="*/ 2147483647 h 661"/>
              <a:gd name="T88" fmla="*/ 2147483647 w 453"/>
              <a:gd name="T89" fmla="*/ 2147483647 h 661"/>
              <a:gd name="T90" fmla="*/ 2147483647 w 453"/>
              <a:gd name="T91" fmla="*/ 2147483647 h 661"/>
              <a:gd name="T92" fmla="*/ 2147483647 w 453"/>
              <a:gd name="T93" fmla="*/ 2147483647 h 661"/>
              <a:gd name="T94" fmla="*/ 2147483647 w 453"/>
              <a:gd name="T95" fmla="*/ 2147483647 h 661"/>
              <a:gd name="T96" fmla="*/ 2147483647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6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845165" y="3981078"/>
            <a:ext cx="55563" cy="57150"/>
          </a:xfrm>
          <a:custGeom>
            <a:avLst/>
            <a:gdLst>
              <a:gd name="T0" fmla="*/ 0 w 126"/>
              <a:gd name="T1" fmla="*/ 2147483647 h 105"/>
              <a:gd name="T2" fmla="*/ 2147483647 w 126"/>
              <a:gd name="T3" fmla="*/ 2147483647 h 105"/>
              <a:gd name="T4" fmla="*/ 2147483647 w 126"/>
              <a:gd name="T5" fmla="*/ 2147483647 h 105"/>
              <a:gd name="T6" fmla="*/ 2147483647 w 126"/>
              <a:gd name="T7" fmla="*/ 2147483647 h 105"/>
              <a:gd name="T8" fmla="*/ 2147483647 w 126"/>
              <a:gd name="T9" fmla="*/ 2147483647 h 105"/>
              <a:gd name="T10" fmla="*/ 2147483647 w 126"/>
              <a:gd name="T11" fmla="*/ 2147483647 h 105"/>
              <a:gd name="T12" fmla="*/ 2147483647 w 126"/>
              <a:gd name="T13" fmla="*/ 0 h 105"/>
              <a:gd name="T14" fmla="*/ 2147483647 w 126"/>
              <a:gd name="T15" fmla="*/ 0 h 105"/>
              <a:gd name="T16" fmla="*/ 2147483647 w 126"/>
              <a:gd name="T17" fmla="*/ 2147483647 h 105"/>
              <a:gd name="T18" fmla="*/ 2147483647 w 126"/>
              <a:gd name="T19" fmla="*/ 2147483647 h 105"/>
              <a:gd name="T20" fmla="*/ 2147483647 w 126"/>
              <a:gd name="T21" fmla="*/ 2147483647 h 105"/>
              <a:gd name="T22" fmla="*/ 2147483647 w 126"/>
              <a:gd name="T23" fmla="*/ 2147483647 h 105"/>
              <a:gd name="T24" fmla="*/ 2147483647 w 126"/>
              <a:gd name="T25" fmla="*/ 2147483647 h 105"/>
              <a:gd name="T26" fmla="*/ 2147483647 w 126"/>
              <a:gd name="T27" fmla="*/ 2147483647 h 105"/>
              <a:gd name="T28" fmla="*/ 2147483647 w 126"/>
              <a:gd name="T29" fmla="*/ 2147483647 h 105"/>
              <a:gd name="T30" fmla="*/ 2147483647 w 126"/>
              <a:gd name="T31" fmla="*/ 2147483647 h 105"/>
              <a:gd name="T32" fmla="*/ 2147483647 w 126"/>
              <a:gd name="T33" fmla="*/ 2147483647 h 105"/>
              <a:gd name="T34" fmla="*/ 2147483647 w 126"/>
              <a:gd name="T35" fmla="*/ 2147483647 h 105"/>
              <a:gd name="T36" fmla="*/ 2147483647 w 126"/>
              <a:gd name="T37" fmla="*/ 2147483647 h 105"/>
              <a:gd name="T38" fmla="*/ 2147483647 w 126"/>
              <a:gd name="T39" fmla="*/ 2147483647 h 105"/>
              <a:gd name="T40" fmla="*/ 2147483647 w 126"/>
              <a:gd name="T41" fmla="*/ 2147483647 h 105"/>
              <a:gd name="T42" fmla="*/ 2147483647 w 126"/>
              <a:gd name="T43" fmla="*/ 2147483647 h 105"/>
              <a:gd name="T44" fmla="*/ 2147483647 w 126"/>
              <a:gd name="T45" fmla="*/ 2147483647 h 105"/>
              <a:gd name="T46" fmla="*/ 2147483647 w 126"/>
              <a:gd name="T47" fmla="*/ 2147483647 h 105"/>
              <a:gd name="T48" fmla="*/ 2147483647 w 126"/>
              <a:gd name="T49" fmla="*/ 2147483647 h 105"/>
              <a:gd name="T50" fmla="*/ 2147483647 w 126"/>
              <a:gd name="T51" fmla="*/ 2147483647 h 105"/>
              <a:gd name="T52" fmla="*/ 2147483647 w 126"/>
              <a:gd name="T53" fmla="*/ 2147483647 h 105"/>
              <a:gd name="T54" fmla="*/ 2147483647 w 126"/>
              <a:gd name="T55" fmla="*/ 2147483647 h 105"/>
              <a:gd name="T56" fmla="*/ 2147483647 w 126"/>
              <a:gd name="T57" fmla="*/ 2147483647 h 105"/>
              <a:gd name="T58" fmla="*/ 2147483647 w 126"/>
              <a:gd name="T59" fmla="*/ 2147483647 h 105"/>
              <a:gd name="T60" fmla="*/ 2147483647 w 126"/>
              <a:gd name="T61" fmla="*/ 2147483647 h 105"/>
              <a:gd name="T62" fmla="*/ 2147483647 w 126"/>
              <a:gd name="T63" fmla="*/ 2147483647 h 105"/>
              <a:gd name="T64" fmla="*/ 2147483647 w 126"/>
              <a:gd name="T65" fmla="*/ 2147483647 h 105"/>
              <a:gd name="T66" fmla="*/ 2147483647 w 126"/>
              <a:gd name="T67" fmla="*/ 2147483647 h 105"/>
              <a:gd name="T68" fmla="*/ 2147483647 w 126"/>
              <a:gd name="T69" fmla="*/ 2147483647 h 105"/>
              <a:gd name="T70" fmla="*/ 2147483647 w 126"/>
              <a:gd name="T71" fmla="*/ 2147483647 h 105"/>
              <a:gd name="T72" fmla="*/ 2147483647 w 126"/>
              <a:gd name="T73" fmla="*/ 2147483647 h 105"/>
              <a:gd name="T74" fmla="*/ 2147483647 w 126"/>
              <a:gd name="T75" fmla="*/ 2147483647 h 105"/>
              <a:gd name="T76" fmla="*/ 0 w 126"/>
              <a:gd name="T77" fmla="*/ 2147483647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7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200140" y="4244603"/>
            <a:ext cx="298450" cy="523875"/>
          </a:xfrm>
          <a:custGeom>
            <a:avLst/>
            <a:gdLst>
              <a:gd name="T0" fmla="*/ 2147483647 w 684"/>
              <a:gd name="T1" fmla="*/ 2147483647 h 998"/>
              <a:gd name="T2" fmla="*/ 2147483647 w 684"/>
              <a:gd name="T3" fmla="*/ 2147483647 h 998"/>
              <a:gd name="T4" fmla="*/ 2147483647 w 684"/>
              <a:gd name="T5" fmla="*/ 2147483647 h 998"/>
              <a:gd name="T6" fmla="*/ 2147483647 w 684"/>
              <a:gd name="T7" fmla="*/ 2147483647 h 998"/>
              <a:gd name="T8" fmla="*/ 2147483647 w 684"/>
              <a:gd name="T9" fmla="*/ 2147483647 h 998"/>
              <a:gd name="T10" fmla="*/ 2147483647 w 684"/>
              <a:gd name="T11" fmla="*/ 2147483647 h 998"/>
              <a:gd name="T12" fmla="*/ 2147483647 w 684"/>
              <a:gd name="T13" fmla="*/ 2147483647 h 998"/>
              <a:gd name="T14" fmla="*/ 2147483647 w 684"/>
              <a:gd name="T15" fmla="*/ 2147483647 h 998"/>
              <a:gd name="T16" fmla="*/ 2147483647 w 684"/>
              <a:gd name="T17" fmla="*/ 2147483647 h 998"/>
              <a:gd name="T18" fmla="*/ 2147483647 w 684"/>
              <a:gd name="T19" fmla="*/ 2147483647 h 998"/>
              <a:gd name="T20" fmla="*/ 2147483647 w 684"/>
              <a:gd name="T21" fmla="*/ 2147483647 h 998"/>
              <a:gd name="T22" fmla="*/ 2147483647 w 684"/>
              <a:gd name="T23" fmla="*/ 2147483647 h 998"/>
              <a:gd name="T24" fmla="*/ 2147483647 w 684"/>
              <a:gd name="T25" fmla="*/ 2147483647 h 998"/>
              <a:gd name="T26" fmla="*/ 2147483647 w 684"/>
              <a:gd name="T27" fmla="*/ 2147483647 h 998"/>
              <a:gd name="T28" fmla="*/ 2147483647 w 684"/>
              <a:gd name="T29" fmla="*/ 2147483647 h 998"/>
              <a:gd name="T30" fmla="*/ 2147483647 w 684"/>
              <a:gd name="T31" fmla="*/ 2147483647 h 998"/>
              <a:gd name="T32" fmla="*/ 2147483647 w 684"/>
              <a:gd name="T33" fmla="*/ 2147483647 h 998"/>
              <a:gd name="T34" fmla="*/ 2147483647 w 684"/>
              <a:gd name="T35" fmla="*/ 2147483647 h 998"/>
              <a:gd name="T36" fmla="*/ 2147483647 w 684"/>
              <a:gd name="T37" fmla="*/ 2147483647 h 998"/>
              <a:gd name="T38" fmla="*/ 2147483647 w 684"/>
              <a:gd name="T39" fmla="*/ 2147483647 h 998"/>
              <a:gd name="T40" fmla="*/ 2147483647 w 684"/>
              <a:gd name="T41" fmla="*/ 2147483647 h 998"/>
              <a:gd name="T42" fmla="*/ 2147483647 w 684"/>
              <a:gd name="T43" fmla="*/ 2147483647 h 998"/>
              <a:gd name="T44" fmla="*/ 2147483647 w 684"/>
              <a:gd name="T45" fmla="*/ 2147483647 h 998"/>
              <a:gd name="T46" fmla="*/ 2147483647 w 684"/>
              <a:gd name="T47" fmla="*/ 2147483647 h 998"/>
              <a:gd name="T48" fmla="*/ 2147483647 w 684"/>
              <a:gd name="T49" fmla="*/ 2147483647 h 998"/>
              <a:gd name="T50" fmla="*/ 2147483647 w 684"/>
              <a:gd name="T51" fmla="*/ 2147483647 h 998"/>
              <a:gd name="T52" fmla="*/ 2147483647 w 684"/>
              <a:gd name="T53" fmla="*/ 2147483647 h 998"/>
              <a:gd name="T54" fmla="*/ 2147483647 w 684"/>
              <a:gd name="T55" fmla="*/ 2147483647 h 998"/>
              <a:gd name="T56" fmla="*/ 2147483647 w 684"/>
              <a:gd name="T57" fmla="*/ 2147483647 h 998"/>
              <a:gd name="T58" fmla="*/ 2147483647 w 684"/>
              <a:gd name="T59" fmla="*/ 2147483647 h 998"/>
              <a:gd name="T60" fmla="*/ 2147483647 w 684"/>
              <a:gd name="T61" fmla="*/ 2147483647 h 998"/>
              <a:gd name="T62" fmla="*/ 2147483647 w 684"/>
              <a:gd name="T63" fmla="*/ 2147483647 h 998"/>
              <a:gd name="T64" fmla="*/ 2147483647 w 684"/>
              <a:gd name="T65" fmla="*/ 2147483647 h 998"/>
              <a:gd name="T66" fmla="*/ 2147483647 w 684"/>
              <a:gd name="T67" fmla="*/ 2147483647 h 998"/>
              <a:gd name="T68" fmla="*/ 2147483647 w 684"/>
              <a:gd name="T69" fmla="*/ 2147483647 h 998"/>
              <a:gd name="T70" fmla="*/ 2147483647 w 684"/>
              <a:gd name="T71" fmla="*/ 2147483647 h 998"/>
              <a:gd name="T72" fmla="*/ 2147483647 w 684"/>
              <a:gd name="T73" fmla="*/ 2147483647 h 998"/>
              <a:gd name="T74" fmla="*/ 2147483647 w 684"/>
              <a:gd name="T75" fmla="*/ 2147483647 h 998"/>
              <a:gd name="T76" fmla="*/ 2147483647 w 684"/>
              <a:gd name="T77" fmla="*/ 2147483647 h 998"/>
              <a:gd name="T78" fmla="*/ 2147483647 w 684"/>
              <a:gd name="T79" fmla="*/ 2147483647 h 998"/>
              <a:gd name="T80" fmla="*/ 2147483647 w 684"/>
              <a:gd name="T81" fmla="*/ 2147483647 h 998"/>
              <a:gd name="T82" fmla="*/ 2147483647 w 684"/>
              <a:gd name="T83" fmla="*/ 2147483647 h 998"/>
              <a:gd name="T84" fmla="*/ 2147483647 w 684"/>
              <a:gd name="T85" fmla="*/ 2147483647 h 998"/>
              <a:gd name="T86" fmla="*/ 2147483647 w 684"/>
              <a:gd name="T87" fmla="*/ 2147483647 h 998"/>
              <a:gd name="T88" fmla="*/ 2147483647 w 684"/>
              <a:gd name="T89" fmla="*/ 2147483647 h 998"/>
              <a:gd name="T90" fmla="*/ 2147483647 w 684"/>
              <a:gd name="T91" fmla="*/ 2147483647 h 998"/>
              <a:gd name="T92" fmla="*/ 2147483647 w 684"/>
              <a:gd name="T93" fmla="*/ 2147483647 h 998"/>
              <a:gd name="T94" fmla="*/ 2147483647 w 684"/>
              <a:gd name="T95" fmla="*/ 2147483647 h 998"/>
              <a:gd name="T96" fmla="*/ 2147483647 w 684"/>
              <a:gd name="T97" fmla="*/ 2147483647 h 998"/>
              <a:gd name="T98" fmla="*/ 2147483647 w 684"/>
              <a:gd name="T99" fmla="*/ 2147483647 h 998"/>
              <a:gd name="T100" fmla="*/ 2147483647 w 684"/>
              <a:gd name="T101" fmla="*/ 2147483647 h 998"/>
              <a:gd name="T102" fmla="*/ 2147483647 w 684"/>
              <a:gd name="T103" fmla="*/ 2147483647 h 998"/>
              <a:gd name="T104" fmla="*/ 2147483647 w 684"/>
              <a:gd name="T105" fmla="*/ 2147483647 h 998"/>
              <a:gd name="T106" fmla="*/ 2147483647 w 684"/>
              <a:gd name="T107" fmla="*/ 2147483647 h 998"/>
              <a:gd name="T108" fmla="*/ 2147483647 w 684"/>
              <a:gd name="T109" fmla="*/ 2147483647 h 998"/>
              <a:gd name="T110" fmla="*/ 2147483647 w 684"/>
              <a:gd name="T111" fmla="*/ 2147483647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8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452803" y="4512890"/>
            <a:ext cx="187325" cy="274638"/>
          </a:xfrm>
          <a:custGeom>
            <a:avLst/>
            <a:gdLst>
              <a:gd name="T0" fmla="*/ 2147483647 w 429"/>
              <a:gd name="T1" fmla="*/ 2147483647 h 524"/>
              <a:gd name="T2" fmla="*/ 2147483647 w 429"/>
              <a:gd name="T3" fmla="*/ 2147483647 h 524"/>
              <a:gd name="T4" fmla="*/ 2147483647 w 429"/>
              <a:gd name="T5" fmla="*/ 2147483647 h 524"/>
              <a:gd name="T6" fmla="*/ 2147483647 w 429"/>
              <a:gd name="T7" fmla="*/ 2147483647 h 524"/>
              <a:gd name="T8" fmla="*/ 2147483647 w 429"/>
              <a:gd name="T9" fmla="*/ 2147483647 h 524"/>
              <a:gd name="T10" fmla="*/ 2147483647 w 429"/>
              <a:gd name="T11" fmla="*/ 2147483647 h 524"/>
              <a:gd name="T12" fmla="*/ 2147483647 w 429"/>
              <a:gd name="T13" fmla="*/ 2147483647 h 524"/>
              <a:gd name="T14" fmla="*/ 2147483647 w 429"/>
              <a:gd name="T15" fmla="*/ 2147483647 h 524"/>
              <a:gd name="T16" fmla="*/ 2147483647 w 429"/>
              <a:gd name="T17" fmla="*/ 2147483647 h 524"/>
              <a:gd name="T18" fmla="*/ 2147483647 w 429"/>
              <a:gd name="T19" fmla="*/ 2147483647 h 524"/>
              <a:gd name="T20" fmla="*/ 2147483647 w 429"/>
              <a:gd name="T21" fmla="*/ 2147483647 h 524"/>
              <a:gd name="T22" fmla="*/ 2147483647 w 429"/>
              <a:gd name="T23" fmla="*/ 2147483647 h 524"/>
              <a:gd name="T24" fmla="*/ 2147483647 w 429"/>
              <a:gd name="T25" fmla="*/ 2147483647 h 524"/>
              <a:gd name="T26" fmla="*/ 2147483647 w 429"/>
              <a:gd name="T27" fmla="*/ 2147483647 h 524"/>
              <a:gd name="T28" fmla="*/ 2147483647 w 429"/>
              <a:gd name="T29" fmla="*/ 2147483647 h 524"/>
              <a:gd name="T30" fmla="*/ 2147483647 w 429"/>
              <a:gd name="T31" fmla="*/ 2147483647 h 524"/>
              <a:gd name="T32" fmla="*/ 2147483647 w 429"/>
              <a:gd name="T33" fmla="*/ 2147483647 h 524"/>
              <a:gd name="T34" fmla="*/ 2147483647 w 429"/>
              <a:gd name="T35" fmla="*/ 2147483647 h 524"/>
              <a:gd name="T36" fmla="*/ 2147483647 w 429"/>
              <a:gd name="T37" fmla="*/ 2147483647 h 524"/>
              <a:gd name="T38" fmla="*/ 2147483647 w 429"/>
              <a:gd name="T39" fmla="*/ 2147483647 h 524"/>
              <a:gd name="T40" fmla="*/ 2147483647 w 429"/>
              <a:gd name="T41" fmla="*/ 2147483647 h 524"/>
              <a:gd name="T42" fmla="*/ 2147483647 w 429"/>
              <a:gd name="T43" fmla="*/ 2147483647 h 524"/>
              <a:gd name="T44" fmla="*/ 2147483647 w 429"/>
              <a:gd name="T45" fmla="*/ 2147483647 h 524"/>
              <a:gd name="T46" fmla="*/ 2147483647 w 429"/>
              <a:gd name="T47" fmla="*/ 2147483647 h 524"/>
              <a:gd name="T48" fmla="*/ 2147483647 w 429"/>
              <a:gd name="T49" fmla="*/ 2147483647 h 524"/>
              <a:gd name="T50" fmla="*/ 2147483647 w 429"/>
              <a:gd name="T51" fmla="*/ 2147483647 h 524"/>
              <a:gd name="T52" fmla="*/ 2147483647 w 429"/>
              <a:gd name="T53" fmla="*/ 2147483647 h 524"/>
              <a:gd name="T54" fmla="*/ 2147483647 w 429"/>
              <a:gd name="T55" fmla="*/ 2147483647 h 524"/>
              <a:gd name="T56" fmla="*/ 2147483647 w 429"/>
              <a:gd name="T57" fmla="*/ 2147483647 h 524"/>
              <a:gd name="T58" fmla="*/ 2147483647 w 429"/>
              <a:gd name="T59" fmla="*/ 2147483647 h 524"/>
              <a:gd name="T60" fmla="*/ 2147483647 w 429"/>
              <a:gd name="T61" fmla="*/ 2147483647 h 524"/>
              <a:gd name="T62" fmla="*/ 2147483647 w 429"/>
              <a:gd name="T63" fmla="*/ 2147483647 h 524"/>
              <a:gd name="T64" fmla="*/ 2147483647 w 429"/>
              <a:gd name="T65" fmla="*/ 2147483647 h 524"/>
              <a:gd name="T66" fmla="*/ 2147483647 w 429"/>
              <a:gd name="T67" fmla="*/ 2147483647 h 524"/>
              <a:gd name="T68" fmla="*/ 2147483647 w 429"/>
              <a:gd name="T69" fmla="*/ 2147483647 h 524"/>
              <a:gd name="T70" fmla="*/ 2147483647 w 429"/>
              <a:gd name="T71" fmla="*/ 2147483647 h 524"/>
              <a:gd name="T72" fmla="*/ 2147483647 w 429"/>
              <a:gd name="T73" fmla="*/ 2147483647 h 524"/>
              <a:gd name="T74" fmla="*/ 2147483647 w 429"/>
              <a:gd name="T75" fmla="*/ 2147483647 h 524"/>
              <a:gd name="T76" fmla="*/ 2147483647 w 429"/>
              <a:gd name="T77" fmla="*/ 2147483647 h 524"/>
              <a:gd name="T78" fmla="*/ 2147483647 w 429"/>
              <a:gd name="T79" fmla="*/ 2147483647 h 524"/>
              <a:gd name="T80" fmla="*/ 2147483647 w 429"/>
              <a:gd name="T81" fmla="*/ 2147483647 h 524"/>
              <a:gd name="T82" fmla="*/ 2147483647 w 429"/>
              <a:gd name="T83" fmla="*/ 2147483647 h 524"/>
              <a:gd name="T84" fmla="*/ 2147483647 w 429"/>
              <a:gd name="T85" fmla="*/ 2147483647 h 524"/>
              <a:gd name="T86" fmla="*/ 2147483647 w 429"/>
              <a:gd name="T87" fmla="*/ 2147483647 h 524"/>
              <a:gd name="T88" fmla="*/ 2147483647 w 429"/>
              <a:gd name="T89" fmla="*/ 2147483647 h 524"/>
              <a:gd name="T90" fmla="*/ 2147483647 w 429"/>
              <a:gd name="T91" fmla="*/ 2147483647 h 524"/>
              <a:gd name="T92" fmla="*/ 2147483647 w 429"/>
              <a:gd name="T93" fmla="*/ 2147483647 h 524"/>
              <a:gd name="T94" fmla="*/ 2147483647 w 429"/>
              <a:gd name="T95" fmla="*/ 2147483647 h 524"/>
              <a:gd name="T96" fmla="*/ 2147483647 w 429"/>
              <a:gd name="T97" fmla="*/ 2147483647 h 524"/>
              <a:gd name="T98" fmla="*/ 2147483647 w 429"/>
              <a:gd name="T99" fmla="*/ 2147483647 h 524"/>
              <a:gd name="T100" fmla="*/ 2147483647 w 429"/>
              <a:gd name="T101" fmla="*/ 2147483647 h 524"/>
              <a:gd name="T102" fmla="*/ 2147483647 w 429"/>
              <a:gd name="T103" fmla="*/ 2147483647 h 524"/>
              <a:gd name="T104" fmla="*/ 2147483647 w 429"/>
              <a:gd name="T105" fmla="*/ 2147483647 h 524"/>
              <a:gd name="T106" fmla="*/ 2147483647 w 429"/>
              <a:gd name="T107" fmla="*/ 2147483647 h 524"/>
              <a:gd name="T108" fmla="*/ 2147483647 w 429"/>
              <a:gd name="T109" fmla="*/ 2147483647 h 524"/>
              <a:gd name="T110" fmla="*/ 2147483647 w 429"/>
              <a:gd name="T111" fmla="*/ 2147483647 h 524"/>
              <a:gd name="T112" fmla="*/ 2147483647 w 429"/>
              <a:gd name="T113" fmla="*/ 2147483647 h 524"/>
              <a:gd name="T114" fmla="*/ 2147483647 w 429"/>
              <a:gd name="T115" fmla="*/ 2147483647 h 524"/>
              <a:gd name="T116" fmla="*/ 2147483647 w 429"/>
              <a:gd name="T117" fmla="*/ 2147483647 h 524"/>
              <a:gd name="T118" fmla="*/ 2147483647 w 429"/>
              <a:gd name="T119" fmla="*/ 2147483647 h 524"/>
              <a:gd name="T120" fmla="*/ 2147483647 w 429"/>
              <a:gd name="T121" fmla="*/ 2147483647 h 524"/>
              <a:gd name="T122" fmla="*/ 2147483647 w 429"/>
              <a:gd name="T123" fmla="*/ 2147483647 h 524"/>
              <a:gd name="T124" fmla="*/ 2147483647 w 429"/>
              <a:gd name="T125" fmla="*/ 2147483647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9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484553" y="3155578"/>
            <a:ext cx="127000" cy="114300"/>
          </a:xfrm>
          <a:custGeom>
            <a:avLst/>
            <a:gdLst>
              <a:gd name="T0" fmla="*/ 2147483647 w 292"/>
              <a:gd name="T1" fmla="*/ 2147483647 h 223"/>
              <a:gd name="T2" fmla="*/ 2147483647 w 292"/>
              <a:gd name="T3" fmla="*/ 2147483647 h 223"/>
              <a:gd name="T4" fmla="*/ 2147483647 w 292"/>
              <a:gd name="T5" fmla="*/ 2147483647 h 223"/>
              <a:gd name="T6" fmla="*/ 2147483647 w 292"/>
              <a:gd name="T7" fmla="*/ 2147483647 h 223"/>
              <a:gd name="T8" fmla="*/ 2147483647 w 292"/>
              <a:gd name="T9" fmla="*/ 2147483647 h 223"/>
              <a:gd name="T10" fmla="*/ 2147483647 w 292"/>
              <a:gd name="T11" fmla="*/ 2147483647 h 223"/>
              <a:gd name="T12" fmla="*/ 2147483647 w 292"/>
              <a:gd name="T13" fmla="*/ 2147483647 h 223"/>
              <a:gd name="T14" fmla="*/ 2147483647 w 292"/>
              <a:gd name="T15" fmla="*/ 2147483647 h 223"/>
              <a:gd name="T16" fmla="*/ 2147483647 w 292"/>
              <a:gd name="T17" fmla="*/ 2147483647 h 223"/>
              <a:gd name="T18" fmla="*/ 2147483647 w 292"/>
              <a:gd name="T19" fmla="*/ 2147483647 h 223"/>
              <a:gd name="T20" fmla="*/ 2147483647 w 292"/>
              <a:gd name="T21" fmla="*/ 2147483647 h 223"/>
              <a:gd name="T22" fmla="*/ 2147483647 w 292"/>
              <a:gd name="T23" fmla="*/ 2147483647 h 223"/>
              <a:gd name="T24" fmla="*/ 2147483647 w 292"/>
              <a:gd name="T25" fmla="*/ 2147483647 h 223"/>
              <a:gd name="T26" fmla="*/ 2147483647 w 292"/>
              <a:gd name="T27" fmla="*/ 2147483647 h 223"/>
              <a:gd name="T28" fmla="*/ 2147483647 w 292"/>
              <a:gd name="T29" fmla="*/ 2147483647 h 223"/>
              <a:gd name="T30" fmla="*/ 2147483647 w 292"/>
              <a:gd name="T31" fmla="*/ 2147483647 h 223"/>
              <a:gd name="T32" fmla="*/ 2147483647 w 292"/>
              <a:gd name="T33" fmla="*/ 2147483647 h 223"/>
              <a:gd name="T34" fmla="*/ 2147483647 w 292"/>
              <a:gd name="T35" fmla="*/ 2147483647 h 223"/>
              <a:gd name="T36" fmla="*/ 2147483647 w 292"/>
              <a:gd name="T37" fmla="*/ 2147483647 h 223"/>
              <a:gd name="T38" fmla="*/ 2147483647 w 292"/>
              <a:gd name="T39" fmla="*/ 2147483647 h 223"/>
              <a:gd name="T40" fmla="*/ 2147483647 w 292"/>
              <a:gd name="T41" fmla="*/ 2147483647 h 223"/>
              <a:gd name="T42" fmla="*/ 2147483647 w 292"/>
              <a:gd name="T43" fmla="*/ 2147483647 h 223"/>
              <a:gd name="T44" fmla="*/ 2147483647 w 292"/>
              <a:gd name="T45" fmla="*/ 2147483647 h 223"/>
              <a:gd name="T46" fmla="*/ 2147483647 w 292"/>
              <a:gd name="T47" fmla="*/ 2147483647 h 223"/>
              <a:gd name="T48" fmla="*/ 2147483647 w 292"/>
              <a:gd name="T49" fmla="*/ 2147483647 h 223"/>
              <a:gd name="T50" fmla="*/ 2147483647 w 292"/>
              <a:gd name="T51" fmla="*/ 2147483647 h 223"/>
              <a:gd name="T52" fmla="*/ 0 w 292"/>
              <a:gd name="T53" fmla="*/ 2147483647 h 223"/>
              <a:gd name="T54" fmla="*/ 2147483647 w 292"/>
              <a:gd name="T55" fmla="*/ 2147483647 h 223"/>
              <a:gd name="T56" fmla="*/ 2147483647 w 292"/>
              <a:gd name="T57" fmla="*/ 2147483647 h 223"/>
              <a:gd name="T58" fmla="*/ 2147483647 w 292"/>
              <a:gd name="T59" fmla="*/ 2147483647 h 223"/>
              <a:gd name="T60" fmla="*/ 2147483647 w 292"/>
              <a:gd name="T61" fmla="*/ 2147483647 h 223"/>
              <a:gd name="T62" fmla="*/ 2147483647 w 292"/>
              <a:gd name="T63" fmla="*/ 2147483647 h 223"/>
              <a:gd name="T64" fmla="*/ 2147483647 w 292"/>
              <a:gd name="T65" fmla="*/ 2147483647 h 223"/>
              <a:gd name="T66" fmla="*/ 2147483647 w 292"/>
              <a:gd name="T67" fmla="*/ 0 h 223"/>
              <a:gd name="T68" fmla="*/ 2147483647 w 292"/>
              <a:gd name="T69" fmla="*/ 2147483647 h 223"/>
              <a:gd name="T70" fmla="*/ 2147483647 w 292"/>
              <a:gd name="T71" fmla="*/ 2147483647 h 223"/>
              <a:gd name="T72" fmla="*/ 2147483647 w 292"/>
              <a:gd name="T73" fmla="*/ 2147483647 h 223"/>
              <a:gd name="T74" fmla="*/ 2147483647 w 292"/>
              <a:gd name="T75" fmla="*/ 2147483647 h 223"/>
              <a:gd name="T76" fmla="*/ 2147483647 w 292"/>
              <a:gd name="T77" fmla="*/ 2147483647 h 223"/>
              <a:gd name="T78" fmla="*/ 2147483647 w 292"/>
              <a:gd name="T79" fmla="*/ 2147483647 h 223"/>
              <a:gd name="T80" fmla="*/ 2147483647 w 292"/>
              <a:gd name="T81" fmla="*/ 2147483647 h 223"/>
              <a:gd name="T82" fmla="*/ 2147483647 w 292"/>
              <a:gd name="T83" fmla="*/ 2147483647 h 223"/>
              <a:gd name="T84" fmla="*/ 2147483647 w 292"/>
              <a:gd name="T85" fmla="*/ 214748364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0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435340" y="3014290"/>
            <a:ext cx="168275" cy="77788"/>
          </a:xfrm>
          <a:custGeom>
            <a:avLst/>
            <a:gdLst>
              <a:gd name="T0" fmla="*/ 2147483647 w 379"/>
              <a:gd name="T1" fmla="*/ 2147483647 h 147"/>
              <a:gd name="T2" fmla="*/ 2147483647 w 379"/>
              <a:gd name="T3" fmla="*/ 2147483647 h 147"/>
              <a:gd name="T4" fmla="*/ 2147483647 w 379"/>
              <a:gd name="T5" fmla="*/ 2147483647 h 147"/>
              <a:gd name="T6" fmla="*/ 2147483647 w 379"/>
              <a:gd name="T7" fmla="*/ 2147483647 h 147"/>
              <a:gd name="T8" fmla="*/ 2147483647 w 379"/>
              <a:gd name="T9" fmla="*/ 2147483647 h 147"/>
              <a:gd name="T10" fmla="*/ 2147483647 w 379"/>
              <a:gd name="T11" fmla="*/ 2147483647 h 147"/>
              <a:gd name="T12" fmla="*/ 2147483647 w 379"/>
              <a:gd name="T13" fmla="*/ 2147483647 h 147"/>
              <a:gd name="T14" fmla="*/ 2147483647 w 379"/>
              <a:gd name="T15" fmla="*/ 2147483647 h 147"/>
              <a:gd name="T16" fmla="*/ 2147483647 w 379"/>
              <a:gd name="T17" fmla="*/ 2147483647 h 147"/>
              <a:gd name="T18" fmla="*/ 2147483647 w 379"/>
              <a:gd name="T19" fmla="*/ 2147483647 h 147"/>
              <a:gd name="T20" fmla="*/ 2147483647 w 379"/>
              <a:gd name="T21" fmla="*/ 2147483647 h 147"/>
              <a:gd name="T22" fmla="*/ 2147483647 w 379"/>
              <a:gd name="T23" fmla="*/ 2147483647 h 147"/>
              <a:gd name="T24" fmla="*/ 2147483647 w 379"/>
              <a:gd name="T25" fmla="*/ 2147483647 h 147"/>
              <a:gd name="T26" fmla="*/ 2147483647 w 379"/>
              <a:gd name="T27" fmla="*/ 2147483647 h 147"/>
              <a:gd name="T28" fmla="*/ 2147483647 w 379"/>
              <a:gd name="T29" fmla="*/ 2147483647 h 147"/>
              <a:gd name="T30" fmla="*/ 2147483647 w 379"/>
              <a:gd name="T31" fmla="*/ 2147483647 h 147"/>
              <a:gd name="T32" fmla="*/ 2147483647 w 379"/>
              <a:gd name="T33" fmla="*/ 2147483647 h 147"/>
              <a:gd name="T34" fmla="*/ 2147483647 w 379"/>
              <a:gd name="T35" fmla="*/ 2147483647 h 147"/>
              <a:gd name="T36" fmla="*/ 2147483647 w 379"/>
              <a:gd name="T37" fmla="*/ 2147483647 h 147"/>
              <a:gd name="T38" fmla="*/ 2147483647 w 379"/>
              <a:gd name="T39" fmla="*/ 2147483647 h 147"/>
              <a:gd name="T40" fmla="*/ 2147483647 w 379"/>
              <a:gd name="T41" fmla="*/ 2147483647 h 147"/>
              <a:gd name="T42" fmla="*/ 2147483647 w 379"/>
              <a:gd name="T43" fmla="*/ 2147483647 h 147"/>
              <a:gd name="T44" fmla="*/ 2147483647 w 379"/>
              <a:gd name="T45" fmla="*/ 2147483647 h 147"/>
              <a:gd name="T46" fmla="*/ 2147483647 w 379"/>
              <a:gd name="T47" fmla="*/ 2147483647 h 147"/>
              <a:gd name="T48" fmla="*/ 0 w 379"/>
              <a:gd name="T49" fmla="*/ 2147483647 h 147"/>
              <a:gd name="T50" fmla="*/ 2147483647 w 379"/>
              <a:gd name="T51" fmla="*/ 2147483647 h 147"/>
              <a:gd name="T52" fmla="*/ 2147483647 w 379"/>
              <a:gd name="T53" fmla="*/ 2147483647 h 147"/>
              <a:gd name="T54" fmla="*/ 2147483647 w 379"/>
              <a:gd name="T55" fmla="*/ 2147483647 h 147"/>
              <a:gd name="T56" fmla="*/ 2147483647 w 379"/>
              <a:gd name="T57" fmla="*/ 2147483647 h 147"/>
              <a:gd name="T58" fmla="*/ 2147483647 w 379"/>
              <a:gd name="T59" fmla="*/ 2147483647 h 147"/>
              <a:gd name="T60" fmla="*/ 2147483647 w 379"/>
              <a:gd name="T61" fmla="*/ 2147483647 h 147"/>
              <a:gd name="T62" fmla="*/ 2147483647 w 379"/>
              <a:gd name="T63" fmla="*/ 0 h 147"/>
              <a:gd name="T64" fmla="*/ 2147483647 w 379"/>
              <a:gd name="T65" fmla="*/ 2147483647 h 147"/>
              <a:gd name="T66" fmla="*/ 2147483647 w 379"/>
              <a:gd name="T67" fmla="*/ 2147483647 h 147"/>
              <a:gd name="T68" fmla="*/ 2147483647 w 379"/>
              <a:gd name="T69" fmla="*/ 2147483647 h 147"/>
              <a:gd name="T70" fmla="*/ 2147483647 w 379"/>
              <a:gd name="T71" fmla="*/ 2147483647 h 147"/>
              <a:gd name="T72" fmla="*/ 2147483647 w 379"/>
              <a:gd name="T73" fmla="*/ 2147483647 h 147"/>
              <a:gd name="T74" fmla="*/ 2147483647 w 379"/>
              <a:gd name="T75" fmla="*/ 2147483647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1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398828" y="286982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2147483647 h 67"/>
              <a:gd name="T4" fmla="*/ 0 w 61"/>
              <a:gd name="T5" fmla="*/ 2147483647 h 67"/>
              <a:gd name="T6" fmla="*/ 2147483647 w 61"/>
              <a:gd name="T7" fmla="*/ 2147483647 h 67"/>
              <a:gd name="T8" fmla="*/ 2147483647 w 61"/>
              <a:gd name="T9" fmla="*/ 2147483647 h 67"/>
              <a:gd name="T10" fmla="*/ 2147483647 w 61"/>
              <a:gd name="T11" fmla="*/ 2147483647 h 67"/>
              <a:gd name="T12" fmla="*/ 2147483647 w 61"/>
              <a:gd name="T13" fmla="*/ 2147483647 h 67"/>
              <a:gd name="T14" fmla="*/ 2147483647 w 61"/>
              <a:gd name="T15" fmla="*/ 2147483647 h 67"/>
              <a:gd name="T16" fmla="*/ 2147483647 w 61"/>
              <a:gd name="T17" fmla="*/ 2147483647 h 67"/>
              <a:gd name="T18" fmla="*/ 2147483647 w 61"/>
              <a:gd name="T19" fmla="*/ 2147483647 h 67"/>
              <a:gd name="T20" fmla="*/ 2147483647 w 61"/>
              <a:gd name="T21" fmla="*/ 2147483647 h 67"/>
              <a:gd name="T22" fmla="*/ 2147483647 w 61"/>
              <a:gd name="T23" fmla="*/ 2147483647 h 67"/>
              <a:gd name="T24" fmla="*/ 2147483647 w 61"/>
              <a:gd name="T25" fmla="*/ 2147483647 h 67"/>
              <a:gd name="T26" fmla="*/ 2147483647 w 61"/>
              <a:gd name="T27" fmla="*/ 2147483647 h 67"/>
              <a:gd name="T28" fmla="*/ 2147483647 w 61"/>
              <a:gd name="T29" fmla="*/ 2147483647 h 67"/>
              <a:gd name="T30" fmla="*/ 2147483647 w 61"/>
              <a:gd name="T31" fmla="*/ 2147483647 h 67"/>
              <a:gd name="T32" fmla="*/ 2147483647 w 61"/>
              <a:gd name="T33" fmla="*/ 2147483647 h 67"/>
              <a:gd name="T34" fmla="*/ 2147483647 w 61"/>
              <a:gd name="T35" fmla="*/ 2147483647 h 67"/>
              <a:gd name="T36" fmla="*/ 2147483647 w 61"/>
              <a:gd name="T37" fmla="*/ 0 h 67"/>
              <a:gd name="T38" fmla="*/ 2147483647 w 61"/>
              <a:gd name="T39" fmla="*/ 2147483647 h 67"/>
              <a:gd name="T40" fmla="*/ 2147483647 w 61"/>
              <a:gd name="T41" fmla="*/ 2147483647 h 67"/>
              <a:gd name="T42" fmla="*/ 2147483647 w 61"/>
              <a:gd name="T43" fmla="*/ 2147483647 h 67"/>
              <a:gd name="T44" fmla="*/ 2147483647 w 61"/>
              <a:gd name="T45" fmla="*/ 2147483647 h 67"/>
              <a:gd name="T46" fmla="*/ 2147483647 w 61"/>
              <a:gd name="T47" fmla="*/ 2147483647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2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370253" y="2874590"/>
            <a:ext cx="25400" cy="58738"/>
          </a:xfrm>
          <a:custGeom>
            <a:avLst/>
            <a:gdLst>
              <a:gd name="T0" fmla="*/ 0 w 60"/>
              <a:gd name="T1" fmla="*/ 2147483647 h 55"/>
              <a:gd name="T2" fmla="*/ 0 w 60"/>
              <a:gd name="T3" fmla="*/ 2147483647 h 55"/>
              <a:gd name="T4" fmla="*/ 2147483647 w 60"/>
              <a:gd name="T5" fmla="*/ 2147483647 h 55"/>
              <a:gd name="T6" fmla="*/ 2147483647 w 60"/>
              <a:gd name="T7" fmla="*/ 2147483647 h 55"/>
              <a:gd name="T8" fmla="*/ 2147483647 w 60"/>
              <a:gd name="T9" fmla="*/ 2147483647 h 55"/>
              <a:gd name="T10" fmla="*/ 2147483647 w 60"/>
              <a:gd name="T11" fmla="*/ 2147483647 h 55"/>
              <a:gd name="T12" fmla="*/ 2147483647 w 60"/>
              <a:gd name="T13" fmla="*/ 2147483647 h 55"/>
              <a:gd name="T14" fmla="*/ 2147483647 w 60"/>
              <a:gd name="T15" fmla="*/ 2147483647 h 55"/>
              <a:gd name="T16" fmla="*/ 2147483647 w 60"/>
              <a:gd name="T17" fmla="*/ 2147483647 h 55"/>
              <a:gd name="T18" fmla="*/ 2147483647 w 60"/>
              <a:gd name="T19" fmla="*/ 2147483647 h 55"/>
              <a:gd name="T20" fmla="*/ 2147483647 w 60"/>
              <a:gd name="T21" fmla="*/ 2147483647 h 55"/>
              <a:gd name="T22" fmla="*/ 2147483647 w 60"/>
              <a:gd name="T23" fmla="*/ 2147483647 h 55"/>
              <a:gd name="T24" fmla="*/ 2147483647 w 60"/>
              <a:gd name="T25" fmla="*/ 2147483647 h 55"/>
              <a:gd name="T26" fmla="*/ 2147483647 w 60"/>
              <a:gd name="T27" fmla="*/ 2147483647 h 55"/>
              <a:gd name="T28" fmla="*/ 2147483647 w 60"/>
              <a:gd name="T29" fmla="*/ 2147483647 h 55"/>
              <a:gd name="T30" fmla="*/ 2147483647 w 60"/>
              <a:gd name="T31" fmla="*/ 2147483647 h 55"/>
              <a:gd name="T32" fmla="*/ 2147483647 w 60"/>
              <a:gd name="T33" fmla="*/ 2147483647 h 55"/>
              <a:gd name="T34" fmla="*/ 2147483647 w 60"/>
              <a:gd name="T35" fmla="*/ 0 h 55"/>
              <a:gd name="T36" fmla="*/ 2147483647 w 60"/>
              <a:gd name="T37" fmla="*/ 2147483647 h 55"/>
              <a:gd name="T38" fmla="*/ 2147483647 w 60"/>
              <a:gd name="T39" fmla="*/ 2147483647 h 55"/>
              <a:gd name="T40" fmla="*/ 2147483647 w 60"/>
              <a:gd name="T41" fmla="*/ 2147483647 h 55"/>
              <a:gd name="T42" fmla="*/ 0 w 60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3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340090" y="2820615"/>
            <a:ext cx="52388" cy="77788"/>
          </a:xfrm>
          <a:custGeom>
            <a:avLst/>
            <a:gdLst>
              <a:gd name="T0" fmla="*/ 2147483647 w 120"/>
              <a:gd name="T1" fmla="*/ 2147483647 h 148"/>
              <a:gd name="T2" fmla="*/ 2147483647 w 120"/>
              <a:gd name="T3" fmla="*/ 2147483647 h 148"/>
              <a:gd name="T4" fmla="*/ 2147483647 w 120"/>
              <a:gd name="T5" fmla="*/ 2147483647 h 148"/>
              <a:gd name="T6" fmla="*/ 2147483647 w 120"/>
              <a:gd name="T7" fmla="*/ 2147483647 h 148"/>
              <a:gd name="T8" fmla="*/ 2147483647 w 120"/>
              <a:gd name="T9" fmla="*/ 2147483647 h 148"/>
              <a:gd name="T10" fmla="*/ 2147483647 w 120"/>
              <a:gd name="T11" fmla="*/ 2147483647 h 148"/>
              <a:gd name="T12" fmla="*/ 2147483647 w 120"/>
              <a:gd name="T13" fmla="*/ 2147483647 h 148"/>
              <a:gd name="T14" fmla="*/ 2147483647 w 120"/>
              <a:gd name="T15" fmla="*/ 2147483647 h 148"/>
              <a:gd name="T16" fmla="*/ 2147483647 w 120"/>
              <a:gd name="T17" fmla="*/ 2147483647 h 148"/>
              <a:gd name="T18" fmla="*/ 2147483647 w 120"/>
              <a:gd name="T19" fmla="*/ 2147483647 h 148"/>
              <a:gd name="T20" fmla="*/ 2147483647 w 120"/>
              <a:gd name="T21" fmla="*/ 2147483647 h 148"/>
              <a:gd name="T22" fmla="*/ 2147483647 w 120"/>
              <a:gd name="T23" fmla="*/ 2147483647 h 148"/>
              <a:gd name="T24" fmla="*/ 2147483647 w 120"/>
              <a:gd name="T25" fmla="*/ 2147483647 h 148"/>
              <a:gd name="T26" fmla="*/ 2147483647 w 120"/>
              <a:gd name="T27" fmla="*/ 2147483647 h 148"/>
              <a:gd name="T28" fmla="*/ 2147483647 w 120"/>
              <a:gd name="T29" fmla="*/ 2147483647 h 148"/>
              <a:gd name="T30" fmla="*/ 2147483647 w 120"/>
              <a:gd name="T31" fmla="*/ 2147483647 h 148"/>
              <a:gd name="T32" fmla="*/ 2147483647 w 120"/>
              <a:gd name="T33" fmla="*/ 2147483647 h 148"/>
              <a:gd name="T34" fmla="*/ 2147483647 w 120"/>
              <a:gd name="T35" fmla="*/ 2147483647 h 148"/>
              <a:gd name="T36" fmla="*/ 0 w 120"/>
              <a:gd name="T37" fmla="*/ 2147483647 h 148"/>
              <a:gd name="T38" fmla="*/ 2147483647 w 120"/>
              <a:gd name="T39" fmla="*/ 2147483647 h 148"/>
              <a:gd name="T40" fmla="*/ 2147483647 w 120"/>
              <a:gd name="T41" fmla="*/ 2147483647 h 148"/>
              <a:gd name="T42" fmla="*/ 2147483647 w 120"/>
              <a:gd name="T43" fmla="*/ 2147483647 h 148"/>
              <a:gd name="T44" fmla="*/ 2147483647 w 120"/>
              <a:gd name="T45" fmla="*/ 2147483647 h 148"/>
              <a:gd name="T46" fmla="*/ 2147483647 w 120"/>
              <a:gd name="T47" fmla="*/ 2147483647 h 148"/>
              <a:gd name="T48" fmla="*/ 2147483647 w 120"/>
              <a:gd name="T49" fmla="*/ 2147483647 h 148"/>
              <a:gd name="T50" fmla="*/ 2147483647 w 120"/>
              <a:gd name="T51" fmla="*/ 2147483647 h 148"/>
              <a:gd name="T52" fmla="*/ 2147483647 w 120"/>
              <a:gd name="T53" fmla="*/ 2147483647 h 148"/>
              <a:gd name="T54" fmla="*/ 2147483647 w 120"/>
              <a:gd name="T55" fmla="*/ 2147483647 h 148"/>
              <a:gd name="T56" fmla="*/ 2147483647 w 120"/>
              <a:gd name="T57" fmla="*/ 0 h 148"/>
              <a:gd name="T58" fmla="*/ 2147483647 w 120"/>
              <a:gd name="T59" fmla="*/ 2147483647 h 148"/>
              <a:gd name="T60" fmla="*/ 2147483647 w 120"/>
              <a:gd name="T61" fmla="*/ 2147483647 h 148"/>
              <a:gd name="T62" fmla="*/ 2147483647 w 120"/>
              <a:gd name="T63" fmla="*/ 2147483647 h 148"/>
              <a:gd name="T64" fmla="*/ 2147483647 w 120"/>
              <a:gd name="T65" fmla="*/ 2147483647 h 148"/>
              <a:gd name="T66" fmla="*/ 2147483647 w 120"/>
              <a:gd name="T67" fmla="*/ 2147483647 h 148"/>
              <a:gd name="T68" fmla="*/ 2147483647 w 120"/>
              <a:gd name="T69" fmla="*/ 2147483647 h 148"/>
              <a:gd name="T70" fmla="*/ 2147483647 w 120"/>
              <a:gd name="T71" fmla="*/ 2147483647 h 148"/>
              <a:gd name="T72" fmla="*/ 2147483647 w 120"/>
              <a:gd name="T73" fmla="*/ 2147483647 h 148"/>
              <a:gd name="T74" fmla="*/ 2147483647 w 120"/>
              <a:gd name="T75" fmla="*/ 2147483647 h 148"/>
              <a:gd name="T76" fmla="*/ 2147483647 w 120"/>
              <a:gd name="T77" fmla="*/ 2147483647 h 148"/>
              <a:gd name="T78" fmla="*/ 2147483647 w 120"/>
              <a:gd name="T79" fmla="*/ 2147483647 h 148"/>
              <a:gd name="T80" fmla="*/ 2147483647 w 120"/>
              <a:gd name="T81" fmla="*/ 2147483647 h 148"/>
              <a:gd name="T82" fmla="*/ 2147483647 w 120"/>
              <a:gd name="T83" fmla="*/ 2147483647 h 148"/>
              <a:gd name="T84" fmla="*/ 2147483647 w 120"/>
              <a:gd name="T85" fmla="*/ 2147483647 h 148"/>
              <a:gd name="T86" fmla="*/ 2147483647 w 120"/>
              <a:gd name="T87" fmla="*/ 2147483647 h 148"/>
              <a:gd name="T88" fmla="*/ 2147483647 w 120"/>
              <a:gd name="T89" fmla="*/ 2147483647 h 148"/>
              <a:gd name="T90" fmla="*/ 2147483647 w 120"/>
              <a:gd name="T91" fmla="*/ 2147483647 h 148"/>
              <a:gd name="T92" fmla="*/ 2147483647 w 120"/>
              <a:gd name="T93" fmla="*/ 2147483647 h 148"/>
              <a:gd name="T94" fmla="*/ 2147483647 w 120"/>
              <a:gd name="T95" fmla="*/ 2147483647 h 148"/>
              <a:gd name="T96" fmla="*/ 2147483647 w 120"/>
              <a:gd name="T97" fmla="*/ 2147483647 h 148"/>
              <a:gd name="T98" fmla="*/ 2147483647 w 120"/>
              <a:gd name="T99" fmla="*/ 2147483647 h 148"/>
              <a:gd name="T100" fmla="*/ 2147483647 w 120"/>
              <a:gd name="T101" fmla="*/ 2147483647 h 148"/>
              <a:gd name="T102" fmla="*/ 2147483647 w 120"/>
              <a:gd name="T103" fmla="*/ 2147483647 h 148"/>
              <a:gd name="T104" fmla="*/ 2147483647 w 120"/>
              <a:gd name="T105" fmla="*/ 2147483647 h 148"/>
              <a:gd name="T106" fmla="*/ 2147483647 w 120"/>
              <a:gd name="T107" fmla="*/ 2147483647 h 148"/>
              <a:gd name="T108" fmla="*/ 2147483647 w 120"/>
              <a:gd name="T109" fmla="*/ 2147483647 h 148"/>
              <a:gd name="T110" fmla="*/ 2147483647 w 120"/>
              <a:gd name="T111" fmla="*/ 2147483647 h 148"/>
              <a:gd name="T112" fmla="*/ 2147483647 w 120"/>
              <a:gd name="T113" fmla="*/ 2147483647 h 148"/>
              <a:gd name="T114" fmla="*/ 2147483647 w 120"/>
              <a:gd name="T115" fmla="*/ 2147483647 h 148"/>
              <a:gd name="T116" fmla="*/ 2147483647 w 120"/>
              <a:gd name="T117" fmla="*/ 2147483647 h 148"/>
              <a:gd name="T118" fmla="*/ 2147483647 w 120"/>
              <a:gd name="T119" fmla="*/ 2147483647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344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771890" y="3625478"/>
            <a:ext cx="273050" cy="307975"/>
          </a:xfrm>
          <a:custGeom>
            <a:avLst/>
            <a:gdLst>
              <a:gd name="T0" fmla="*/ 2147483647 w 631"/>
              <a:gd name="T1" fmla="*/ 2147483647 h 592"/>
              <a:gd name="T2" fmla="*/ 2147483647 w 631"/>
              <a:gd name="T3" fmla="*/ 2147483647 h 592"/>
              <a:gd name="T4" fmla="*/ 2147483647 w 631"/>
              <a:gd name="T5" fmla="*/ 2147483647 h 592"/>
              <a:gd name="T6" fmla="*/ 2147483647 w 631"/>
              <a:gd name="T7" fmla="*/ 2147483647 h 592"/>
              <a:gd name="T8" fmla="*/ 2147483647 w 631"/>
              <a:gd name="T9" fmla="*/ 2147483647 h 592"/>
              <a:gd name="T10" fmla="*/ 2147483647 w 631"/>
              <a:gd name="T11" fmla="*/ 2147483647 h 592"/>
              <a:gd name="T12" fmla="*/ 2147483647 w 631"/>
              <a:gd name="T13" fmla="*/ 2147483647 h 592"/>
              <a:gd name="T14" fmla="*/ 2147483647 w 631"/>
              <a:gd name="T15" fmla="*/ 2147483647 h 592"/>
              <a:gd name="T16" fmla="*/ 2147483647 w 631"/>
              <a:gd name="T17" fmla="*/ 2147483647 h 592"/>
              <a:gd name="T18" fmla="*/ 2147483647 w 631"/>
              <a:gd name="T19" fmla="*/ 2147483647 h 592"/>
              <a:gd name="T20" fmla="*/ 2147483647 w 631"/>
              <a:gd name="T21" fmla="*/ 2147483647 h 592"/>
              <a:gd name="T22" fmla="*/ 2147483647 w 631"/>
              <a:gd name="T23" fmla="*/ 2147483647 h 592"/>
              <a:gd name="T24" fmla="*/ 2147483647 w 631"/>
              <a:gd name="T25" fmla="*/ 2147483647 h 592"/>
              <a:gd name="T26" fmla="*/ 2147483647 w 631"/>
              <a:gd name="T27" fmla="*/ 2147483647 h 592"/>
              <a:gd name="T28" fmla="*/ 2147483647 w 631"/>
              <a:gd name="T29" fmla="*/ 2147483647 h 592"/>
              <a:gd name="T30" fmla="*/ 2147483647 w 631"/>
              <a:gd name="T31" fmla="*/ 2147483647 h 592"/>
              <a:gd name="T32" fmla="*/ 2147483647 w 631"/>
              <a:gd name="T33" fmla="*/ 2147483647 h 592"/>
              <a:gd name="T34" fmla="*/ 2147483647 w 631"/>
              <a:gd name="T35" fmla="*/ 2147483647 h 592"/>
              <a:gd name="T36" fmla="*/ 2147483647 w 631"/>
              <a:gd name="T37" fmla="*/ 2147483647 h 592"/>
              <a:gd name="T38" fmla="*/ 2147483647 w 631"/>
              <a:gd name="T39" fmla="*/ 2147483647 h 592"/>
              <a:gd name="T40" fmla="*/ 2147483647 w 631"/>
              <a:gd name="T41" fmla="*/ 2147483647 h 592"/>
              <a:gd name="T42" fmla="*/ 2147483647 w 631"/>
              <a:gd name="T43" fmla="*/ 2147483647 h 592"/>
              <a:gd name="T44" fmla="*/ 2147483647 w 631"/>
              <a:gd name="T45" fmla="*/ 2147483647 h 592"/>
              <a:gd name="T46" fmla="*/ 2147483647 w 631"/>
              <a:gd name="T47" fmla="*/ 2147483647 h 592"/>
              <a:gd name="T48" fmla="*/ 2147483647 w 631"/>
              <a:gd name="T49" fmla="*/ 2147483647 h 592"/>
              <a:gd name="T50" fmla="*/ 2147483647 w 631"/>
              <a:gd name="T51" fmla="*/ 2147483647 h 592"/>
              <a:gd name="T52" fmla="*/ 2147483647 w 631"/>
              <a:gd name="T53" fmla="*/ 2147483647 h 592"/>
              <a:gd name="T54" fmla="*/ 2147483647 w 631"/>
              <a:gd name="T55" fmla="*/ 2147483647 h 592"/>
              <a:gd name="T56" fmla="*/ 2147483647 w 631"/>
              <a:gd name="T57" fmla="*/ 2147483647 h 592"/>
              <a:gd name="T58" fmla="*/ 2147483647 w 631"/>
              <a:gd name="T59" fmla="*/ 2147483647 h 592"/>
              <a:gd name="T60" fmla="*/ 2147483647 w 631"/>
              <a:gd name="T61" fmla="*/ 2147483647 h 592"/>
              <a:gd name="T62" fmla="*/ 2147483647 w 631"/>
              <a:gd name="T63" fmla="*/ 2147483647 h 592"/>
              <a:gd name="T64" fmla="*/ 2147483647 w 631"/>
              <a:gd name="T65" fmla="*/ 2147483647 h 592"/>
              <a:gd name="T66" fmla="*/ 2147483647 w 631"/>
              <a:gd name="T67" fmla="*/ 2147483647 h 592"/>
              <a:gd name="T68" fmla="*/ 2147483647 w 631"/>
              <a:gd name="T69" fmla="*/ 2147483647 h 592"/>
              <a:gd name="T70" fmla="*/ 2147483647 w 631"/>
              <a:gd name="T71" fmla="*/ 2147483647 h 592"/>
              <a:gd name="T72" fmla="*/ 2147483647 w 631"/>
              <a:gd name="T73" fmla="*/ 2147483647 h 592"/>
              <a:gd name="T74" fmla="*/ 2147483647 w 631"/>
              <a:gd name="T75" fmla="*/ 2147483647 h 592"/>
              <a:gd name="T76" fmla="*/ 2147483647 w 631"/>
              <a:gd name="T77" fmla="*/ 2147483647 h 592"/>
              <a:gd name="T78" fmla="*/ 2147483647 w 631"/>
              <a:gd name="T79" fmla="*/ 2147483647 h 592"/>
              <a:gd name="T80" fmla="*/ 2147483647 w 631"/>
              <a:gd name="T81" fmla="*/ 2147483647 h 592"/>
              <a:gd name="T82" fmla="*/ 2147483647 w 631"/>
              <a:gd name="T83" fmla="*/ 2147483647 h 592"/>
              <a:gd name="T84" fmla="*/ 2147483647 w 631"/>
              <a:gd name="T85" fmla="*/ 2147483647 h 592"/>
              <a:gd name="T86" fmla="*/ 2147483647 w 631"/>
              <a:gd name="T87" fmla="*/ 2147483647 h 592"/>
              <a:gd name="T88" fmla="*/ 2147483647 w 631"/>
              <a:gd name="T89" fmla="*/ 2147483647 h 592"/>
              <a:gd name="T90" fmla="*/ 2147483647 w 631"/>
              <a:gd name="T91" fmla="*/ 2147483647 h 592"/>
              <a:gd name="T92" fmla="*/ 0 w 631"/>
              <a:gd name="T93" fmla="*/ 2147483647 h 592"/>
              <a:gd name="T94" fmla="*/ 2147483647 w 631"/>
              <a:gd name="T95" fmla="*/ 2147483647 h 592"/>
              <a:gd name="T96" fmla="*/ 2147483647 w 631"/>
              <a:gd name="T97" fmla="*/ 2147483647 h 592"/>
              <a:gd name="T98" fmla="*/ 2147483647 w 631"/>
              <a:gd name="T99" fmla="*/ 2147483647 h 592"/>
              <a:gd name="T100" fmla="*/ 2147483647 w 631"/>
              <a:gd name="T101" fmla="*/ 2147483647 h 592"/>
              <a:gd name="T102" fmla="*/ 2147483647 w 631"/>
              <a:gd name="T103" fmla="*/ 2147483647 h 592"/>
              <a:gd name="T104" fmla="*/ 2147483647 w 631"/>
              <a:gd name="T105" fmla="*/ 2147483647 h 592"/>
              <a:gd name="T106" fmla="*/ 2147483647 w 631"/>
              <a:gd name="T107" fmla="*/ 2147483647 h 592"/>
              <a:gd name="T108" fmla="*/ 2147483647 w 631"/>
              <a:gd name="T109" fmla="*/ 2147483647 h 592"/>
              <a:gd name="T110" fmla="*/ 2147483647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5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367078" y="3260353"/>
            <a:ext cx="17462" cy="57150"/>
          </a:xfrm>
          <a:custGeom>
            <a:avLst/>
            <a:gdLst>
              <a:gd name="T0" fmla="*/ 2147483647 w 40"/>
              <a:gd name="T1" fmla="*/ 2147483647 h 93"/>
              <a:gd name="T2" fmla="*/ 2147483647 w 40"/>
              <a:gd name="T3" fmla="*/ 2147483647 h 93"/>
              <a:gd name="T4" fmla="*/ 2147483647 w 40"/>
              <a:gd name="T5" fmla="*/ 2147483647 h 93"/>
              <a:gd name="T6" fmla="*/ 2147483647 w 40"/>
              <a:gd name="T7" fmla="*/ 2147483647 h 93"/>
              <a:gd name="T8" fmla="*/ 2147483647 w 40"/>
              <a:gd name="T9" fmla="*/ 2147483647 h 93"/>
              <a:gd name="T10" fmla="*/ 2147483647 w 40"/>
              <a:gd name="T11" fmla="*/ 2147483647 h 93"/>
              <a:gd name="T12" fmla="*/ 2147483647 w 40"/>
              <a:gd name="T13" fmla="*/ 0 h 93"/>
              <a:gd name="T14" fmla="*/ 2147483647 w 40"/>
              <a:gd name="T15" fmla="*/ 2147483647 h 93"/>
              <a:gd name="T16" fmla="*/ 2147483647 w 40"/>
              <a:gd name="T17" fmla="*/ 2147483647 h 93"/>
              <a:gd name="T18" fmla="*/ 2147483647 w 40"/>
              <a:gd name="T19" fmla="*/ 2147483647 h 93"/>
              <a:gd name="T20" fmla="*/ 2147483647 w 40"/>
              <a:gd name="T21" fmla="*/ 2147483647 h 93"/>
              <a:gd name="T22" fmla="*/ 2147483647 w 40"/>
              <a:gd name="T23" fmla="*/ 2147483647 h 93"/>
              <a:gd name="T24" fmla="*/ 2147483647 w 40"/>
              <a:gd name="T25" fmla="*/ 2147483647 h 93"/>
              <a:gd name="T26" fmla="*/ 2147483647 w 40"/>
              <a:gd name="T27" fmla="*/ 2147483647 h 93"/>
              <a:gd name="T28" fmla="*/ 2147483647 w 40"/>
              <a:gd name="T29" fmla="*/ 2147483647 h 93"/>
              <a:gd name="T30" fmla="*/ 2147483647 w 40"/>
              <a:gd name="T31" fmla="*/ 2147483647 h 93"/>
              <a:gd name="T32" fmla="*/ 2147483647 w 40"/>
              <a:gd name="T33" fmla="*/ 2147483647 h 93"/>
              <a:gd name="T34" fmla="*/ 2147483647 w 40"/>
              <a:gd name="T35" fmla="*/ 2147483647 h 93"/>
              <a:gd name="T36" fmla="*/ 2147483647 w 40"/>
              <a:gd name="T37" fmla="*/ 2147483647 h 93"/>
              <a:gd name="T38" fmla="*/ 2147483647 w 40"/>
              <a:gd name="T39" fmla="*/ 2147483647 h 93"/>
              <a:gd name="T40" fmla="*/ 2147483647 w 40"/>
              <a:gd name="T41" fmla="*/ 2147483647 h 93"/>
              <a:gd name="T42" fmla="*/ 2147483647 w 40"/>
              <a:gd name="T43" fmla="*/ 2147483647 h 93"/>
              <a:gd name="T44" fmla="*/ 0 w 40"/>
              <a:gd name="T45" fmla="*/ 2147483647 h 93"/>
              <a:gd name="T46" fmla="*/ 2147483647 w 40"/>
              <a:gd name="T47" fmla="*/ 2147483647 h 93"/>
              <a:gd name="T48" fmla="*/ 2147483647 w 40"/>
              <a:gd name="T49" fmla="*/ 2147483647 h 93"/>
              <a:gd name="T50" fmla="*/ 2147483647 w 40"/>
              <a:gd name="T51" fmla="*/ 2147483647 h 93"/>
              <a:gd name="T52" fmla="*/ 2147483647 w 40"/>
              <a:gd name="T53" fmla="*/ 2147483647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6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006715" y="3011115"/>
            <a:ext cx="295275" cy="273050"/>
          </a:xfrm>
          <a:custGeom>
            <a:avLst/>
            <a:gdLst>
              <a:gd name="T0" fmla="*/ 2147483647 w 664"/>
              <a:gd name="T1" fmla="*/ 2147483647 h 518"/>
              <a:gd name="T2" fmla="*/ 2147483647 w 664"/>
              <a:gd name="T3" fmla="*/ 2147483647 h 518"/>
              <a:gd name="T4" fmla="*/ 2147483647 w 664"/>
              <a:gd name="T5" fmla="*/ 2147483647 h 518"/>
              <a:gd name="T6" fmla="*/ 2147483647 w 664"/>
              <a:gd name="T7" fmla="*/ 2147483647 h 518"/>
              <a:gd name="T8" fmla="*/ 2147483647 w 664"/>
              <a:gd name="T9" fmla="*/ 2147483647 h 518"/>
              <a:gd name="T10" fmla="*/ 2147483647 w 664"/>
              <a:gd name="T11" fmla="*/ 2147483647 h 518"/>
              <a:gd name="T12" fmla="*/ 2147483647 w 664"/>
              <a:gd name="T13" fmla="*/ 2147483647 h 518"/>
              <a:gd name="T14" fmla="*/ 2147483647 w 664"/>
              <a:gd name="T15" fmla="*/ 2147483647 h 518"/>
              <a:gd name="T16" fmla="*/ 2147483647 w 664"/>
              <a:gd name="T17" fmla="*/ 2147483647 h 518"/>
              <a:gd name="T18" fmla="*/ 2147483647 w 664"/>
              <a:gd name="T19" fmla="*/ 2147483647 h 518"/>
              <a:gd name="T20" fmla="*/ 2147483647 w 664"/>
              <a:gd name="T21" fmla="*/ 2147483647 h 518"/>
              <a:gd name="T22" fmla="*/ 2147483647 w 664"/>
              <a:gd name="T23" fmla="*/ 2147483647 h 518"/>
              <a:gd name="T24" fmla="*/ 2147483647 w 664"/>
              <a:gd name="T25" fmla="*/ 2147483647 h 518"/>
              <a:gd name="T26" fmla="*/ 2147483647 w 664"/>
              <a:gd name="T27" fmla="*/ 2147483647 h 518"/>
              <a:gd name="T28" fmla="*/ 2147483647 w 664"/>
              <a:gd name="T29" fmla="*/ 2147483647 h 518"/>
              <a:gd name="T30" fmla="*/ 2147483647 w 664"/>
              <a:gd name="T31" fmla="*/ 2147483647 h 518"/>
              <a:gd name="T32" fmla="*/ 2147483647 w 664"/>
              <a:gd name="T33" fmla="*/ 2147483647 h 518"/>
              <a:gd name="T34" fmla="*/ 2147483647 w 664"/>
              <a:gd name="T35" fmla="*/ 2147483647 h 518"/>
              <a:gd name="T36" fmla="*/ 2147483647 w 664"/>
              <a:gd name="T37" fmla="*/ 2147483647 h 518"/>
              <a:gd name="T38" fmla="*/ 2147483647 w 664"/>
              <a:gd name="T39" fmla="*/ 2147483647 h 518"/>
              <a:gd name="T40" fmla="*/ 2147483647 w 664"/>
              <a:gd name="T41" fmla="*/ 2147483647 h 518"/>
              <a:gd name="T42" fmla="*/ 2147483647 w 664"/>
              <a:gd name="T43" fmla="*/ 2147483647 h 518"/>
              <a:gd name="T44" fmla="*/ 2147483647 w 664"/>
              <a:gd name="T45" fmla="*/ 2147483647 h 518"/>
              <a:gd name="T46" fmla="*/ 2147483647 w 664"/>
              <a:gd name="T47" fmla="*/ 2147483647 h 518"/>
              <a:gd name="T48" fmla="*/ 2147483647 w 664"/>
              <a:gd name="T49" fmla="*/ 2147483647 h 518"/>
              <a:gd name="T50" fmla="*/ 2147483647 w 664"/>
              <a:gd name="T51" fmla="*/ 2147483647 h 518"/>
              <a:gd name="T52" fmla="*/ 2147483647 w 664"/>
              <a:gd name="T53" fmla="*/ 2147483647 h 518"/>
              <a:gd name="T54" fmla="*/ 2147483647 w 664"/>
              <a:gd name="T55" fmla="*/ 2147483647 h 518"/>
              <a:gd name="T56" fmla="*/ 2147483647 w 664"/>
              <a:gd name="T57" fmla="*/ 2147483647 h 518"/>
              <a:gd name="T58" fmla="*/ 2147483647 w 664"/>
              <a:gd name="T59" fmla="*/ 2147483647 h 518"/>
              <a:gd name="T60" fmla="*/ 2147483647 w 664"/>
              <a:gd name="T61" fmla="*/ 2147483647 h 518"/>
              <a:gd name="T62" fmla="*/ 2147483647 w 664"/>
              <a:gd name="T63" fmla="*/ 2147483647 h 518"/>
              <a:gd name="T64" fmla="*/ 2147483647 w 664"/>
              <a:gd name="T65" fmla="*/ 2147483647 h 518"/>
              <a:gd name="T66" fmla="*/ 2147483647 w 664"/>
              <a:gd name="T67" fmla="*/ 2147483647 h 518"/>
              <a:gd name="T68" fmla="*/ 2147483647 w 664"/>
              <a:gd name="T69" fmla="*/ 2147483647 h 518"/>
              <a:gd name="T70" fmla="*/ 2147483647 w 664"/>
              <a:gd name="T71" fmla="*/ 2147483647 h 518"/>
              <a:gd name="T72" fmla="*/ 2147483647 w 664"/>
              <a:gd name="T73" fmla="*/ 2147483647 h 518"/>
              <a:gd name="T74" fmla="*/ 2147483647 w 664"/>
              <a:gd name="T75" fmla="*/ 2147483647 h 518"/>
              <a:gd name="T76" fmla="*/ 2147483647 w 664"/>
              <a:gd name="T77" fmla="*/ 2147483647 h 518"/>
              <a:gd name="T78" fmla="*/ 2147483647 w 664"/>
              <a:gd name="T79" fmla="*/ 2147483647 h 518"/>
              <a:gd name="T80" fmla="*/ 2147483647 w 664"/>
              <a:gd name="T81" fmla="*/ 2147483647 h 518"/>
              <a:gd name="T82" fmla="*/ 2147483647 w 664"/>
              <a:gd name="T83" fmla="*/ 2147483647 h 518"/>
              <a:gd name="T84" fmla="*/ 2147483647 w 664"/>
              <a:gd name="T85" fmla="*/ 2147483647 h 518"/>
              <a:gd name="T86" fmla="*/ 2147483647 w 664"/>
              <a:gd name="T87" fmla="*/ 2147483647 h 518"/>
              <a:gd name="T88" fmla="*/ 2147483647 w 664"/>
              <a:gd name="T89" fmla="*/ 2147483647 h 518"/>
              <a:gd name="T90" fmla="*/ 2147483647 w 664"/>
              <a:gd name="T91" fmla="*/ 2147483647 h 518"/>
              <a:gd name="T92" fmla="*/ 2147483647 w 664"/>
              <a:gd name="T93" fmla="*/ 2147483647 h 518"/>
              <a:gd name="T94" fmla="*/ 2147483647 w 664"/>
              <a:gd name="T95" fmla="*/ 2147483647 h 518"/>
              <a:gd name="T96" fmla="*/ 2147483647 w 664"/>
              <a:gd name="T97" fmla="*/ 2147483647 h 518"/>
              <a:gd name="T98" fmla="*/ 2147483647 w 664"/>
              <a:gd name="T99" fmla="*/ 2147483647 h 518"/>
              <a:gd name="T100" fmla="*/ 2147483647 w 664"/>
              <a:gd name="T101" fmla="*/ 2147483647 h 518"/>
              <a:gd name="T102" fmla="*/ 2147483647 w 664"/>
              <a:gd name="T103" fmla="*/ 2147483647 h 518"/>
              <a:gd name="T104" fmla="*/ 2147483647 w 664"/>
              <a:gd name="T105" fmla="*/ 2147483647 h 518"/>
              <a:gd name="T106" fmla="*/ 2147483647 w 664"/>
              <a:gd name="T107" fmla="*/ 2147483647 h 518"/>
              <a:gd name="T108" fmla="*/ 2147483647 w 664"/>
              <a:gd name="T109" fmla="*/ 2147483647 h 518"/>
              <a:gd name="T110" fmla="*/ 2147483647 w 664"/>
              <a:gd name="T111" fmla="*/ 2147483647 h 518"/>
              <a:gd name="T112" fmla="*/ 2147483647 w 664"/>
              <a:gd name="T113" fmla="*/ 2147483647 h 518"/>
              <a:gd name="T114" fmla="*/ 2147483647 w 664"/>
              <a:gd name="T115" fmla="*/ 2147483647 h 518"/>
              <a:gd name="T116" fmla="*/ 2147483647 w 664"/>
              <a:gd name="T117" fmla="*/ 2147483647 h 518"/>
              <a:gd name="T118" fmla="*/ 2147483647 w 664"/>
              <a:gd name="T119" fmla="*/ 2147483647 h 518"/>
              <a:gd name="T120" fmla="*/ 2147483647 w 664"/>
              <a:gd name="T121" fmla="*/ 2147483647 h 518"/>
              <a:gd name="T122" fmla="*/ 2147483647 w 664"/>
              <a:gd name="T123" fmla="*/ 2147483647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47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5087803" y="3246065"/>
            <a:ext cx="150812" cy="82550"/>
          </a:xfrm>
          <a:custGeom>
            <a:avLst/>
            <a:gdLst>
              <a:gd name="T0" fmla="*/ 2147483647 w 352"/>
              <a:gd name="T1" fmla="*/ 2147483647 h 153"/>
              <a:gd name="T2" fmla="*/ 2147483647 w 352"/>
              <a:gd name="T3" fmla="*/ 2147483647 h 153"/>
              <a:gd name="T4" fmla="*/ 2147483647 w 352"/>
              <a:gd name="T5" fmla="*/ 2147483647 h 153"/>
              <a:gd name="T6" fmla="*/ 2147483647 w 352"/>
              <a:gd name="T7" fmla="*/ 2147483647 h 153"/>
              <a:gd name="T8" fmla="*/ 2147483647 w 352"/>
              <a:gd name="T9" fmla="*/ 2147483647 h 153"/>
              <a:gd name="T10" fmla="*/ 2147483647 w 352"/>
              <a:gd name="T11" fmla="*/ 2147483647 h 153"/>
              <a:gd name="T12" fmla="*/ 2147483647 w 352"/>
              <a:gd name="T13" fmla="*/ 2147483647 h 153"/>
              <a:gd name="T14" fmla="*/ 2147483647 w 352"/>
              <a:gd name="T15" fmla="*/ 2147483647 h 153"/>
              <a:gd name="T16" fmla="*/ 2147483647 w 352"/>
              <a:gd name="T17" fmla="*/ 2147483647 h 153"/>
              <a:gd name="T18" fmla="*/ 2147483647 w 352"/>
              <a:gd name="T19" fmla="*/ 2147483647 h 153"/>
              <a:gd name="T20" fmla="*/ 2147483647 w 352"/>
              <a:gd name="T21" fmla="*/ 2147483647 h 153"/>
              <a:gd name="T22" fmla="*/ 2147483647 w 352"/>
              <a:gd name="T23" fmla="*/ 2147483647 h 153"/>
              <a:gd name="T24" fmla="*/ 2147483647 w 352"/>
              <a:gd name="T25" fmla="*/ 2147483647 h 153"/>
              <a:gd name="T26" fmla="*/ 2147483647 w 352"/>
              <a:gd name="T27" fmla="*/ 2147483647 h 153"/>
              <a:gd name="T28" fmla="*/ 2147483647 w 352"/>
              <a:gd name="T29" fmla="*/ 2147483647 h 153"/>
              <a:gd name="T30" fmla="*/ 2147483647 w 352"/>
              <a:gd name="T31" fmla="*/ 2147483647 h 153"/>
              <a:gd name="T32" fmla="*/ 2147483647 w 352"/>
              <a:gd name="T33" fmla="*/ 2147483647 h 153"/>
              <a:gd name="T34" fmla="*/ 2147483647 w 352"/>
              <a:gd name="T35" fmla="*/ 2147483647 h 153"/>
              <a:gd name="T36" fmla="*/ 2147483647 w 352"/>
              <a:gd name="T37" fmla="*/ 2147483647 h 153"/>
              <a:gd name="T38" fmla="*/ 2147483647 w 352"/>
              <a:gd name="T39" fmla="*/ 2147483647 h 153"/>
              <a:gd name="T40" fmla="*/ 2147483647 w 352"/>
              <a:gd name="T41" fmla="*/ 2147483647 h 153"/>
              <a:gd name="T42" fmla="*/ 2147483647 w 352"/>
              <a:gd name="T43" fmla="*/ 2147483647 h 153"/>
              <a:gd name="T44" fmla="*/ 2147483647 w 352"/>
              <a:gd name="T45" fmla="*/ 2147483647 h 153"/>
              <a:gd name="T46" fmla="*/ 2147483647 w 352"/>
              <a:gd name="T47" fmla="*/ 2147483647 h 153"/>
              <a:gd name="T48" fmla="*/ 2147483647 w 352"/>
              <a:gd name="T49" fmla="*/ 2147483647 h 153"/>
              <a:gd name="T50" fmla="*/ 2147483647 w 352"/>
              <a:gd name="T51" fmla="*/ 2147483647 h 153"/>
              <a:gd name="T52" fmla="*/ 2147483647 w 352"/>
              <a:gd name="T53" fmla="*/ 2147483647 h 153"/>
              <a:gd name="T54" fmla="*/ 0 w 352"/>
              <a:gd name="T55" fmla="*/ 0 h 153"/>
              <a:gd name="T56" fmla="*/ 2147483647 w 352"/>
              <a:gd name="T57" fmla="*/ 0 h 153"/>
              <a:gd name="T58" fmla="*/ 2147483647 w 352"/>
              <a:gd name="T59" fmla="*/ 2147483647 h 153"/>
              <a:gd name="T60" fmla="*/ 2147483647 w 352"/>
              <a:gd name="T61" fmla="*/ 2147483647 h 153"/>
              <a:gd name="T62" fmla="*/ 2147483647 w 352"/>
              <a:gd name="T63" fmla="*/ 2147483647 h 153"/>
              <a:gd name="T64" fmla="*/ 2147483647 w 352"/>
              <a:gd name="T65" fmla="*/ 2147483647 h 153"/>
              <a:gd name="T66" fmla="*/ 2147483647 w 352"/>
              <a:gd name="T67" fmla="*/ 2147483647 h 153"/>
              <a:gd name="T68" fmla="*/ 2147483647 w 352"/>
              <a:gd name="T69" fmla="*/ 2147483647 h 153"/>
              <a:gd name="T70" fmla="*/ 2147483647 w 352"/>
              <a:gd name="T71" fmla="*/ 2147483647 h 153"/>
              <a:gd name="T72" fmla="*/ 2147483647 w 352"/>
              <a:gd name="T73" fmla="*/ 2147483647 h 153"/>
              <a:gd name="T74" fmla="*/ 2147483647 w 352"/>
              <a:gd name="T75" fmla="*/ 214748364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8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636953" y="3306390"/>
            <a:ext cx="147637" cy="173038"/>
          </a:xfrm>
          <a:custGeom>
            <a:avLst/>
            <a:gdLst>
              <a:gd name="T0" fmla="*/ 2147483647 w 331"/>
              <a:gd name="T1" fmla="*/ 2147483647 h 327"/>
              <a:gd name="T2" fmla="*/ 2147483647 w 331"/>
              <a:gd name="T3" fmla="*/ 2147483647 h 327"/>
              <a:gd name="T4" fmla="*/ 2147483647 w 331"/>
              <a:gd name="T5" fmla="*/ 2147483647 h 327"/>
              <a:gd name="T6" fmla="*/ 2147483647 w 331"/>
              <a:gd name="T7" fmla="*/ 2147483647 h 327"/>
              <a:gd name="T8" fmla="*/ 2147483647 w 331"/>
              <a:gd name="T9" fmla="*/ 2147483647 h 327"/>
              <a:gd name="T10" fmla="*/ 2147483647 w 331"/>
              <a:gd name="T11" fmla="*/ 2147483647 h 327"/>
              <a:gd name="T12" fmla="*/ 2147483647 w 331"/>
              <a:gd name="T13" fmla="*/ 2147483647 h 327"/>
              <a:gd name="T14" fmla="*/ 2147483647 w 331"/>
              <a:gd name="T15" fmla="*/ 2147483647 h 327"/>
              <a:gd name="T16" fmla="*/ 2147483647 w 331"/>
              <a:gd name="T17" fmla="*/ 2147483647 h 327"/>
              <a:gd name="T18" fmla="*/ 2147483647 w 331"/>
              <a:gd name="T19" fmla="*/ 2147483647 h 327"/>
              <a:gd name="T20" fmla="*/ 2147483647 w 331"/>
              <a:gd name="T21" fmla="*/ 2147483647 h 327"/>
              <a:gd name="T22" fmla="*/ 2147483647 w 331"/>
              <a:gd name="T23" fmla="*/ 2147483647 h 327"/>
              <a:gd name="T24" fmla="*/ 2147483647 w 331"/>
              <a:gd name="T25" fmla="*/ 2147483647 h 327"/>
              <a:gd name="T26" fmla="*/ 2147483647 w 331"/>
              <a:gd name="T27" fmla="*/ 2147483647 h 327"/>
              <a:gd name="T28" fmla="*/ 2147483647 w 331"/>
              <a:gd name="T29" fmla="*/ 2147483647 h 327"/>
              <a:gd name="T30" fmla="*/ 2147483647 w 331"/>
              <a:gd name="T31" fmla="*/ 2147483647 h 327"/>
              <a:gd name="T32" fmla="*/ 2147483647 w 331"/>
              <a:gd name="T33" fmla="*/ 2147483647 h 327"/>
              <a:gd name="T34" fmla="*/ 2147483647 w 331"/>
              <a:gd name="T35" fmla="*/ 2147483647 h 327"/>
              <a:gd name="T36" fmla="*/ 2147483647 w 331"/>
              <a:gd name="T37" fmla="*/ 2147483647 h 327"/>
              <a:gd name="T38" fmla="*/ 2147483647 w 331"/>
              <a:gd name="T39" fmla="*/ 2147483647 h 327"/>
              <a:gd name="T40" fmla="*/ 2147483647 w 331"/>
              <a:gd name="T41" fmla="*/ 2147483647 h 327"/>
              <a:gd name="T42" fmla="*/ 2147483647 w 331"/>
              <a:gd name="T43" fmla="*/ 2147483647 h 327"/>
              <a:gd name="T44" fmla="*/ 2147483647 w 331"/>
              <a:gd name="T45" fmla="*/ 2147483647 h 327"/>
              <a:gd name="T46" fmla="*/ 2147483647 w 331"/>
              <a:gd name="T47" fmla="*/ 2147483647 h 327"/>
              <a:gd name="T48" fmla="*/ 2147483647 w 331"/>
              <a:gd name="T49" fmla="*/ 2147483647 h 327"/>
              <a:gd name="T50" fmla="*/ 2147483647 w 331"/>
              <a:gd name="T51" fmla="*/ 2147483647 h 327"/>
              <a:gd name="T52" fmla="*/ 2147483647 w 331"/>
              <a:gd name="T53" fmla="*/ 2147483647 h 327"/>
              <a:gd name="T54" fmla="*/ 2147483647 w 331"/>
              <a:gd name="T55" fmla="*/ 2147483647 h 327"/>
              <a:gd name="T56" fmla="*/ 2147483647 w 331"/>
              <a:gd name="T57" fmla="*/ 2147483647 h 327"/>
              <a:gd name="T58" fmla="*/ 2147483647 w 331"/>
              <a:gd name="T59" fmla="*/ 2147483647 h 327"/>
              <a:gd name="T60" fmla="*/ 2147483647 w 331"/>
              <a:gd name="T61" fmla="*/ 2147483647 h 327"/>
              <a:gd name="T62" fmla="*/ 2147483647 w 331"/>
              <a:gd name="T63" fmla="*/ 2147483647 h 327"/>
              <a:gd name="T64" fmla="*/ 2147483647 w 331"/>
              <a:gd name="T65" fmla="*/ 2147483647 h 327"/>
              <a:gd name="T66" fmla="*/ 2147483647 w 331"/>
              <a:gd name="T67" fmla="*/ 2147483647 h 327"/>
              <a:gd name="T68" fmla="*/ 2147483647 w 331"/>
              <a:gd name="T69" fmla="*/ 2147483647 h 327"/>
              <a:gd name="T70" fmla="*/ 0 w 331"/>
              <a:gd name="T71" fmla="*/ 2147483647 h 327"/>
              <a:gd name="T72" fmla="*/ 2147483647 w 331"/>
              <a:gd name="T73" fmla="*/ 2147483647 h 327"/>
              <a:gd name="T74" fmla="*/ 2147483647 w 331"/>
              <a:gd name="T75" fmla="*/ 2147483647 h 327"/>
              <a:gd name="T76" fmla="*/ 2147483647 w 331"/>
              <a:gd name="T77" fmla="*/ 2147483647 h 327"/>
              <a:gd name="T78" fmla="*/ 2147483647 w 331"/>
              <a:gd name="T79" fmla="*/ 2147483647 h 327"/>
              <a:gd name="T80" fmla="*/ 2147483647 w 331"/>
              <a:gd name="T81" fmla="*/ 2147483647 h 327"/>
              <a:gd name="T82" fmla="*/ 2147483647 w 331"/>
              <a:gd name="T83" fmla="*/ 2147483647 h 327"/>
              <a:gd name="T84" fmla="*/ 2147483647 w 331"/>
              <a:gd name="T85" fmla="*/ 2147483647 h 327"/>
              <a:gd name="T86" fmla="*/ 2147483647 w 331"/>
              <a:gd name="T87" fmla="*/ 2147483647 h 327"/>
              <a:gd name="T88" fmla="*/ 2147483647 w 331"/>
              <a:gd name="T89" fmla="*/ 2147483647 h 327"/>
              <a:gd name="T90" fmla="*/ 2147483647 w 331"/>
              <a:gd name="T91" fmla="*/ 2147483647 h 327"/>
              <a:gd name="T92" fmla="*/ 2147483647 w 331"/>
              <a:gd name="T93" fmla="*/ 2147483647 h 327"/>
              <a:gd name="T94" fmla="*/ 2147483647 w 331"/>
              <a:gd name="T95" fmla="*/ 2147483647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9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721090" y="3498478"/>
            <a:ext cx="69850" cy="57150"/>
          </a:xfrm>
          <a:custGeom>
            <a:avLst/>
            <a:gdLst>
              <a:gd name="T0" fmla="*/ 0 w 153"/>
              <a:gd name="T1" fmla="*/ 0 h 49"/>
              <a:gd name="T2" fmla="*/ 2147483647 w 153"/>
              <a:gd name="T3" fmla="*/ 2147483647 h 49"/>
              <a:gd name="T4" fmla="*/ 2147483647 w 153"/>
              <a:gd name="T5" fmla="*/ 2147483647 h 49"/>
              <a:gd name="T6" fmla="*/ 2147483647 w 153"/>
              <a:gd name="T7" fmla="*/ 2147483647 h 49"/>
              <a:gd name="T8" fmla="*/ 2147483647 w 153"/>
              <a:gd name="T9" fmla="*/ 2147483647 h 49"/>
              <a:gd name="T10" fmla="*/ 2147483647 w 153"/>
              <a:gd name="T11" fmla="*/ 2147483647 h 49"/>
              <a:gd name="T12" fmla="*/ 2147483647 w 153"/>
              <a:gd name="T13" fmla="*/ 2147483647 h 49"/>
              <a:gd name="T14" fmla="*/ 2147483647 w 153"/>
              <a:gd name="T15" fmla="*/ 2147483647 h 49"/>
              <a:gd name="T16" fmla="*/ 2147483647 w 153"/>
              <a:gd name="T17" fmla="*/ 0 h 49"/>
              <a:gd name="T18" fmla="*/ 2147483647 w 153"/>
              <a:gd name="T19" fmla="*/ 2147483647 h 49"/>
              <a:gd name="T20" fmla="*/ 2147483647 w 153"/>
              <a:gd name="T21" fmla="*/ 2147483647 h 49"/>
              <a:gd name="T22" fmla="*/ 2147483647 w 153"/>
              <a:gd name="T23" fmla="*/ 2147483647 h 49"/>
              <a:gd name="T24" fmla="*/ 2147483647 w 153"/>
              <a:gd name="T25" fmla="*/ 2147483647 h 49"/>
              <a:gd name="T26" fmla="*/ 2147483647 w 153"/>
              <a:gd name="T27" fmla="*/ 2147483647 h 49"/>
              <a:gd name="T28" fmla="*/ 2147483647 w 153"/>
              <a:gd name="T29" fmla="*/ 2147483647 h 49"/>
              <a:gd name="T30" fmla="*/ 2147483647 w 153"/>
              <a:gd name="T31" fmla="*/ 2147483647 h 49"/>
              <a:gd name="T32" fmla="*/ 2147483647 w 153"/>
              <a:gd name="T33" fmla="*/ 2147483647 h 49"/>
              <a:gd name="T34" fmla="*/ 2147483647 w 153"/>
              <a:gd name="T35" fmla="*/ 2147483647 h 49"/>
              <a:gd name="T36" fmla="*/ 2147483647 w 153"/>
              <a:gd name="T37" fmla="*/ 2147483647 h 49"/>
              <a:gd name="T38" fmla="*/ 2147483647 w 153"/>
              <a:gd name="T39" fmla="*/ 2147483647 h 49"/>
              <a:gd name="T40" fmla="*/ 2147483647 w 153"/>
              <a:gd name="T41" fmla="*/ 2147483647 h 49"/>
              <a:gd name="T42" fmla="*/ 2147483647 w 153"/>
              <a:gd name="T43" fmla="*/ 2147483647 h 49"/>
              <a:gd name="T44" fmla="*/ 2147483647 w 153"/>
              <a:gd name="T45" fmla="*/ 2147483647 h 49"/>
              <a:gd name="T46" fmla="*/ 2147483647 w 153"/>
              <a:gd name="T47" fmla="*/ 2147483647 h 49"/>
              <a:gd name="T48" fmla="*/ 0 w 153"/>
              <a:gd name="T49" fmla="*/ 2147483647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50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800340" y="4230315"/>
            <a:ext cx="187325" cy="158750"/>
          </a:xfrm>
          <a:custGeom>
            <a:avLst/>
            <a:gdLst>
              <a:gd name="T0" fmla="*/ 2147483647 w 426"/>
              <a:gd name="T1" fmla="*/ 2147483647 h 299"/>
              <a:gd name="T2" fmla="*/ 2147483647 w 426"/>
              <a:gd name="T3" fmla="*/ 2147483647 h 299"/>
              <a:gd name="T4" fmla="*/ 2147483647 w 426"/>
              <a:gd name="T5" fmla="*/ 2147483647 h 299"/>
              <a:gd name="T6" fmla="*/ 2147483647 w 426"/>
              <a:gd name="T7" fmla="*/ 2147483647 h 299"/>
              <a:gd name="T8" fmla="*/ 2147483647 w 426"/>
              <a:gd name="T9" fmla="*/ 2147483647 h 299"/>
              <a:gd name="T10" fmla="*/ 2147483647 w 426"/>
              <a:gd name="T11" fmla="*/ 2147483647 h 299"/>
              <a:gd name="T12" fmla="*/ 2147483647 w 426"/>
              <a:gd name="T13" fmla="*/ 2147483647 h 299"/>
              <a:gd name="T14" fmla="*/ 2147483647 w 426"/>
              <a:gd name="T15" fmla="*/ 2147483647 h 299"/>
              <a:gd name="T16" fmla="*/ 2147483647 w 426"/>
              <a:gd name="T17" fmla="*/ 2147483647 h 299"/>
              <a:gd name="T18" fmla="*/ 2147483647 w 426"/>
              <a:gd name="T19" fmla="*/ 2147483647 h 299"/>
              <a:gd name="T20" fmla="*/ 2147483647 w 426"/>
              <a:gd name="T21" fmla="*/ 2147483647 h 299"/>
              <a:gd name="T22" fmla="*/ 2147483647 w 426"/>
              <a:gd name="T23" fmla="*/ 2147483647 h 299"/>
              <a:gd name="T24" fmla="*/ 2147483647 w 426"/>
              <a:gd name="T25" fmla="*/ 2147483647 h 299"/>
              <a:gd name="T26" fmla="*/ 2147483647 w 426"/>
              <a:gd name="T27" fmla="*/ 2147483647 h 299"/>
              <a:gd name="T28" fmla="*/ 2147483647 w 426"/>
              <a:gd name="T29" fmla="*/ 2147483647 h 299"/>
              <a:gd name="T30" fmla="*/ 2147483647 w 426"/>
              <a:gd name="T31" fmla="*/ 2147483647 h 299"/>
              <a:gd name="T32" fmla="*/ 2147483647 w 426"/>
              <a:gd name="T33" fmla="*/ 2147483647 h 299"/>
              <a:gd name="T34" fmla="*/ 2147483647 w 426"/>
              <a:gd name="T35" fmla="*/ 2147483647 h 299"/>
              <a:gd name="T36" fmla="*/ 2147483647 w 426"/>
              <a:gd name="T37" fmla="*/ 2147483647 h 299"/>
              <a:gd name="T38" fmla="*/ 2147483647 w 426"/>
              <a:gd name="T39" fmla="*/ 2147483647 h 299"/>
              <a:gd name="T40" fmla="*/ 2147483647 w 426"/>
              <a:gd name="T41" fmla="*/ 2147483647 h 299"/>
              <a:gd name="T42" fmla="*/ 2147483647 w 426"/>
              <a:gd name="T43" fmla="*/ 2147483647 h 299"/>
              <a:gd name="T44" fmla="*/ 2147483647 w 426"/>
              <a:gd name="T45" fmla="*/ 2147483647 h 299"/>
              <a:gd name="T46" fmla="*/ 2147483647 w 426"/>
              <a:gd name="T47" fmla="*/ 2147483647 h 299"/>
              <a:gd name="T48" fmla="*/ 2147483647 w 426"/>
              <a:gd name="T49" fmla="*/ 2147483647 h 299"/>
              <a:gd name="T50" fmla="*/ 2147483647 w 426"/>
              <a:gd name="T51" fmla="*/ 2147483647 h 299"/>
              <a:gd name="T52" fmla="*/ 2147483647 w 426"/>
              <a:gd name="T53" fmla="*/ 2147483647 h 299"/>
              <a:gd name="T54" fmla="*/ 2147483647 w 426"/>
              <a:gd name="T55" fmla="*/ 2147483647 h 299"/>
              <a:gd name="T56" fmla="*/ 2147483647 w 426"/>
              <a:gd name="T57" fmla="*/ 2147483647 h 299"/>
              <a:gd name="T58" fmla="*/ 2147483647 w 426"/>
              <a:gd name="T59" fmla="*/ 2147483647 h 299"/>
              <a:gd name="T60" fmla="*/ 2147483647 w 426"/>
              <a:gd name="T61" fmla="*/ 2147483647 h 299"/>
              <a:gd name="T62" fmla="*/ 2147483647 w 426"/>
              <a:gd name="T63" fmla="*/ 2147483647 h 299"/>
              <a:gd name="T64" fmla="*/ 2147483647 w 426"/>
              <a:gd name="T65" fmla="*/ 2147483647 h 299"/>
              <a:gd name="T66" fmla="*/ 2147483647 w 426"/>
              <a:gd name="T67" fmla="*/ 2147483647 h 299"/>
              <a:gd name="T68" fmla="*/ 2147483647 w 426"/>
              <a:gd name="T69" fmla="*/ 2147483647 h 299"/>
              <a:gd name="T70" fmla="*/ 2147483647 w 426"/>
              <a:gd name="T71" fmla="*/ 2147483647 h 299"/>
              <a:gd name="T72" fmla="*/ 2147483647 w 426"/>
              <a:gd name="T73" fmla="*/ 2147483647 h 299"/>
              <a:gd name="T74" fmla="*/ 2147483647 w 426"/>
              <a:gd name="T75" fmla="*/ 2147483647 h 299"/>
              <a:gd name="T76" fmla="*/ 2147483647 w 426"/>
              <a:gd name="T77" fmla="*/ 2147483647 h 299"/>
              <a:gd name="T78" fmla="*/ 2147483647 w 426"/>
              <a:gd name="T79" fmla="*/ 2147483647 h 299"/>
              <a:gd name="T80" fmla="*/ 2147483647 w 426"/>
              <a:gd name="T81" fmla="*/ 2147483647 h 299"/>
              <a:gd name="T82" fmla="*/ 2147483647 w 426"/>
              <a:gd name="T83" fmla="*/ 2147483647 h 299"/>
              <a:gd name="T84" fmla="*/ 2147483647 w 426"/>
              <a:gd name="T85" fmla="*/ 2147483647 h 299"/>
              <a:gd name="T86" fmla="*/ 2147483647 w 426"/>
              <a:gd name="T87" fmla="*/ 2147483647 h 299"/>
              <a:gd name="T88" fmla="*/ 2147483647 w 426"/>
              <a:gd name="T89" fmla="*/ 2147483647 h 299"/>
              <a:gd name="T90" fmla="*/ 2147483647 w 426"/>
              <a:gd name="T91" fmla="*/ 2147483647 h 299"/>
              <a:gd name="T92" fmla="*/ 2147483647 w 426"/>
              <a:gd name="T93" fmla="*/ 2147483647 h 299"/>
              <a:gd name="T94" fmla="*/ 2147483647 w 426"/>
              <a:gd name="T95" fmla="*/ 2147483647 h 299"/>
              <a:gd name="T96" fmla="*/ 2147483647 w 426"/>
              <a:gd name="T97" fmla="*/ 2147483647 h 299"/>
              <a:gd name="T98" fmla="*/ 2147483647 w 426"/>
              <a:gd name="T99" fmla="*/ 2147483647 h 299"/>
              <a:gd name="T100" fmla="*/ 2147483647 w 426"/>
              <a:gd name="T101" fmla="*/ 2147483647 h 299"/>
              <a:gd name="T102" fmla="*/ 2147483647 w 426"/>
              <a:gd name="T103" fmla="*/ 2147483647 h 299"/>
              <a:gd name="T104" fmla="*/ 2147483647 w 426"/>
              <a:gd name="T105" fmla="*/ 2147483647 h 299"/>
              <a:gd name="T106" fmla="*/ 2147483647 w 426"/>
              <a:gd name="T107" fmla="*/ 2147483647 h 299"/>
              <a:gd name="T108" fmla="*/ 2147483647 w 426"/>
              <a:gd name="T109" fmla="*/ 2147483647 h 299"/>
              <a:gd name="T110" fmla="*/ 2147483647 w 426"/>
              <a:gd name="T111" fmla="*/ 2147483647 h 299"/>
              <a:gd name="T112" fmla="*/ 2147483647 w 426"/>
              <a:gd name="T113" fmla="*/ 2147483647 h 299"/>
              <a:gd name="T114" fmla="*/ 2147483647 w 426"/>
              <a:gd name="T115" fmla="*/ 2147483647 h 299"/>
              <a:gd name="T116" fmla="*/ 2147483647 w 426"/>
              <a:gd name="T117" fmla="*/ 2147483647 h 299"/>
              <a:gd name="T118" fmla="*/ 2147483647 w 426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1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845040" y="3493715"/>
            <a:ext cx="692150" cy="874713"/>
          </a:xfrm>
          <a:custGeom>
            <a:avLst/>
            <a:gdLst>
              <a:gd name="T0" fmla="*/ 2147483647 w 1594"/>
              <a:gd name="T1" fmla="*/ 2147483647 h 1670"/>
              <a:gd name="T2" fmla="*/ 2147483647 w 1594"/>
              <a:gd name="T3" fmla="*/ 2147483647 h 1670"/>
              <a:gd name="T4" fmla="*/ 2147483647 w 1594"/>
              <a:gd name="T5" fmla="*/ 2147483647 h 1670"/>
              <a:gd name="T6" fmla="*/ 2147483647 w 1594"/>
              <a:gd name="T7" fmla="*/ 2147483647 h 1670"/>
              <a:gd name="T8" fmla="*/ 2147483647 w 1594"/>
              <a:gd name="T9" fmla="*/ 2147483647 h 1670"/>
              <a:gd name="T10" fmla="*/ 2147483647 w 1594"/>
              <a:gd name="T11" fmla="*/ 2147483647 h 1670"/>
              <a:gd name="T12" fmla="*/ 2147483647 w 1594"/>
              <a:gd name="T13" fmla="*/ 2147483647 h 1670"/>
              <a:gd name="T14" fmla="*/ 2147483647 w 1594"/>
              <a:gd name="T15" fmla="*/ 2147483647 h 1670"/>
              <a:gd name="T16" fmla="*/ 2147483647 w 1594"/>
              <a:gd name="T17" fmla="*/ 2147483647 h 1670"/>
              <a:gd name="T18" fmla="*/ 2147483647 w 1594"/>
              <a:gd name="T19" fmla="*/ 2147483647 h 1670"/>
              <a:gd name="T20" fmla="*/ 2147483647 w 1594"/>
              <a:gd name="T21" fmla="*/ 2147483647 h 1670"/>
              <a:gd name="T22" fmla="*/ 2147483647 w 1594"/>
              <a:gd name="T23" fmla="*/ 2147483647 h 1670"/>
              <a:gd name="T24" fmla="*/ 2147483647 w 1594"/>
              <a:gd name="T25" fmla="*/ 2147483647 h 1670"/>
              <a:gd name="T26" fmla="*/ 2147483647 w 1594"/>
              <a:gd name="T27" fmla="*/ 2147483647 h 1670"/>
              <a:gd name="T28" fmla="*/ 2147483647 w 1594"/>
              <a:gd name="T29" fmla="*/ 2147483647 h 1670"/>
              <a:gd name="T30" fmla="*/ 2147483647 w 1594"/>
              <a:gd name="T31" fmla="*/ 2147483647 h 1670"/>
              <a:gd name="T32" fmla="*/ 2147483647 w 1594"/>
              <a:gd name="T33" fmla="*/ 2147483647 h 1670"/>
              <a:gd name="T34" fmla="*/ 2147483647 w 1594"/>
              <a:gd name="T35" fmla="*/ 2147483647 h 1670"/>
              <a:gd name="T36" fmla="*/ 2147483647 w 1594"/>
              <a:gd name="T37" fmla="*/ 2147483647 h 1670"/>
              <a:gd name="T38" fmla="*/ 2147483647 w 1594"/>
              <a:gd name="T39" fmla="*/ 2147483647 h 1670"/>
              <a:gd name="T40" fmla="*/ 2147483647 w 1594"/>
              <a:gd name="T41" fmla="*/ 2147483647 h 1670"/>
              <a:gd name="T42" fmla="*/ 2147483647 w 1594"/>
              <a:gd name="T43" fmla="*/ 2147483647 h 1670"/>
              <a:gd name="T44" fmla="*/ 2147483647 w 1594"/>
              <a:gd name="T45" fmla="*/ 2147483647 h 1670"/>
              <a:gd name="T46" fmla="*/ 2147483647 w 1594"/>
              <a:gd name="T47" fmla="*/ 2147483647 h 1670"/>
              <a:gd name="T48" fmla="*/ 2147483647 w 1594"/>
              <a:gd name="T49" fmla="*/ 2147483647 h 1670"/>
              <a:gd name="T50" fmla="*/ 2147483647 w 1594"/>
              <a:gd name="T51" fmla="*/ 2147483647 h 1670"/>
              <a:gd name="T52" fmla="*/ 2147483647 w 1594"/>
              <a:gd name="T53" fmla="*/ 2147483647 h 1670"/>
              <a:gd name="T54" fmla="*/ 2147483647 w 1594"/>
              <a:gd name="T55" fmla="*/ 2147483647 h 1670"/>
              <a:gd name="T56" fmla="*/ 2147483647 w 1594"/>
              <a:gd name="T57" fmla="*/ 2147483647 h 1670"/>
              <a:gd name="T58" fmla="*/ 2147483647 w 1594"/>
              <a:gd name="T59" fmla="*/ 2147483647 h 1670"/>
              <a:gd name="T60" fmla="*/ 2147483647 w 1594"/>
              <a:gd name="T61" fmla="*/ 2147483647 h 1670"/>
              <a:gd name="T62" fmla="*/ 2147483647 w 1594"/>
              <a:gd name="T63" fmla="*/ 2147483647 h 1670"/>
              <a:gd name="T64" fmla="*/ 2147483647 w 1594"/>
              <a:gd name="T65" fmla="*/ 2147483647 h 1670"/>
              <a:gd name="T66" fmla="*/ 2147483647 w 1594"/>
              <a:gd name="T67" fmla="*/ 2147483647 h 1670"/>
              <a:gd name="T68" fmla="*/ 2147483647 w 1594"/>
              <a:gd name="T69" fmla="*/ 2147483647 h 1670"/>
              <a:gd name="T70" fmla="*/ 2147483647 w 1594"/>
              <a:gd name="T71" fmla="*/ 2147483647 h 1670"/>
              <a:gd name="T72" fmla="*/ 2147483647 w 1594"/>
              <a:gd name="T73" fmla="*/ 2147483647 h 1670"/>
              <a:gd name="T74" fmla="*/ 2147483647 w 1594"/>
              <a:gd name="T75" fmla="*/ 2147483647 h 1670"/>
              <a:gd name="T76" fmla="*/ 2147483647 w 1594"/>
              <a:gd name="T77" fmla="*/ 2147483647 h 1670"/>
              <a:gd name="T78" fmla="*/ 2147483647 w 1594"/>
              <a:gd name="T79" fmla="*/ 2147483647 h 1670"/>
              <a:gd name="T80" fmla="*/ 2147483647 w 1594"/>
              <a:gd name="T81" fmla="*/ 2147483647 h 1670"/>
              <a:gd name="T82" fmla="*/ 2147483647 w 1594"/>
              <a:gd name="T83" fmla="*/ 2147483647 h 1670"/>
              <a:gd name="T84" fmla="*/ 2147483647 w 1594"/>
              <a:gd name="T85" fmla="*/ 2147483647 h 1670"/>
              <a:gd name="T86" fmla="*/ 2147483647 w 1594"/>
              <a:gd name="T87" fmla="*/ 2147483647 h 1670"/>
              <a:gd name="T88" fmla="*/ 2147483647 w 1594"/>
              <a:gd name="T89" fmla="*/ 2147483647 h 1670"/>
              <a:gd name="T90" fmla="*/ 2147483647 w 1594"/>
              <a:gd name="T91" fmla="*/ 2147483647 h 1670"/>
              <a:gd name="T92" fmla="*/ 2147483647 w 1594"/>
              <a:gd name="T93" fmla="*/ 2147483647 h 1670"/>
              <a:gd name="T94" fmla="*/ 2147483647 w 1594"/>
              <a:gd name="T95" fmla="*/ 2147483647 h 1670"/>
              <a:gd name="T96" fmla="*/ 2147483647 w 1594"/>
              <a:gd name="T97" fmla="*/ 2147483647 h 1670"/>
              <a:gd name="T98" fmla="*/ 2147483647 w 1594"/>
              <a:gd name="T99" fmla="*/ 2147483647 h 1670"/>
              <a:gd name="T100" fmla="*/ 2147483647 w 1594"/>
              <a:gd name="T101" fmla="*/ 2147483647 h 1670"/>
              <a:gd name="T102" fmla="*/ 2147483647 w 1594"/>
              <a:gd name="T103" fmla="*/ 2147483647 h 1670"/>
              <a:gd name="T104" fmla="*/ 2147483647 w 1594"/>
              <a:gd name="T105" fmla="*/ 2147483647 h 1670"/>
              <a:gd name="T106" fmla="*/ 2147483647 w 1594"/>
              <a:gd name="T107" fmla="*/ 2147483647 h 1670"/>
              <a:gd name="T108" fmla="*/ 2147483647 w 1594"/>
              <a:gd name="T109" fmla="*/ 2147483647 h 1670"/>
              <a:gd name="T110" fmla="*/ 2147483647 w 1594"/>
              <a:gd name="T111" fmla="*/ 2147483647 h 1670"/>
              <a:gd name="T112" fmla="*/ 2147483647 w 1594"/>
              <a:gd name="T113" fmla="*/ 2147483647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2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967028" y="4289053"/>
            <a:ext cx="158750" cy="206375"/>
          </a:xfrm>
          <a:custGeom>
            <a:avLst/>
            <a:gdLst>
              <a:gd name="T0" fmla="*/ 2147483647 w 359"/>
              <a:gd name="T1" fmla="*/ 2147483647 h 394"/>
              <a:gd name="T2" fmla="*/ 2147483647 w 359"/>
              <a:gd name="T3" fmla="*/ 2147483647 h 394"/>
              <a:gd name="T4" fmla="*/ 2147483647 w 359"/>
              <a:gd name="T5" fmla="*/ 2147483647 h 394"/>
              <a:gd name="T6" fmla="*/ 2147483647 w 359"/>
              <a:gd name="T7" fmla="*/ 2147483647 h 394"/>
              <a:gd name="T8" fmla="*/ 2147483647 w 359"/>
              <a:gd name="T9" fmla="*/ 2147483647 h 394"/>
              <a:gd name="T10" fmla="*/ 2147483647 w 359"/>
              <a:gd name="T11" fmla="*/ 2147483647 h 394"/>
              <a:gd name="T12" fmla="*/ 2147483647 w 359"/>
              <a:gd name="T13" fmla="*/ 2147483647 h 394"/>
              <a:gd name="T14" fmla="*/ 0 w 359"/>
              <a:gd name="T15" fmla="*/ 2147483647 h 394"/>
              <a:gd name="T16" fmla="*/ 2147483647 w 359"/>
              <a:gd name="T17" fmla="*/ 2147483647 h 394"/>
              <a:gd name="T18" fmla="*/ 2147483647 w 359"/>
              <a:gd name="T19" fmla="*/ 2147483647 h 394"/>
              <a:gd name="T20" fmla="*/ 2147483647 w 359"/>
              <a:gd name="T21" fmla="*/ 2147483647 h 394"/>
              <a:gd name="T22" fmla="*/ 2147483647 w 359"/>
              <a:gd name="T23" fmla="*/ 2147483647 h 394"/>
              <a:gd name="T24" fmla="*/ 2147483647 w 359"/>
              <a:gd name="T25" fmla="*/ 2147483647 h 394"/>
              <a:gd name="T26" fmla="*/ 2147483647 w 359"/>
              <a:gd name="T27" fmla="*/ 2147483647 h 394"/>
              <a:gd name="T28" fmla="*/ 2147483647 w 359"/>
              <a:gd name="T29" fmla="*/ 2147483647 h 394"/>
              <a:gd name="T30" fmla="*/ 2147483647 w 359"/>
              <a:gd name="T31" fmla="*/ 2147483647 h 394"/>
              <a:gd name="T32" fmla="*/ 2147483647 w 359"/>
              <a:gd name="T33" fmla="*/ 2147483647 h 394"/>
              <a:gd name="T34" fmla="*/ 2147483647 w 359"/>
              <a:gd name="T35" fmla="*/ 2147483647 h 394"/>
              <a:gd name="T36" fmla="*/ 2147483647 w 359"/>
              <a:gd name="T37" fmla="*/ 0 h 394"/>
              <a:gd name="T38" fmla="*/ 2147483647 w 359"/>
              <a:gd name="T39" fmla="*/ 2147483647 h 394"/>
              <a:gd name="T40" fmla="*/ 2147483647 w 359"/>
              <a:gd name="T41" fmla="*/ 2147483647 h 394"/>
              <a:gd name="T42" fmla="*/ 2147483647 w 359"/>
              <a:gd name="T43" fmla="*/ 2147483647 h 394"/>
              <a:gd name="T44" fmla="*/ 2147483647 w 359"/>
              <a:gd name="T45" fmla="*/ 2147483647 h 394"/>
              <a:gd name="T46" fmla="*/ 2147483647 w 359"/>
              <a:gd name="T47" fmla="*/ 2147483647 h 394"/>
              <a:gd name="T48" fmla="*/ 2147483647 w 359"/>
              <a:gd name="T49" fmla="*/ 2147483647 h 394"/>
              <a:gd name="T50" fmla="*/ 2147483647 w 359"/>
              <a:gd name="T51" fmla="*/ 2147483647 h 394"/>
              <a:gd name="T52" fmla="*/ 2147483647 w 359"/>
              <a:gd name="T53" fmla="*/ 2147483647 h 394"/>
              <a:gd name="T54" fmla="*/ 2147483647 w 359"/>
              <a:gd name="T55" fmla="*/ 2147483647 h 394"/>
              <a:gd name="T56" fmla="*/ 2147483647 w 359"/>
              <a:gd name="T57" fmla="*/ 2147483647 h 394"/>
              <a:gd name="T58" fmla="*/ 2147483647 w 359"/>
              <a:gd name="T59" fmla="*/ 2147483647 h 394"/>
              <a:gd name="T60" fmla="*/ 2147483647 w 359"/>
              <a:gd name="T61" fmla="*/ 2147483647 h 394"/>
              <a:gd name="T62" fmla="*/ 2147483647 w 359"/>
              <a:gd name="T63" fmla="*/ 2147483647 h 394"/>
              <a:gd name="T64" fmla="*/ 2147483647 w 359"/>
              <a:gd name="T65" fmla="*/ 2147483647 h 394"/>
              <a:gd name="T66" fmla="*/ 2147483647 w 359"/>
              <a:gd name="T67" fmla="*/ 2147483647 h 394"/>
              <a:gd name="T68" fmla="*/ 2147483647 w 359"/>
              <a:gd name="T69" fmla="*/ 2147483647 h 394"/>
              <a:gd name="T70" fmla="*/ 2147483647 w 359"/>
              <a:gd name="T71" fmla="*/ 2147483647 h 394"/>
              <a:gd name="T72" fmla="*/ 2147483647 w 359"/>
              <a:gd name="T73" fmla="*/ 2147483647 h 394"/>
              <a:gd name="T74" fmla="*/ 2147483647 w 359"/>
              <a:gd name="T75" fmla="*/ 2147483647 h 394"/>
              <a:gd name="T76" fmla="*/ 2147483647 w 359"/>
              <a:gd name="T77" fmla="*/ 2147483647 h 394"/>
              <a:gd name="T78" fmla="*/ 2147483647 w 359"/>
              <a:gd name="T79" fmla="*/ 2147483647 h 394"/>
              <a:gd name="T80" fmla="*/ 2147483647 w 359"/>
              <a:gd name="T81" fmla="*/ 2147483647 h 394"/>
              <a:gd name="T82" fmla="*/ 2147483647 w 359"/>
              <a:gd name="T83" fmla="*/ 2147483647 h 394"/>
              <a:gd name="T84" fmla="*/ 2147483647 w 359"/>
              <a:gd name="T85" fmla="*/ 2147483647 h 394"/>
              <a:gd name="T86" fmla="*/ 2147483647 w 359"/>
              <a:gd name="T87" fmla="*/ 2147483647 h 394"/>
              <a:gd name="T88" fmla="*/ 2147483647 w 359"/>
              <a:gd name="T89" fmla="*/ 2147483647 h 394"/>
              <a:gd name="T90" fmla="*/ 2147483647 w 359"/>
              <a:gd name="T91" fmla="*/ 2147483647 h 394"/>
              <a:gd name="T92" fmla="*/ 2147483647 w 359"/>
              <a:gd name="T93" fmla="*/ 2147483647 h 394"/>
              <a:gd name="T94" fmla="*/ 2147483647 w 359"/>
              <a:gd name="T95" fmla="*/ 2147483647 h 394"/>
              <a:gd name="T96" fmla="*/ 2147483647 w 359"/>
              <a:gd name="T97" fmla="*/ 2147483647 h 394"/>
              <a:gd name="T98" fmla="*/ 2147483647 w 359"/>
              <a:gd name="T99" fmla="*/ 2147483647 h 394"/>
              <a:gd name="T100" fmla="*/ 2147483647 w 359"/>
              <a:gd name="T101" fmla="*/ 2147483647 h 394"/>
              <a:gd name="T102" fmla="*/ 2147483647 w 359"/>
              <a:gd name="T103" fmla="*/ 2147483647 h 394"/>
              <a:gd name="T104" fmla="*/ 2147483647 w 359"/>
              <a:gd name="T105" fmla="*/ 2147483647 h 394"/>
              <a:gd name="T106" fmla="*/ 2147483647 w 359"/>
              <a:gd name="T107" fmla="*/ 2147483647 h 394"/>
              <a:gd name="T108" fmla="*/ 2147483647 w 359"/>
              <a:gd name="T109" fmla="*/ 2147483647 h 394"/>
              <a:gd name="T110" fmla="*/ 2147483647 w 359"/>
              <a:gd name="T111" fmla="*/ 2147483647 h 394"/>
              <a:gd name="T112" fmla="*/ 2147483647 w 359"/>
              <a:gd name="T113" fmla="*/ 2147483647 h 394"/>
              <a:gd name="T114" fmla="*/ 2147483647 w 359"/>
              <a:gd name="T115" fmla="*/ 2147483647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3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5035415" y="4484315"/>
            <a:ext cx="192088" cy="271463"/>
          </a:xfrm>
          <a:custGeom>
            <a:avLst/>
            <a:gdLst>
              <a:gd name="T0" fmla="*/ 2147483647 w 449"/>
              <a:gd name="T1" fmla="*/ 2147483647 h 523"/>
              <a:gd name="T2" fmla="*/ 2147483647 w 449"/>
              <a:gd name="T3" fmla="*/ 2147483647 h 523"/>
              <a:gd name="T4" fmla="*/ 2147483647 w 449"/>
              <a:gd name="T5" fmla="*/ 2147483647 h 523"/>
              <a:gd name="T6" fmla="*/ 2147483647 w 449"/>
              <a:gd name="T7" fmla="*/ 2147483647 h 523"/>
              <a:gd name="T8" fmla="*/ 2147483647 w 449"/>
              <a:gd name="T9" fmla="*/ 2147483647 h 523"/>
              <a:gd name="T10" fmla="*/ 2147483647 w 449"/>
              <a:gd name="T11" fmla="*/ 2147483647 h 523"/>
              <a:gd name="T12" fmla="*/ 2147483647 w 449"/>
              <a:gd name="T13" fmla="*/ 2147483647 h 523"/>
              <a:gd name="T14" fmla="*/ 2147483647 w 449"/>
              <a:gd name="T15" fmla="*/ 2147483647 h 523"/>
              <a:gd name="T16" fmla="*/ 2147483647 w 449"/>
              <a:gd name="T17" fmla="*/ 2147483647 h 523"/>
              <a:gd name="T18" fmla="*/ 2147483647 w 449"/>
              <a:gd name="T19" fmla="*/ 2147483647 h 523"/>
              <a:gd name="T20" fmla="*/ 2147483647 w 449"/>
              <a:gd name="T21" fmla="*/ 2147483647 h 523"/>
              <a:gd name="T22" fmla="*/ 2147483647 w 449"/>
              <a:gd name="T23" fmla="*/ 2147483647 h 523"/>
              <a:gd name="T24" fmla="*/ 2147483647 w 449"/>
              <a:gd name="T25" fmla="*/ 2147483647 h 523"/>
              <a:gd name="T26" fmla="*/ 2147483647 w 449"/>
              <a:gd name="T27" fmla="*/ 2147483647 h 523"/>
              <a:gd name="T28" fmla="*/ 2147483647 w 449"/>
              <a:gd name="T29" fmla="*/ 2147483647 h 523"/>
              <a:gd name="T30" fmla="*/ 2147483647 w 449"/>
              <a:gd name="T31" fmla="*/ 2147483647 h 523"/>
              <a:gd name="T32" fmla="*/ 2147483647 w 449"/>
              <a:gd name="T33" fmla="*/ 2147483647 h 523"/>
              <a:gd name="T34" fmla="*/ 2147483647 w 449"/>
              <a:gd name="T35" fmla="*/ 2147483647 h 523"/>
              <a:gd name="T36" fmla="*/ 2147483647 w 449"/>
              <a:gd name="T37" fmla="*/ 2147483647 h 523"/>
              <a:gd name="T38" fmla="*/ 2147483647 w 449"/>
              <a:gd name="T39" fmla="*/ 2147483647 h 523"/>
              <a:gd name="T40" fmla="*/ 2147483647 w 449"/>
              <a:gd name="T41" fmla="*/ 2147483647 h 523"/>
              <a:gd name="T42" fmla="*/ 2147483647 w 449"/>
              <a:gd name="T43" fmla="*/ 2147483647 h 523"/>
              <a:gd name="T44" fmla="*/ 2147483647 w 449"/>
              <a:gd name="T45" fmla="*/ 2147483647 h 523"/>
              <a:gd name="T46" fmla="*/ 2147483647 w 449"/>
              <a:gd name="T47" fmla="*/ 2147483647 h 523"/>
              <a:gd name="T48" fmla="*/ 2147483647 w 449"/>
              <a:gd name="T49" fmla="*/ 2147483647 h 523"/>
              <a:gd name="T50" fmla="*/ 2147483647 w 449"/>
              <a:gd name="T51" fmla="*/ 0 h 523"/>
              <a:gd name="T52" fmla="*/ 2147483647 w 449"/>
              <a:gd name="T53" fmla="*/ 0 h 523"/>
              <a:gd name="T54" fmla="*/ 2147483647 w 449"/>
              <a:gd name="T55" fmla="*/ 0 h 523"/>
              <a:gd name="T56" fmla="*/ 2147483647 w 449"/>
              <a:gd name="T57" fmla="*/ 2147483647 h 523"/>
              <a:gd name="T58" fmla="*/ 2147483647 w 449"/>
              <a:gd name="T59" fmla="*/ 2147483647 h 523"/>
              <a:gd name="T60" fmla="*/ 2147483647 w 449"/>
              <a:gd name="T61" fmla="*/ 2147483647 h 523"/>
              <a:gd name="T62" fmla="*/ 2147483647 w 449"/>
              <a:gd name="T63" fmla="*/ 2147483647 h 523"/>
              <a:gd name="T64" fmla="*/ 2147483647 w 449"/>
              <a:gd name="T65" fmla="*/ 2147483647 h 523"/>
              <a:gd name="T66" fmla="*/ 2147483647 w 449"/>
              <a:gd name="T67" fmla="*/ 2147483647 h 523"/>
              <a:gd name="T68" fmla="*/ 2147483647 w 449"/>
              <a:gd name="T69" fmla="*/ 2147483647 h 523"/>
              <a:gd name="T70" fmla="*/ 2147483647 w 449"/>
              <a:gd name="T71" fmla="*/ 2147483647 h 523"/>
              <a:gd name="T72" fmla="*/ 2147483647 w 449"/>
              <a:gd name="T73" fmla="*/ 2147483647 h 523"/>
              <a:gd name="T74" fmla="*/ 2147483647 w 449"/>
              <a:gd name="T75" fmla="*/ 2147483647 h 523"/>
              <a:gd name="T76" fmla="*/ 2147483647 w 449"/>
              <a:gd name="T77" fmla="*/ 2147483647 h 523"/>
              <a:gd name="T78" fmla="*/ 2147483647 w 449"/>
              <a:gd name="T79" fmla="*/ 2147483647 h 523"/>
              <a:gd name="T80" fmla="*/ 2147483647 w 449"/>
              <a:gd name="T81" fmla="*/ 2147483647 h 523"/>
              <a:gd name="T82" fmla="*/ 2147483647 w 449"/>
              <a:gd name="T83" fmla="*/ 2147483647 h 523"/>
              <a:gd name="T84" fmla="*/ 2147483647 w 449"/>
              <a:gd name="T85" fmla="*/ 2147483647 h 523"/>
              <a:gd name="T86" fmla="*/ 2147483647 w 449"/>
              <a:gd name="T87" fmla="*/ 2147483647 h 523"/>
              <a:gd name="T88" fmla="*/ 2147483647 w 449"/>
              <a:gd name="T89" fmla="*/ 2147483647 h 523"/>
              <a:gd name="T90" fmla="*/ 2147483647 w 449"/>
              <a:gd name="T91" fmla="*/ 2147483647 h 523"/>
              <a:gd name="T92" fmla="*/ 2147483647 w 449"/>
              <a:gd name="T93" fmla="*/ 2147483647 h 523"/>
              <a:gd name="T94" fmla="*/ 2147483647 w 449"/>
              <a:gd name="T95" fmla="*/ 2147483647 h 523"/>
              <a:gd name="T96" fmla="*/ 2147483647 w 449"/>
              <a:gd name="T97" fmla="*/ 2147483647 h 523"/>
              <a:gd name="T98" fmla="*/ 2147483647 w 449"/>
              <a:gd name="T99" fmla="*/ 2147483647 h 523"/>
              <a:gd name="T100" fmla="*/ 2147483647 w 449"/>
              <a:gd name="T101" fmla="*/ 2147483647 h 523"/>
              <a:gd name="T102" fmla="*/ 2147483647 w 449"/>
              <a:gd name="T103" fmla="*/ 2147483647 h 523"/>
              <a:gd name="T104" fmla="*/ 2147483647 w 449"/>
              <a:gd name="T105" fmla="*/ 2147483647 h 523"/>
              <a:gd name="T106" fmla="*/ 2147483647 w 449"/>
              <a:gd name="T107" fmla="*/ 2147483647 h 523"/>
              <a:gd name="T108" fmla="*/ 2147483647 w 449"/>
              <a:gd name="T109" fmla="*/ 2147483647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4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5017953" y="3569915"/>
            <a:ext cx="101600" cy="130175"/>
          </a:xfrm>
          <a:custGeom>
            <a:avLst/>
            <a:gdLst>
              <a:gd name="T0" fmla="*/ 2147483647 w 226"/>
              <a:gd name="T1" fmla="*/ 2147483647 h 246"/>
              <a:gd name="T2" fmla="*/ 2147483647 w 226"/>
              <a:gd name="T3" fmla="*/ 2147483647 h 246"/>
              <a:gd name="T4" fmla="*/ 2147483647 w 226"/>
              <a:gd name="T5" fmla="*/ 2147483647 h 246"/>
              <a:gd name="T6" fmla="*/ 2147483647 w 226"/>
              <a:gd name="T7" fmla="*/ 2147483647 h 246"/>
              <a:gd name="T8" fmla="*/ 2147483647 w 226"/>
              <a:gd name="T9" fmla="*/ 2147483647 h 246"/>
              <a:gd name="T10" fmla="*/ 2147483647 w 226"/>
              <a:gd name="T11" fmla="*/ 2147483647 h 246"/>
              <a:gd name="T12" fmla="*/ 2147483647 w 226"/>
              <a:gd name="T13" fmla="*/ 2147483647 h 246"/>
              <a:gd name="T14" fmla="*/ 2147483647 w 226"/>
              <a:gd name="T15" fmla="*/ 2147483647 h 246"/>
              <a:gd name="T16" fmla="*/ 2147483647 w 226"/>
              <a:gd name="T17" fmla="*/ 2147483647 h 246"/>
              <a:gd name="T18" fmla="*/ 2147483647 w 226"/>
              <a:gd name="T19" fmla="*/ 2147483647 h 246"/>
              <a:gd name="T20" fmla="*/ 2147483647 w 226"/>
              <a:gd name="T21" fmla="*/ 2147483647 h 246"/>
              <a:gd name="T22" fmla="*/ 2147483647 w 226"/>
              <a:gd name="T23" fmla="*/ 2147483647 h 246"/>
              <a:gd name="T24" fmla="*/ 2147483647 w 226"/>
              <a:gd name="T25" fmla="*/ 2147483647 h 246"/>
              <a:gd name="T26" fmla="*/ 2147483647 w 226"/>
              <a:gd name="T27" fmla="*/ 2147483647 h 246"/>
              <a:gd name="T28" fmla="*/ 2147483647 w 226"/>
              <a:gd name="T29" fmla="*/ 2147483647 h 246"/>
              <a:gd name="T30" fmla="*/ 2147483647 w 226"/>
              <a:gd name="T31" fmla="*/ 2147483647 h 246"/>
              <a:gd name="T32" fmla="*/ 2147483647 w 226"/>
              <a:gd name="T33" fmla="*/ 2147483647 h 246"/>
              <a:gd name="T34" fmla="*/ 2147483647 w 226"/>
              <a:gd name="T35" fmla="*/ 2147483647 h 246"/>
              <a:gd name="T36" fmla="*/ 2147483647 w 226"/>
              <a:gd name="T37" fmla="*/ 2147483647 h 246"/>
              <a:gd name="T38" fmla="*/ 2147483647 w 226"/>
              <a:gd name="T39" fmla="*/ 2147483647 h 246"/>
              <a:gd name="T40" fmla="*/ 2147483647 w 226"/>
              <a:gd name="T41" fmla="*/ 2147483647 h 246"/>
              <a:gd name="T42" fmla="*/ 2147483647 w 226"/>
              <a:gd name="T43" fmla="*/ 2147483647 h 246"/>
              <a:gd name="T44" fmla="*/ 2147483647 w 226"/>
              <a:gd name="T45" fmla="*/ 2147483647 h 246"/>
              <a:gd name="T46" fmla="*/ 2147483647 w 226"/>
              <a:gd name="T47" fmla="*/ 2147483647 h 246"/>
              <a:gd name="T48" fmla="*/ 2147483647 w 226"/>
              <a:gd name="T49" fmla="*/ 2147483647 h 246"/>
              <a:gd name="T50" fmla="*/ 2147483647 w 226"/>
              <a:gd name="T51" fmla="*/ 2147483647 h 246"/>
              <a:gd name="T52" fmla="*/ 2147483647 w 226"/>
              <a:gd name="T53" fmla="*/ 2147483647 h 246"/>
              <a:gd name="T54" fmla="*/ 2147483647 w 226"/>
              <a:gd name="T55" fmla="*/ 2147483647 h 246"/>
              <a:gd name="T56" fmla="*/ 2147483647 w 226"/>
              <a:gd name="T57" fmla="*/ 2147483647 h 246"/>
              <a:gd name="T58" fmla="*/ 2147483647 w 226"/>
              <a:gd name="T59" fmla="*/ 2147483647 h 246"/>
              <a:gd name="T60" fmla="*/ 2147483647 w 226"/>
              <a:gd name="T61" fmla="*/ 2147483647 h 246"/>
              <a:gd name="T62" fmla="*/ 2147483647 w 226"/>
              <a:gd name="T63" fmla="*/ 2147483647 h 246"/>
              <a:gd name="T64" fmla="*/ 2147483647 w 226"/>
              <a:gd name="T65" fmla="*/ 2147483647 h 246"/>
              <a:gd name="T66" fmla="*/ 2147483647 w 226"/>
              <a:gd name="T67" fmla="*/ 2147483647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5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316403" y="3673103"/>
            <a:ext cx="22225" cy="55562"/>
          </a:xfrm>
          <a:custGeom>
            <a:avLst/>
            <a:gdLst>
              <a:gd name="T0" fmla="*/ 2147483647 w 60"/>
              <a:gd name="T1" fmla="*/ 0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0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0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0 h 81"/>
              <a:gd name="T46" fmla="*/ 214748364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6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603615" y="2807915"/>
            <a:ext cx="161925" cy="66675"/>
          </a:xfrm>
          <a:custGeom>
            <a:avLst/>
            <a:gdLst>
              <a:gd name="T0" fmla="*/ 2147483647 w 370"/>
              <a:gd name="T1" fmla="*/ 2147483647 h 129"/>
              <a:gd name="T2" fmla="*/ 2147483647 w 370"/>
              <a:gd name="T3" fmla="*/ 2147483647 h 129"/>
              <a:gd name="T4" fmla="*/ 2147483647 w 370"/>
              <a:gd name="T5" fmla="*/ 2147483647 h 129"/>
              <a:gd name="T6" fmla="*/ 2147483647 w 370"/>
              <a:gd name="T7" fmla="*/ 2147483647 h 129"/>
              <a:gd name="T8" fmla="*/ 2147483647 w 370"/>
              <a:gd name="T9" fmla="*/ 2147483647 h 129"/>
              <a:gd name="T10" fmla="*/ 2147483647 w 370"/>
              <a:gd name="T11" fmla="*/ 2147483647 h 129"/>
              <a:gd name="T12" fmla="*/ 2147483647 w 370"/>
              <a:gd name="T13" fmla="*/ 2147483647 h 129"/>
              <a:gd name="T14" fmla="*/ 2147483647 w 370"/>
              <a:gd name="T15" fmla="*/ 2147483647 h 129"/>
              <a:gd name="T16" fmla="*/ 2147483647 w 370"/>
              <a:gd name="T17" fmla="*/ 2147483647 h 129"/>
              <a:gd name="T18" fmla="*/ 2147483647 w 370"/>
              <a:gd name="T19" fmla="*/ 2147483647 h 129"/>
              <a:gd name="T20" fmla="*/ 2147483647 w 370"/>
              <a:gd name="T21" fmla="*/ 2147483647 h 129"/>
              <a:gd name="T22" fmla="*/ 2147483647 w 370"/>
              <a:gd name="T23" fmla="*/ 2147483647 h 129"/>
              <a:gd name="T24" fmla="*/ 2147483647 w 370"/>
              <a:gd name="T25" fmla="*/ 2147483647 h 129"/>
              <a:gd name="T26" fmla="*/ 2147483647 w 370"/>
              <a:gd name="T27" fmla="*/ 0 h 129"/>
              <a:gd name="T28" fmla="*/ 2147483647 w 370"/>
              <a:gd name="T29" fmla="*/ 0 h 129"/>
              <a:gd name="T30" fmla="*/ 2147483647 w 370"/>
              <a:gd name="T31" fmla="*/ 2147483647 h 129"/>
              <a:gd name="T32" fmla="*/ 2147483647 w 370"/>
              <a:gd name="T33" fmla="*/ 2147483647 h 129"/>
              <a:gd name="T34" fmla="*/ 2147483647 w 370"/>
              <a:gd name="T35" fmla="*/ 2147483647 h 129"/>
              <a:gd name="T36" fmla="*/ 2147483647 w 370"/>
              <a:gd name="T37" fmla="*/ 2147483647 h 129"/>
              <a:gd name="T38" fmla="*/ 2147483647 w 370"/>
              <a:gd name="T39" fmla="*/ 2147483647 h 129"/>
              <a:gd name="T40" fmla="*/ 2147483647 w 370"/>
              <a:gd name="T41" fmla="*/ 2147483647 h 129"/>
              <a:gd name="T42" fmla="*/ 2147483647 w 370"/>
              <a:gd name="T43" fmla="*/ 2147483647 h 129"/>
              <a:gd name="T44" fmla="*/ 2147483647 w 370"/>
              <a:gd name="T45" fmla="*/ 2147483647 h 129"/>
              <a:gd name="T46" fmla="*/ 2147483647 w 370"/>
              <a:gd name="T47" fmla="*/ 2147483647 h 129"/>
              <a:gd name="T48" fmla="*/ 2147483647 w 370"/>
              <a:gd name="T49" fmla="*/ 2147483647 h 129"/>
              <a:gd name="T50" fmla="*/ 2147483647 w 370"/>
              <a:gd name="T51" fmla="*/ 2147483647 h 129"/>
              <a:gd name="T52" fmla="*/ 2147483647 w 370"/>
              <a:gd name="T53" fmla="*/ 2147483647 h 129"/>
              <a:gd name="T54" fmla="*/ 2147483647 w 370"/>
              <a:gd name="T55" fmla="*/ 2147483647 h 129"/>
              <a:gd name="T56" fmla="*/ 2147483647 w 370"/>
              <a:gd name="T57" fmla="*/ 2147483647 h 129"/>
              <a:gd name="T58" fmla="*/ 2147483647 w 370"/>
              <a:gd name="T59" fmla="*/ 2147483647 h 129"/>
              <a:gd name="T60" fmla="*/ 2147483647 w 370"/>
              <a:gd name="T61" fmla="*/ 2147483647 h 129"/>
              <a:gd name="T62" fmla="*/ 2147483647 w 370"/>
              <a:gd name="T63" fmla="*/ 2147483647 h 129"/>
              <a:gd name="T64" fmla="*/ 2147483647 w 370"/>
              <a:gd name="T65" fmla="*/ 2147483647 h 129"/>
              <a:gd name="T66" fmla="*/ 2147483647 w 370"/>
              <a:gd name="T67" fmla="*/ 2147483647 h 129"/>
              <a:gd name="T68" fmla="*/ 2147483647 w 370"/>
              <a:gd name="T69" fmla="*/ 2147483647 h 129"/>
              <a:gd name="T70" fmla="*/ 2147483647 w 370"/>
              <a:gd name="T71" fmla="*/ 2147483647 h 129"/>
              <a:gd name="T72" fmla="*/ 2147483647 w 370"/>
              <a:gd name="T73" fmla="*/ 2147483647 h 129"/>
              <a:gd name="T74" fmla="*/ 2147483647 w 370"/>
              <a:gd name="T75" fmla="*/ 2147483647 h 129"/>
              <a:gd name="T76" fmla="*/ 0 w 370"/>
              <a:gd name="T77" fmla="*/ 2147483647 h 129"/>
              <a:gd name="T78" fmla="*/ 0 w 370"/>
              <a:gd name="T79" fmla="*/ 2147483647 h 129"/>
              <a:gd name="T80" fmla="*/ 2147483647 w 370"/>
              <a:gd name="T81" fmla="*/ 2147483647 h 129"/>
              <a:gd name="T82" fmla="*/ 2147483647 w 370"/>
              <a:gd name="T83" fmla="*/ 2147483647 h 129"/>
              <a:gd name="T84" fmla="*/ 2147483647 w 370"/>
              <a:gd name="T85" fmla="*/ 2147483647 h 129"/>
              <a:gd name="T86" fmla="*/ 2147483647 w 370"/>
              <a:gd name="T87" fmla="*/ 2147483647 h 129"/>
              <a:gd name="T88" fmla="*/ 2147483647 w 370"/>
              <a:gd name="T89" fmla="*/ 2147483647 h 129"/>
              <a:gd name="T90" fmla="*/ 2147483647 w 370"/>
              <a:gd name="T91" fmla="*/ 2147483647 h 129"/>
              <a:gd name="T92" fmla="*/ 2147483647 w 370"/>
              <a:gd name="T93" fmla="*/ 2147483647 h 129"/>
              <a:gd name="T94" fmla="*/ 2147483647 w 370"/>
              <a:gd name="T95" fmla="*/ 2147483647 h 129"/>
              <a:gd name="T96" fmla="*/ 2147483647 w 370"/>
              <a:gd name="T97" fmla="*/ 2147483647 h 129"/>
              <a:gd name="T98" fmla="*/ 2147483647 w 370"/>
              <a:gd name="T99" fmla="*/ 2147483647 h 129"/>
              <a:gd name="T100" fmla="*/ 2147483647 w 370"/>
              <a:gd name="T101" fmla="*/ 2147483647 h 129"/>
              <a:gd name="T102" fmla="*/ 2147483647 w 370"/>
              <a:gd name="T103" fmla="*/ 2147483647 h 129"/>
              <a:gd name="T104" fmla="*/ 2147483647 w 370"/>
              <a:gd name="T105" fmla="*/ 2147483647 h 129"/>
              <a:gd name="T106" fmla="*/ 2147483647 w 370"/>
              <a:gd name="T107" fmla="*/ 2147483647 h 129"/>
              <a:gd name="T108" fmla="*/ 2147483647 w 370"/>
              <a:gd name="T109" fmla="*/ 2147483647 h 129"/>
              <a:gd name="T110" fmla="*/ 2147483647 w 370"/>
              <a:gd name="T111" fmla="*/ 2147483647 h 129"/>
              <a:gd name="T112" fmla="*/ 2147483647 w 370"/>
              <a:gd name="T113" fmla="*/ 2147483647 h 129"/>
              <a:gd name="T114" fmla="*/ 2147483647 w 370"/>
              <a:gd name="T115" fmla="*/ 2147483647 h 129"/>
              <a:gd name="T116" fmla="*/ 2147483647 w 370"/>
              <a:gd name="T117" fmla="*/ 2147483647 h 129"/>
              <a:gd name="T118" fmla="*/ 2147483647 w 370"/>
              <a:gd name="T119" fmla="*/ 2147483647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57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5014778" y="3528640"/>
            <a:ext cx="30162" cy="57150"/>
          </a:xfrm>
          <a:custGeom>
            <a:avLst/>
            <a:gdLst>
              <a:gd name="T0" fmla="*/ 2147483647 w 80"/>
              <a:gd name="T1" fmla="*/ 2147483647 h 94"/>
              <a:gd name="T2" fmla="*/ 2147483647 w 80"/>
              <a:gd name="T3" fmla="*/ 0 h 94"/>
              <a:gd name="T4" fmla="*/ 2147483647 w 80"/>
              <a:gd name="T5" fmla="*/ 0 h 94"/>
              <a:gd name="T6" fmla="*/ 2147483647 w 80"/>
              <a:gd name="T7" fmla="*/ 2147483647 h 94"/>
              <a:gd name="T8" fmla="*/ 2147483647 w 80"/>
              <a:gd name="T9" fmla="*/ 2147483647 h 94"/>
              <a:gd name="T10" fmla="*/ 2147483647 w 80"/>
              <a:gd name="T11" fmla="*/ 2147483647 h 94"/>
              <a:gd name="T12" fmla="*/ 2147483647 w 80"/>
              <a:gd name="T13" fmla="*/ 2147483647 h 94"/>
              <a:gd name="T14" fmla="*/ 2147483647 w 80"/>
              <a:gd name="T15" fmla="*/ 2147483647 h 94"/>
              <a:gd name="T16" fmla="*/ 2147483647 w 80"/>
              <a:gd name="T17" fmla="*/ 2147483647 h 94"/>
              <a:gd name="T18" fmla="*/ 2147483647 w 80"/>
              <a:gd name="T19" fmla="*/ 2147483647 h 94"/>
              <a:gd name="T20" fmla="*/ 2147483647 w 80"/>
              <a:gd name="T21" fmla="*/ 2147483647 h 94"/>
              <a:gd name="T22" fmla="*/ 2147483647 w 80"/>
              <a:gd name="T23" fmla="*/ 2147483647 h 94"/>
              <a:gd name="T24" fmla="*/ 2147483647 w 80"/>
              <a:gd name="T25" fmla="*/ 2147483647 h 94"/>
              <a:gd name="T26" fmla="*/ 2147483647 w 80"/>
              <a:gd name="T27" fmla="*/ 2147483647 h 94"/>
              <a:gd name="T28" fmla="*/ 2147483647 w 80"/>
              <a:gd name="T29" fmla="*/ 2147483647 h 94"/>
              <a:gd name="T30" fmla="*/ 2147483647 w 80"/>
              <a:gd name="T31" fmla="*/ 2147483647 h 94"/>
              <a:gd name="T32" fmla="*/ 2147483647 w 80"/>
              <a:gd name="T33" fmla="*/ 2147483647 h 94"/>
              <a:gd name="T34" fmla="*/ 2147483647 w 80"/>
              <a:gd name="T35" fmla="*/ 2147483647 h 94"/>
              <a:gd name="T36" fmla="*/ 2147483647 w 80"/>
              <a:gd name="T37" fmla="*/ 2147483647 h 94"/>
              <a:gd name="T38" fmla="*/ 2147483647 w 80"/>
              <a:gd name="T39" fmla="*/ 2147483647 h 94"/>
              <a:gd name="T40" fmla="*/ 2147483647 w 80"/>
              <a:gd name="T41" fmla="*/ 2147483647 h 94"/>
              <a:gd name="T42" fmla="*/ 2147483647 w 80"/>
              <a:gd name="T43" fmla="*/ 2147483647 h 94"/>
              <a:gd name="T44" fmla="*/ 2147483647 w 80"/>
              <a:gd name="T45" fmla="*/ 2147483647 h 94"/>
              <a:gd name="T46" fmla="*/ 2147483647 w 80"/>
              <a:gd name="T47" fmla="*/ 2147483647 h 94"/>
              <a:gd name="T48" fmla="*/ 2147483647 w 80"/>
              <a:gd name="T49" fmla="*/ 2147483647 h 94"/>
              <a:gd name="T50" fmla="*/ 0 w 80"/>
              <a:gd name="T51" fmla="*/ 2147483647 h 94"/>
              <a:gd name="T52" fmla="*/ 2147483647 w 80"/>
              <a:gd name="T53" fmla="*/ 2147483647 h 94"/>
              <a:gd name="T54" fmla="*/ 2147483647 w 80"/>
              <a:gd name="T55" fmla="*/ 2147483647 h 94"/>
              <a:gd name="T56" fmla="*/ 2147483647 w 80"/>
              <a:gd name="T57" fmla="*/ 2147483647 h 94"/>
              <a:gd name="T58" fmla="*/ 2147483647 w 80"/>
              <a:gd name="T59" fmla="*/ 2147483647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8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830628" y="5540003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9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602028" y="2855540"/>
            <a:ext cx="131762" cy="84138"/>
          </a:xfrm>
          <a:custGeom>
            <a:avLst/>
            <a:gdLst>
              <a:gd name="T0" fmla="*/ 2147483647 w 312"/>
              <a:gd name="T1" fmla="*/ 2147483647 h 155"/>
              <a:gd name="T2" fmla="*/ 2147483647 w 312"/>
              <a:gd name="T3" fmla="*/ 2147483647 h 155"/>
              <a:gd name="T4" fmla="*/ 2147483647 w 312"/>
              <a:gd name="T5" fmla="*/ 2147483647 h 155"/>
              <a:gd name="T6" fmla="*/ 2147483647 w 312"/>
              <a:gd name="T7" fmla="*/ 2147483647 h 155"/>
              <a:gd name="T8" fmla="*/ 2147483647 w 312"/>
              <a:gd name="T9" fmla="*/ 2147483647 h 155"/>
              <a:gd name="T10" fmla="*/ 2147483647 w 312"/>
              <a:gd name="T11" fmla="*/ 2147483647 h 155"/>
              <a:gd name="T12" fmla="*/ 2147483647 w 312"/>
              <a:gd name="T13" fmla="*/ 2147483647 h 155"/>
              <a:gd name="T14" fmla="*/ 2147483647 w 312"/>
              <a:gd name="T15" fmla="*/ 2147483647 h 155"/>
              <a:gd name="T16" fmla="*/ 2147483647 w 312"/>
              <a:gd name="T17" fmla="*/ 2147483647 h 155"/>
              <a:gd name="T18" fmla="*/ 2147483647 w 312"/>
              <a:gd name="T19" fmla="*/ 2147483647 h 155"/>
              <a:gd name="T20" fmla="*/ 2147483647 w 312"/>
              <a:gd name="T21" fmla="*/ 2147483647 h 155"/>
              <a:gd name="T22" fmla="*/ 2147483647 w 312"/>
              <a:gd name="T23" fmla="*/ 2147483647 h 155"/>
              <a:gd name="T24" fmla="*/ 2147483647 w 312"/>
              <a:gd name="T25" fmla="*/ 2147483647 h 155"/>
              <a:gd name="T26" fmla="*/ 2147483647 w 312"/>
              <a:gd name="T27" fmla="*/ 2147483647 h 155"/>
              <a:gd name="T28" fmla="*/ 2147483647 w 312"/>
              <a:gd name="T29" fmla="*/ 2147483647 h 155"/>
              <a:gd name="T30" fmla="*/ 2147483647 w 312"/>
              <a:gd name="T31" fmla="*/ 2147483647 h 155"/>
              <a:gd name="T32" fmla="*/ 2147483647 w 312"/>
              <a:gd name="T33" fmla="*/ 2147483647 h 155"/>
              <a:gd name="T34" fmla="*/ 2147483647 w 312"/>
              <a:gd name="T35" fmla="*/ 2147483647 h 155"/>
              <a:gd name="T36" fmla="*/ 2147483647 w 312"/>
              <a:gd name="T37" fmla="*/ 2147483647 h 155"/>
              <a:gd name="T38" fmla="*/ 2147483647 w 312"/>
              <a:gd name="T39" fmla="*/ 2147483647 h 155"/>
              <a:gd name="T40" fmla="*/ 2147483647 w 312"/>
              <a:gd name="T41" fmla="*/ 2147483647 h 155"/>
              <a:gd name="T42" fmla="*/ 2147483647 w 312"/>
              <a:gd name="T43" fmla="*/ 2147483647 h 155"/>
              <a:gd name="T44" fmla="*/ 2147483647 w 312"/>
              <a:gd name="T45" fmla="*/ 2147483647 h 155"/>
              <a:gd name="T46" fmla="*/ 2147483647 w 312"/>
              <a:gd name="T47" fmla="*/ 2147483647 h 155"/>
              <a:gd name="T48" fmla="*/ 2147483647 w 312"/>
              <a:gd name="T49" fmla="*/ 2147483647 h 155"/>
              <a:gd name="T50" fmla="*/ 2147483647 w 312"/>
              <a:gd name="T51" fmla="*/ 2147483647 h 155"/>
              <a:gd name="T52" fmla="*/ 2147483647 w 312"/>
              <a:gd name="T53" fmla="*/ 2147483647 h 155"/>
              <a:gd name="T54" fmla="*/ 2147483647 w 312"/>
              <a:gd name="T55" fmla="*/ 2147483647 h 155"/>
              <a:gd name="T56" fmla="*/ 2147483647 w 312"/>
              <a:gd name="T57" fmla="*/ 2147483647 h 155"/>
              <a:gd name="T58" fmla="*/ 2147483647 w 312"/>
              <a:gd name="T59" fmla="*/ 2147483647 h 155"/>
              <a:gd name="T60" fmla="*/ 2147483647 w 312"/>
              <a:gd name="T61" fmla="*/ 2147483647 h 155"/>
              <a:gd name="T62" fmla="*/ 2147483647 w 312"/>
              <a:gd name="T63" fmla="*/ 2147483647 h 155"/>
              <a:gd name="T64" fmla="*/ 2147483647 w 312"/>
              <a:gd name="T65" fmla="*/ 2147483647 h 155"/>
              <a:gd name="T66" fmla="*/ 2147483647 w 312"/>
              <a:gd name="T67" fmla="*/ 2147483647 h 155"/>
              <a:gd name="T68" fmla="*/ 2147483647 w 312"/>
              <a:gd name="T69" fmla="*/ 2147483647 h 155"/>
              <a:gd name="T70" fmla="*/ 2147483647 w 312"/>
              <a:gd name="T71" fmla="*/ 0 h 155"/>
              <a:gd name="T72" fmla="*/ 2147483647 w 312"/>
              <a:gd name="T73" fmla="*/ 2147483647 h 155"/>
              <a:gd name="T74" fmla="*/ 2147483647 w 312"/>
              <a:gd name="T75" fmla="*/ 2147483647 h 155"/>
              <a:gd name="T76" fmla="*/ 2147483647 w 312"/>
              <a:gd name="T77" fmla="*/ 2147483647 h 155"/>
              <a:gd name="T78" fmla="*/ 2147483647 w 312"/>
              <a:gd name="T79" fmla="*/ 2147483647 h 155"/>
              <a:gd name="T80" fmla="*/ 2147483647 w 312"/>
              <a:gd name="T81" fmla="*/ 2147483647 h 155"/>
              <a:gd name="T82" fmla="*/ 2147483647 w 312"/>
              <a:gd name="T83" fmla="*/ 2147483647 h 155"/>
              <a:gd name="T84" fmla="*/ 2147483647 w 312"/>
              <a:gd name="T85" fmla="*/ 2147483647 h 155"/>
              <a:gd name="T86" fmla="*/ 2147483647 w 312"/>
              <a:gd name="T87" fmla="*/ 2147483647 h 155"/>
              <a:gd name="T88" fmla="*/ 2147483647 w 312"/>
              <a:gd name="T89" fmla="*/ 2147483647 h 155"/>
              <a:gd name="T90" fmla="*/ 2147483647 w 312"/>
              <a:gd name="T91" fmla="*/ 2147483647 h 155"/>
              <a:gd name="T92" fmla="*/ 2147483647 w 312"/>
              <a:gd name="T93" fmla="*/ 2147483647 h 155"/>
              <a:gd name="T94" fmla="*/ 2147483647 w 312"/>
              <a:gd name="T95" fmla="*/ 2147483647 h 155"/>
              <a:gd name="T96" fmla="*/ 2147483647 w 312"/>
              <a:gd name="T97" fmla="*/ 2147483647 h 155"/>
              <a:gd name="T98" fmla="*/ 2147483647 w 312"/>
              <a:gd name="T99" fmla="*/ 2147483647 h 155"/>
              <a:gd name="T100" fmla="*/ 2147483647 w 312"/>
              <a:gd name="T101" fmla="*/ 2147483647 h 155"/>
              <a:gd name="T102" fmla="*/ 2147483647 w 312"/>
              <a:gd name="T103" fmla="*/ 2147483647 h 155"/>
              <a:gd name="T104" fmla="*/ 2147483647 w 312"/>
              <a:gd name="T105" fmla="*/ 2147483647 h 155"/>
              <a:gd name="T106" fmla="*/ 2147483647 w 312"/>
              <a:gd name="T107" fmla="*/ 2147483647 h 155"/>
              <a:gd name="T108" fmla="*/ 2147483647 w 312"/>
              <a:gd name="T109" fmla="*/ 2147483647 h 155"/>
              <a:gd name="T110" fmla="*/ 2147483647 w 312"/>
              <a:gd name="T111" fmla="*/ 2147483647 h 155"/>
              <a:gd name="T112" fmla="*/ 2147483647 w 312"/>
              <a:gd name="T113" fmla="*/ 2147483647 h 155"/>
              <a:gd name="T114" fmla="*/ 0 w 312"/>
              <a:gd name="T115" fmla="*/ 2147483647 h 155"/>
              <a:gd name="T116" fmla="*/ 2147483647 w 312"/>
              <a:gd name="T117" fmla="*/ 2147483647 h 155"/>
              <a:gd name="T118" fmla="*/ 2147483647 w 312"/>
              <a:gd name="T119" fmla="*/ 2147483647 h 155"/>
              <a:gd name="T120" fmla="*/ 2147483647 w 312"/>
              <a:gd name="T121" fmla="*/ 2147483647 h 155"/>
              <a:gd name="T122" fmla="*/ 2147483647 w 3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2360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308340" y="3041278"/>
            <a:ext cx="19050" cy="60325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2147483647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0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2147483647 w 46"/>
              <a:gd name="T23" fmla="*/ 2147483647 h 50"/>
              <a:gd name="T24" fmla="*/ 2147483647 w 46"/>
              <a:gd name="T25" fmla="*/ 2147483647 h 50"/>
              <a:gd name="T26" fmla="*/ 2147483647 w 46"/>
              <a:gd name="T27" fmla="*/ 2147483647 h 50"/>
              <a:gd name="T28" fmla="*/ 0 w 46"/>
              <a:gd name="T29" fmla="*/ 2147483647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361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5005253" y="4925640"/>
            <a:ext cx="69850" cy="241300"/>
          </a:xfrm>
          <a:custGeom>
            <a:avLst/>
            <a:gdLst>
              <a:gd name="T0" fmla="*/ 2147483647 w 166"/>
              <a:gd name="T1" fmla="*/ 2147483647 h 456"/>
              <a:gd name="T2" fmla="*/ 2147483647 w 166"/>
              <a:gd name="T3" fmla="*/ 2147483647 h 456"/>
              <a:gd name="T4" fmla="*/ 2147483647 w 166"/>
              <a:gd name="T5" fmla="*/ 2147483647 h 456"/>
              <a:gd name="T6" fmla="*/ 2147483647 w 166"/>
              <a:gd name="T7" fmla="*/ 2147483647 h 456"/>
              <a:gd name="T8" fmla="*/ 2147483647 w 166"/>
              <a:gd name="T9" fmla="*/ 2147483647 h 456"/>
              <a:gd name="T10" fmla="*/ 2147483647 w 166"/>
              <a:gd name="T11" fmla="*/ 2147483647 h 456"/>
              <a:gd name="T12" fmla="*/ 2147483647 w 166"/>
              <a:gd name="T13" fmla="*/ 2147483647 h 456"/>
              <a:gd name="T14" fmla="*/ 2147483647 w 166"/>
              <a:gd name="T15" fmla="*/ 2147483647 h 456"/>
              <a:gd name="T16" fmla="*/ 2147483647 w 166"/>
              <a:gd name="T17" fmla="*/ 2147483647 h 456"/>
              <a:gd name="T18" fmla="*/ 2147483647 w 166"/>
              <a:gd name="T19" fmla="*/ 2147483647 h 456"/>
              <a:gd name="T20" fmla="*/ 2147483647 w 166"/>
              <a:gd name="T21" fmla="*/ 2147483647 h 456"/>
              <a:gd name="T22" fmla="*/ 2147483647 w 166"/>
              <a:gd name="T23" fmla="*/ 2147483647 h 456"/>
              <a:gd name="T24" fmla="*/ 2147483647 w 166"/>
              <a:gd name="T25" fmla="*/ 2147483647 h 456"/>
              <a:gd name="T26" fmla="*/ 2147483647 w 166"/>
              <a:gd name="T27" fmla="*/ 2147483647 h 456"/>
              <a:gd name="T28" fmla="*/ 2147483647 w 166"/>
              <a:gd name="T29" fmla="*/ 2147483647 h 456"/>
              <a:gd name="T30" fmla="*/ 2147483647 w 166"/>
              <a:gd name="T31" fmla="*/ 2147483647 h 456"/>
              <a:gd name="T32" fmla="*/ 2147483647 w 166"/>
              <a:gd name="T33" fmla="*/ 2147483647 h 456"/>
              <a:gd name="T34" fmla="*/ 2147483647 w 166"/>
              <a:gd name="T35" fmla="*/ 2147483647 h 456"/>
              <a:gd name="T36" fmla="*/ 2147483647 w 166"/>
              <a:gd name="T37" fmla="*/ 2147483647 h 456"/>
              <a:gd name="T38" fmla="*/ 2147483647 w 166"/>
              <a:gd name="T39" fmla="*/ 2147483647 h 456"/>
              <a:gd name="T40" fmla="*/ 2147483647 w 166"/>
              <a:gd name="T41" fmla="*/ 2147483647 h 456"/>
              <a:gd name="T42" fmla="*/ 2147483647 w 166"/>
              <a:gd name="T43" fmla="*/ 2147483647 h 456"/>
              <a:gd name="T44" fmla="*/ 2147483647 w 166"/>
              <a:gd name="T45" fmla="*/ 2147483647 h 456"/>
              <a:gd name="T46" fmla="*/ 2147483647 w 166"/>
              <a:gd name="T47" fmla="*/ 2147483647 h 456"/>
              <a:gd name="T48" fmla="*/ 2147483647 w 166"/>
              <a:gd name="T49" fmla="*/ 2147483647 h 456"/>
              <a:gd name="T50" fmla="*/ 2147483647 w 166"/>
              <a:gd name="T51" fmla="*/ 2147483647 h 456"/>
              <a:gd name="T52" fmla="*/ 2147483647 w 166"/>
              <a:gd name="T53" fmla="*/ 2147483647 h 456"/>
              <a:gd name="T54" fmla="*/ 2147483647 w 166"/>
              <a:gd name="T55" fmla="*/ 2147483647 h 456"/>
              <a:gd name="T56" fmla="*/ 2147483647 w 166"/>
              <a:gd name="T57" fmla="*/ 2147483647 h 456"/>
              <a:gd name="T58" fmla="*/ 2147483647 w 166"/>
              <a:gd name="T59" fmla="*/ 2147483647 h 456"/>
              <a:gd name="T60" fmla="*/ 2147483647 w 166"/>
              <a:gd name="T61" fmla="*/ 2147483647 h 456"/>
              <a:gd name="T62" fmla="*/ 2147483647 w 166"/>
              <a:gd name="T63" fmla="*/ 2147483647 h 456"/>
              <a:gd name="T64" fmla="*/ 2147483647 w 166"/>
              <a:gd name="T65" fmla="*/ 2147483647 h 456"/>
              <a:gd name="T66" fmla="*/ 2147483647 w 166"/>
              <a:gd name="T67" fmla="*/ 2147483647 h 456"/>
              <a:gd name="T68" fmla="*/ 2147483647 w 166"/>
              <a:gd name="T69" fmla="*/ 2147483647 h 456"/>
              <a:gd name="T70" fmla="*/ 2147483647 w 166"/>
              <a:gd name="T71" fmla="*/ 2147483647 h 456"/>
              <a:gd name="T72" fmla="*/ 2147483647 w 166"/>
              <a:gd name="T73" fmla="*/ 2147483647 h 456"/>
              <a:gd name="T74" fmla="*/ 2147483647 w 166"/>
              <a:gd name="T75" fmla="*/ 2147483647 h 456"/>
              <a:gd name="T76" fmla="*/ 2147483647 w 166"/>
              <a:gd name="T77" fmla="*/ 2147483647 h 456"/>
              <a:gd name="T78" fmla="*/ 2147483647 w 166"/>
              <a:gd name="T79" fmla="*/ 2147483647 h 456"/>
              <a:gd name="T80" fmla="*/ 2147483647 w 166"/>
              <a:gd name="T81" fmla="*/ 2147483647 h 456"/>
              <a:gd name="T82" fmla="*/ 2147483647 w 166"/>
              <a:gd name="T83" fmla="*/ 2147483647 h 456"/>
              <a:gd name="T84" fmla="*/ 2147483647 w 166"/>
              <a:gd name="T85" fmla="*/ 2147483647 h 456"/>
              <a:gd name="T86" fmla="*/ 2147483647 w 166"/>
              <a:gd name="T87" fmla="*/ 2147483647 h 456"/>
              <a:gd name="T88" fmla="*/ 2147483647 w 166"/>
              <a:gd name="T89" fmla="*/ 2147483647 h 456"/>
              <a:gd name="T90" fmla="*/ 2147483647 w 166"/>
              <a:gd name="T91" fmla="*/ 2147483647 h 456"/>
              <a:gd name="T92" fmla="*/ 2147483647 w 166"/>
              <a:gd name="T93" fmla="*/ 2147483647 h 456"/>
              <a:gd name="T94" fmla="*/ 2147483647 w 166"/>
              <a:gd name="T95" fmla="*/ 2147483647 h 456"/>
              <a:gd name="T96" fmla="*/ 2147483647 w 166"/>
              <a:gd name="T97" fmla="*/ 2147483647 h 456"/>
              <a:gd name="T98" fmla="*/ 2147483647 w 166"/>
              <a:gd name="T99" fmla="*/ 2147483647 h 456"/>
              <a:gd name="T100" fmla="*/ 2147483647 w 166"/>
              <a:gd name="T101" fmla="*/ 2147483647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2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497253" y="3496890"/>
            <a:ext cx="14287" cy="57150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3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816340" y="5117728"/>
            <a:ext cx="188913" cy="217487"/>
          </a:xfrm>
          <a:custGeom>
            <a:avLst/>
            <a:gdLst>
              <a:gd name="T0" fmla="*/ 2147483647 w 438"/>
              <a:gd name="T1" fmla="*/ 2147483647 h 406"/>
              <a:gd name="T2" fmla="*/ 2147483647 w 438"/>
              <a:gd name="T3" fmla="*/ 2147483647 h 406"/>
              <a:gd name="T4" fmla="*/ 2147483647 w 438"/>
              <a:gd name="T5" fmla="*/ 2147483647 h 406"/>
              <a:gd name="T6" fmla="*/ 2147483647 w 438"/>
              <a:gd name="T7" fmla="*/ 2147483647 h 406"/>
              <a:gd name="T8" fmla="*/ 2147483647 w 438"/>
              <a:gd name="T9" fmla="*/ 2147483647 h 406"/>
              <a:gd name="T10" fmla="*/ 2147483647 w 438"/>
              <a:gd name="T11" fmla="*/ 2147483647 h 406"/>
              <a:gd name="T12" fmla="*/ 2147483647 w 438"/>
              <a:gd name="T13" fmla="*/ 2147483647 h 406"/>
              <a:gd name="T14" fmla="*/ 2147483647 w 438"/>
              <a:gd name="T15" fmla="*/ 2147483647 h 406"/>
              <a:gd name="T16" fmla="*/ 2147483647 w 438"/>
              <a:gd name="T17" fmla="*/ 2147483647 h 406"/>
              <a:gd name="T18" fmla="*/ 2147483647 w 438"/>
              <a:gd name="T19" fmla="*/ 2147483647 h 406"/>
              <a:gd name="T20" fmla="*/ 2147483647 w 438"/>
              <a:gd name="T21" fmla="*/ 2147483647 h 406"/>
              <a:gd name="T22" fmla="*/ 2147483647 w 438"/>
              <a:gd name="T23" fmla="*/ 2147483647 h 406"/>
              <a:gd name="T24" fmla="*/ 2147483647 w 438"/>
              <a:gd name="T25" fmla="*/ 2147483647 h 406"/>
              <a:gd name="T26" fmla="*/ 2147483647 w 438"/>
              <a:gd name="T27" fmla="*/ 2147483647 h 406"/>
              <a:gd name="T28" fmla="*/ 2147483647 w 438"/>
              <a:gd name="T29" fmla="*/ 2147483647 h 406"/>
              <a:gd name="T30" fmla="*/ 2147483647 w 438"/>
              <a:gd name="T31" fmla="*/ 2147483647 h 406"/>
              <a:gd name="T32" fmla="*/ 2147483647 w 438"/>
              <a:gd name="T33" fmla="*/ 2147483647 h 406"/>
              <a:gd name="T34" fmla="*/ 2147483647 w 438"/>
              <a:gd name="T35" fmla="*/ 2147483647 h 406"/>
              <a:gd name="T36" fmla="*/ 2147483647 w 438"/>
              <a:gd name="T37" fmla="*/ 2147483647 h 406"/>
              <a:gd name="T38" fmla="*/ 2147483647 w 438"/>
              <a:gd name="T39" fmla="*/ 2147483647 h 406"/>
              <a:gd name="T40" fmla="*/ 2147483647 w 438"/>
              <a:gd name="T41" fmla="*/ 2147483647 h 406"/>
              <a:gd name="T42" fmla="*/ 2147483647 w 438"/>
              <a:gd name="T43" fmla="*/ 2147483647 h 406"/>
              <a:gd name="T44" fmla="*/ 2147483647 w 438"/>
              <a:gd name="T45" fmla="*/ 2147483647 h 406"/>
              <a:gd name="T46" fmla="*/ 2147483647 w 438"/>
              <a:gd name="T47" fmla="*/ 2147483647 h 406"/>
              <a:gd name="T48" fmla="*/ 2147483647 w 438"/>
              <a:gd name="T49" fmla="*/ 2147483647 h 406"/>
              <a:gd name="T50" fmla="*/ 2147483647 w 438"/>
              <a:gd name="T51" fmla="*/ 2147483647 h 406"/>
              <a:gd name="T52" fmla="*/ 2147483647 w 438"/>
              <a:gd name="T53" fmla="*/ 2147483647 h 406"/>
              <a:gd name="T54" fmla="*/ 2147483647 w 438"/>
              <a:gd name="T55" fmla="*/ 2147483647 h 406"/>
              <a:gd name="T56" fmla="*/ 2147483647 w 438"/>
              <a:gd name="T57" fmla="*/ 2147483647 h 406"/>
              <a:gd name="T58" fmla="*/ 2147483647 w 438"/>
              <a:gd name="T59" fmla="*/ 2147483647 h 406"/>
              <a:gd name="T60" fmla="*/ 2147483647 w 438"/>
              <a:gd name="T61" fmla="*/ 2147483647 h 406"/>
              <a:gd name="T62" fmla="*/ 2147483647 w 438"/>
              <a:gd name="T63" fmla="*/ 2147483647 h 406"/>
              <a:gd name="T64" fmla="*/ 0 w 438"/>
              <a:gd name="T65" fmla="*/ 2147483647 h 406"/>
              <a:gd name="T66" fmla="*/ 2147483647 w 438"/>
              <a:gd name="T67" fmla="*/ 2147483647 h 406"/>
              <a:gd name="T68" fmla="*/ 2147483647 w 438"/>
              <a:gd name="T69" fmla="*/ 2147483647 h 406"/>
              <a:gd name="T70" fmla="*/ 2147483647 w 438"/>
              <a:gd name="T71" fmla="*/ 2147483647 h 406"/>
              <a:gd name="T72" fmla="*/ 2147483647 w 438"/>
              <a:gd name="T73" fmla="*/ 2147483647 h 406"/>
              <a:gd name="T74" fmla="*/ 2147483647 w 438"/>
              <a:gd name="T75" fmla="*/ 2147483647 h 406"/>
              <a:gd name="T76" fmla="*/ 2147483647 w 438"/>
              <a:gd name="T77" fmla="*/ 2147483647 h 406"/>
              <a:gd name="T78" fmla="*/ 2147483647 w 438"/>
              <a:gd name="T79" fmla="*/ 2147483647 h 406"/>
              <a:gd name="T80" fmla="*/ 2147483647 w 438"/>
              <a:gd name="T81" fmla="*/ 2147483647 h 406"/>
              <a:gd name="T82" fmla="*/ 2147483647 w 438"/>
              <a:gd name="T83" fmla="*/ 2147483647 h 406"/>
              <a:gd name="T84" fmla="*/ 2147483647 w 438"/>
              <a:gd name="T85" fmla="*/ 2147483647 h 406"/>
              <a:gd name="T86" fmla="*/ 2147483647 w 438"/>
              <a:gd name="T87" fmla="*/ 2147483647 h 406"/>
              <a:gd name="T88" fmla="*/ 2147483647 w 438"/>
              <a:gd name="T89" fmla="*/ 2147483647 h 406"/>
              <a:gd name="T90" fmla="*/ 2147483647 w 438"/>
              <a:gd name="T91" fmla="*/ 2147483647 h 406"/>
              <a:gd name="T92" fmla="*/ 2147483647 w 438"/>
              <a:gd name="T93" fmla="*/ 2147483647 h 406"/>
              <a:gd name="T94" fmla="*/ 2147483647 w 438"/>
              <a:gd name="T95" fmla="*/ 2147483647 h 406"/>
              <a:gd name="T96" fmla="*/ 2147483647 w 438"/>
              <a:gd name="T97" fmla="*/ 2147483647 h 406"/>
              <a:gd name="T98" fmla="*/ 2147483647 w 438"/>
              <a:gd name="T99" fmla="*/ 2147483647 h 406"/>
              <a:gd name="T100" fmla="*/ 2147483647 w 438"/>
              <a:gd name="T101" fmla="*/ 2147483647 h 406"/>
              <a:gd name="T102" fmla="*/ 2147483647 w 438"/>
              <a:gd name="T103" fmla="*/ 2147483647 h 406"/>
              <a:gd name="T104" fmla="*/ 2147483647 w 438"/>
              <a:gd name="T105" fmla="*/ 2147483647 h 406"/>
              <a:gd name="T106" fmla="*/ 2147483647 w 438"/>
              <a:gd name="T107" fmla="*/ 2147483647 h 406"/>
              <a:gd name="T108" fmla="*/ 2147483647 w 438"/>
              <a:gd name="T109" fmla="*/ 2147483647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4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729028" y="4893890"/>
            <a:ext cx="293687" cy="300038"/>
          </a:xfrm>
          <a:custGeom>
            <a:avLst/>
            <a:gdLst>
              <a:gd name="T0" fmla="*/ 2147483647 w 678"/>
              <a:gd name="T1" fmla="*/ 2147483647 h 574"/>
              <a:gd name="T2" fmla="*/ 2147483647 w 678"/>
              <a:gd name="T3" fmla="*/ 2147483647 h 574"/>
              <a:gd name="T4" fmla="*/ 2147483647 w 678"/>
              <a:gd name="T5" fmla="*/ 2147483647 h 574"/>
              <a:gd name="T6" fmla="*/ 2147483647 w 678"/>
              <a:gd name="T7" fmla="*/ 2147483647 h 574"/>
              <a:gd name="T8" fmla="*/ 2147483647 w 678"/>
              <a:gd name="T9" fmla="*/ 2147483647 h 574"/>
              <a:gd name="T10" fmla="*/ 2147483647 w 678"/>
              <a:gd name="T11" fmla="*/ 2147483647 h 574"/>
              <a:gd name="T12" fmla="*/ 2147483647 w 678"/>
              <a:gd name="T13" fmla="*/ 2147483647 h 574"/>
              <a:gd name="T14" fmla="*/ 2147483647 w 678"/>
              <a:gd name="T15" fmla="*/ 2147483647 h 574"/>
              <a:gd name="T16" fmla="*/ 2147483647 w 678"/>
              <a:gd name="T17" fmla="*/ 2147483647 h 574"/>
              <a:gd name="T18" fmla="*/ 2147483647 w 678"/>
              <a:gd name="T19" fmla="*/ 2147483647 h 574"/>
              <a:gd name="T20" fmla="*/ 2147483647 w 678"/>
              <a:gd name="T21" fmla="*/ 2147483647 h 574"/>
              <a:gd name="T22" fmla="*/ 2147483647 w 678"/>
              <a:gd name="T23" fmla="*/ 2147483647 h 574"/>
              <a:gd name="T24" fmla="*/ 2147483647 w 678"/>
              <a:gd name="T25" fmla="*/ 2147483647 h 574"/>
              <a:gd name="T26" fmla="*/ 2147483647 w 678"/>
              <a:gd name="T27" fmla="*/ 2147483647 h 574"/>
              <a:gd name="T28" fmla="*/ 2147483647 w 678"/>
              <a:gd name="T29" fmla="*/ 2147483647 h 574"/>
              <a:gd name="T30" fmla="*/ 2147483647 w 678"/>
              <a:gd name="T31" fmla="*/ 2147483647 h 574"/>
              <a:gd name="T32" fmla="*/ 2147483647 w 678"/>
              <a:gd name="T33" fmla="*/ 2147483647 h 574"/>
              <a:gd name="T34" fmla="*/ 2147483647 w 678"/>
              <a:gd name="T35" fmla="*/ 2147483647 h 574"/>
              <a:gd name="T36" fmla="*/ 2147483647 w 678"/>
              <a:gd name="T37" fmla="*/ 2147483647 h 574"/>
              <a:gd name="T38" fmla="*/ 2147483647 w 678"/>
              <a:gd name="T39" fmla="*/ 2147483647 h 574"/>
              <a:gd name="T40" fmla="*/ 2147483647 w 678"/>
              <a:gd name="T41" fmla="*/ 2147483647 h 574"/>
              <a:gd name="T42" fmla="*/ 2147483647 w 678"/>
              <a:gd name="T43" fmla="*/ 2147483647 h 574"/>
              <a:gd name="T44" fmla="*/ 2147483647 w 678"/>
              <a:gd name="T45" fmla="*/ 2147483647 h 574"/>
              <a:gd name="T46" fmla="*/ 2147483647 w 678"/>
              <a:gd name="T47" fmla="*/ 2147483647 h 574"/>
              <a:gd name="T48" fmla="*/ 2147483647 w 678"/>
              <a:gd name="T49" fmla="*/ 2147483647 h 574"/>
              <a:gd name="T50" fmla="*/ 2147483647 w 678"/>
              <a:gd name="T51" fmla="*/ 2147483647 h 574"/>
              <a:gd name="T52" fmla="*/ 2147483647 w 678"/>
              <a:gd name="T53" fmla="*/ 2147483647 h 574"/>
              <a:gd name="T54" fmla="*/ 2147483647 w 678"/>
              <a:gd name="T55" fmla="*/ 2147483647 h 574"/>
              <a:gd name="T56" fmla="*/ 2147483647 w 678"/>
              <a:gd name="T57" fmla="*/ 2147483647 h 574"/>
              <a:gd name="T58" fmla="*/ 2147483647 w 678"/>
              <a:gd name="T59" fmla="*/ 2147483647 h 574"/>
              <a:gd name="T60" fmla="*/ 2147483647 w 678"/>
              <a:gd name="T61" fmla="*/ 2147483647 h 574"/>
              <a:gd name="T62" fmla="*/ 2147483647 w 678"/>
              <a:gd name="T63" fmla="*/ 2147483647 h 574"/>
              <a:gd name="T64" fmla="*/ 0 w 678"/>
              <a:gd name="T65" fmla="*/ 2147483647 h 574"/>
              <a:gd name="T66" fmla="*/ 2147483647 w 678"/>
              <a:gd name="T67" fmla="*/ 2147483647 h 574"/>
              <a:gd name="T68" fmla="*/ 2147483647 w 678"/>
              <a:gd name="T69" fmla="*/ 2147483647 h 574"/>
              <a:gd name="T70" fmla="*/ 2147483647 w 678"/>
              <a:gd name="T71" fmla="*/ 2147483647 h 574"/>
              <a:gd name="T72" fmla="*/ 2147483647 w 678"/>
              <a:gd name="T73" fmla="*/ 2147483647 h 574"/>
              <a:gd name="T74" fmla="*/ 2147483647 w 678"/>
              <a:gd name="T75" fmla="*/ 2147483647 h 574"/>
              <a:gd name="T76" fmla="*/ 2147483647 w 678"/>
              <a:gd name="T77" fmla="*/ 2147483647 h 574"/>
              <a:gd name="T78" fmla="*/ 2147483647 w 678"/>
              <a:gd name="T79" fmla="*/ 2147483647 h 574"/>
              <a:gd name="T80" fmla="*/ 2147483647 w 678"/>
              <a:gd name="T81" fmla="*/ 2147483647 h 574"/>
              <a:gd name="T82" fmla="*/ 2147483647 w 678"/>
              <a:gd name="T83" fmla="*/ 2147483647 h 574"/>
              <a:gd name="T84" fmla="*/ 2147483647 w 678"/>
              <a:gd name="T85" fmla="*/ 2147483647 h 574"/>
              <a:gd name="T86" fmla="*/ 2147483647 w 678"/>
              <a:gd name="T87" fmla="*/ 2147483647 h 574"/>
              <a:gd name="T88" fmla="*/ 2147483647 w 678"/>
              <a:gd name="T89" fmla="*/ 2147483647 h 574"/>
              <a:gd name="T90" fmla="*/ 2147483647 w 678"/>
              <a:gd name="T91" fmla="*/ 2147483647 h 574"/>
              <a:gd name="T92" fmla="*/ 2147483647 w 678"/>
              <a:gd name="T93" fmla="*/ 2147483647 h 574"/>
              <a:gd name="T94" fmla="*/ 2147483647 w 678"/>
              <a:gd name="T95" fmla="*/ 2147483647 h 574"/>
              <a:gd name="T96" fmla="*/ 2147483647 w 678"/>
              <a:gd name="T97" fmla="*/ 2147483647 h 574"/>
              <a:gd name="T98" fmla="*/ 2147483647 w 678"/>
              <a:gd name="T99" fmla="*/ 2147483647 h 574"/>
              <a:gd name="T100" fmla="*/ 2147483647 w 678"/>
              <a:gd name="T101" fmla="*/ 2147483647 h 574"/>
              <a:gd name="T102" fmla="*/ 2147483647 w 678"/>
              <a:gd name="T103" fmla="*/ 2147483647 h 574"/>
              <a:gd name="T104" fmla="*/ 2147483647 w 678"/>
              <a:gd name="T105" fmla="*/ 2147483647 h 574"/>
              <a:gd name="T106" fmla="*/ 2147483647 w 678"/>
              <a:gd name="T107" fmla="*/ 2147483647 h 574"/>
              <a:gd name="T108" fmla="*/ 2147483647 w 678"/>
              <a:gd name="T109" fmla="*/ 2147483647 h 574"/>
              <a:gd name="T110" fmla="*/ 2147483647 w 678"/>
              <a:gd name="T111" fmla="*/ 2147483647 h 574"/>
              <a:gd name="T112" fmla="*/ 2147483647 w 678"/>
              <a:gd name="T113" fmla="*/ 2147483647 h 574"/>
              <a:gd name="T114" fmla="*/ 2147483647 w 678"/>
              <a:gd name="T115" fmla="*/ 2147483647 h 574"/>
              <a:gd name="T116" fmla="*/ 2147483647 w 678"/>
              <a:gd name="T117" fmla="*/ 2147483647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5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465503" y="5166940"/>
            <a:ext cx="350837" cy="381000"/>
          </a:xfrm>
          <a:custGeom>
            <a:avLst/>
            <a:gdLst>
              <a:gd name="T0" fmla="*/ 2147483647 w 810"/>
              <a:gd name="T1" fmla="*/ 2147483647 h 727"/>
              <a:gd name="T2" fmla="*/ 2147483647 w 810"/>
              <a:gd name="T3" fmla="*/ 2147483647 h 727"/>
              <a:gd name="T4" fmla="*/ 2147483647 w 810"/>
              <a:gd name="T5" fmla="*/ 2147483647 h 727"/>
              <a:gd name="T6" fmla="*/ 2147483647 w 810"/>
              <a:gd name="T7" fmla="*/ 2147483647 h 727"/>
              <a:gd name="T8" fmla="*/ 2147483647 w 810"/>
              <a:gd name="T9" fmla="*/ 2147483647 h 727"/>
              <a:gd name="T10" fmla="*/ 2147483647 w 810"/>
              <a:gd name="T11" fmla="*/ 2147483647 h 727"/>
              <a:gd name="T12" fmla="*/ 2147483647 w 810"/>
              <a:gd name="T13" fmla="*/ 2147483647 h 727"/>
              <a:gd name="T14" fmla="*/ 2147483647 w 810"/>
              <a:gd name="T15" fmla="*/ 2147483647 h 727"/>
              <a:gd name="T16" fmla="*/ 2147483647 w 810"/>
              <a:gd name="T17" fmla="*/ 0 h 727"/>
              <a:gd name="T18" fmla="*/ 2147483647 w 810"/>
              <a:gd name="T19" fmla="*/ 2147483647 h 727"/>
              <a:gd name="T20" fmla="*/ 2147483647 w 810"/>
              <a:gd name="T21" fmla="*/ 2147483647 h 727"/>
              <a:gd name="T22" fmla="*/ 0 w 810"/>
              <a:gd name="T23" fmla="*/ 2147483647 h 727"/>
              <a:gd name="T24" fmla="*/ 2147483647 w 810"/>
              <a:gd name="T25" fmla="*/ 2147483647 h 727"/>
              <a:gd name="T26" fmla="*/ 2147483647 w 810"/>
              <a:gd name="T27" fmla="*/ 2147483647 h 727"/>
              <a:gd name="T28" fmla="*/ 2147483647 w 810"/>
              <a:gd name="T29" fmla="*/ 2147483647 h 727"/>
              <a:gd name="T30" fmla="*/ 2147483647 w 810"/>
              <a:gd name="T31" fmla="*/ 2147483647 h 727"/>
              <a:gd name="T32" fmla="*/ 2147483647 w 810"/>
              <a:gd name="T33" fmla="*/ 2147483647 h 727"/>
              <a:gd name="T34" fmla="*/ 2147483647 w 810"/>
              <a:gd name="T35" fmla="*/ 2147483647 h 727"/>
              <a:gd name="T36" fmla="*/ 2147483647 w 810"/>
              <a:gd name="T37" fmla="*/ 2147483647 h 727"/>
              <a:gd name="T38" fmla="*/ 2147483647 w 810"/>
              <a:gd name="T39" fmla="*/ 2147483647 h 727"/>
              <a:gd name="T40" fmla="*/ 2147483647 w 810"/>
              <a:gd name="T41" fmla="*/ 2147483647 h 727"/>
              <a:gd name="T42" fmla="*/ 2147483647 w 810"/>
              <a:gd name="T43" fmla="*/ 2147483647 h 727"/>
              <a:gd name="T44" fmla="*/ 2147483647 w 810"/>
              <a:gd name="T45" fmla="*/ 2147483647 h 727"/>
              <a:gd name="T46" fmla="*/ 2147483647 w 810"/>
              <a:gd name="T47" fmla="*/ 2147483647 h 727"/>
              <a:gd name="T48" fmla="*/ 2147483647 w 810"/>
              <a:gd name="T49" fmla="*/ 2147483647 h 727"/>
              <a:gd name="T50" fmla="*/ 2147483647 w 810"/>
              <a:gd name="T51" fmla="*/ 2147483647 h 727"/>
              <a:gd name="T52" fmla="*/ 2147483647 w 810"/>
              <a:gd name="T53" fmla="*/ 2147483647 h 727"/>
              <a:gd name="T54" fmla="*/ 2147483647 w 810"/>
              <a:gd name="T55" fmla="*/ 2147483647 h 727"/>
              <a:gd name="T56" fmla="*/ 2147483647 w 810"/>
              <a:gd name="T57" fmla="*/ 2147483647 h 727"/>
              <a:gd name="T58" fmla="*/ 2147483647 w 810"/>
              <a:gd name="T59" fmla="*/ 2147483647 h 727"/>
              <a:gd name="T60" fmla="*/ 2147483647 w 810"/>
              <a:gd name="T61" fmla="*/ 2147483647 h 727"/>
              <a:gd name="T62" fmla="*/ 2147483647 w 810"/>
              <a:gd name="T63" fmla="*/ 2147483647 h 727"/>
              <a:gd name="T64" fmla="*/ 2147483647 w 810"/>
              <a:gd name="T65" fmla="*/ 2147483647 h 727"/>
              <a:gd name="T66" fmla="*/ 2147483647 w 810"/>
              <a:gd name="T67" fmla="*/ 2147483647 h 727"/>
              <a:gd name="T68" fmla="*/ 2147483647 w 810"/>
              <a:gd name="T69" fmla="*/ 2147483647 h 727"/>
              <a:gd name="T70" fmla="*/ 2147483647 w 810"/>
              <a:gd name="T71" fmla="*/ 2147483647 h 727"/>
              <a:gd name="T72" fmla="*/ 2147483647 w 810"/>
              <a:gd name="T73" fmla="*/ 2147483647 h 727"/>
              <a:gd name="T74" fmla="*/ 2147483647 w 810"/>
              <a:gd name="T75" fmla="*/ 2147483647 h 727"/>
              <a:gd name="T76" fmla="*/ 2147483647 w 810"/>
              <a:gd name="T77" fmla="*/ 2147483647 h 727"/>
              <a:gd name="T78" fmla="*/ 2147483647 w 810"/>
              <a:gd name="T79" fmla="*/ 2147483647 h 727"/>
              <a:gd name="T80" fmla="*/ 2147483647 w 810"/>
              <a:gd name="T81" fmla="*/ 2147483647 h 727"/>
              <a:gd name="T82" fmla="*/ 2147483647 w 810"/>
              <a:gd name="T83" fmla="*/ 2147483647 h 727"/>
              <a:gd name="T84" fmla="*/ 2147483647 w 810"/>
              <a:gd name="T85" fmla="*/ 2147483647 h 727"/>
              <a:gd name="T86" fmla="*/ 2147483647 w 810"/>
              <a:gd name="T87" fmla="*/ 2147483647 h 727"/>
              <a:gd name="T88" fmla="*/ 2147483647 w 810"/>
              <a:gd name="T89" fmla="*/ 2147483647 h 727"/>
              <a:gd name="T90" fmla="*/ 2147483647 w 810"/>
              <a:gd name="T91" fmla="*/ 2147483647 h 727"/>
              <a:gd name="T92" fmla="*/ 2147483647 w 810"/>
              <a:gd name="T93" fmla="*/ 2147483647 h 727"/>
              <a:gd name="T94" fmla="*/ 2147483647 w 810"/>
              <a:gd name="T95" fmla="*/ 2147483647 h 727"/>
              <a:gd name="T96" fmla="*/ 2147483647 w 810"/>
              <a:gd name="T97" fmla="*/ 2147483647 h 727"/>
              <a:gd name="T98" fmla="*/ 2147483647 w 810"/>
              <a:gd name="T99" fmla="*/ 2147483647 h 727"/>
              <a:gd name="T100" fmla="*/ 2147483647 w 810"/>
              <a:gd name="T101" fmla="*/ 2147483647 h 727"/>
              <a:gd name="T102" fmla="*/ 2147483647 w 810"/>
              <a:gd name="T103" fmla="*/ 2147483647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6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744778" y="4096965"/>
            <a:ext cx="161925" cy="141288"/>
          </a:xfrm>
          <a:custGeom>
            <a:avLst/>
            <a:gdLst>
              <a:gd name="T0" fmla="*/ 2147483647 w 365"/>
              <a:gd name="T1" fmla="*/ 2147483647 h 271"/>
              <a:gd name="T2" fmla="*/ 2147483647 w 365"/>
              <a:gd name="T3" fmla="*/ 2147483647 h 271"/>
              <a:gd name="T4" fmla="*/ 2147483647 w 365"/>
              <a:gd name="T5" fmla="*/ 2147483647 h 271"/>
              <a:gd name="T6" fmla="*/ 2147483647 w 365"/>
              <a:gd name="T7" fmla="*/ 2147483647 h 271"/>
              <a:gd name="T8" fmla="*/ 2147483647 w 365"/>
              <a:gd name="T9" fmla="*/ 2147483647 h 271"/>
              <a:gd name="T10" fmla="*/ 2147483647 w 365"/>
              <a:gd name="T11" fmla="*/ 2147483647 h 271"/>
              <a:gd name="T12" fmla="*/ 2147483647 w 365"/>
              <a:gd name="T13" fmla="*/ 2147483647 h 271"/>
              <a:gd name="T14" fmla="*/ 2147483647 w 365"/>
              <a:gd name="T15" fmla="*/ 2147483647 h 271"/>
              <a:gd name="T16" fmla="*/ 2147483647 w 365"/>
              <a:gd name="T17" fmla="*/ 2147483647 h 271"/>
              <a:gd name="T18" fmla="*/ 2147483647 w 365"/>
              <a:gd name="T19" fmla="*/ 2147483647 h 271"/>
              <a:gd name="T20" fmla="*/ 2147483647 w 365"/>
              <a:gd name="T21" fmla="*/ 2147483647 h 271"/>
              <a:gd name="T22" fmla="*/ 2147483647 w 365"/>
              <a:gd name="T23" fmla="*/ 2147483647 h 271"/>
              <a:gd name="T24" fmla="*/ 2147483647 w 365"/>
              <a:gd name="T25" fmla="*/ 2147483647 h 271"/>
              <a:gd name="T26" fmla="*/ 2147483647 w 365"/>
              <a:gd name="T27" fmla="*/ 2147483647 h 271"/>
              <a:gd name="T28" fmla="*/ 2147483647 w 365"/>
              <a:gd name="T29" fmla="*/ 2147483647 h 271"/>
              <a:gd name="T30" fmla="*/ 2147483647 w 365"/>
              <a:gd name="T31" fmla="*/ 2147483647 h 271"/>
              <a:gd name="T32" fmla="*/ 2147483647 w 365"/>
              <a:gd name="T33" fmla="*/ 2147483647 h 271"/>
              <a:gd name="T34" fmla="*/ 2147483647 w 365"/>
              <a:gd name="T35" fmla="*/ 2147483647 h 271"/>
              <a:gd name="T36" fmla="*/ 2147483647 w 365"/>
              <a:gd name="T37" fmla="*/ 2147483647 h 271"/>
              <a:gd name="T38" fmla="*/ 2147483647 w 365"/>
              <a:gd name="T39" fmla="*/ 2147483647 h 271"/>
              <a:gd name="T40" fmla="*/ 2147483647 w 365"/>
              <a:gd name="T41" fmla="*/ 2147483647 h 271"/>
              <a:gd name="T42" fmla="*/ 2147483647 w 365"/>
              <a:gd name="T43" fmla="*/ 2147483647 h 271"/>
              <a:gd name="T44" fmla="*/ 2147483647 w 365"/>
              <a:gd name="T45" fmla="*/ 2147483647 h 271"/>
              <a:gd name="T46" fmla="*/ 2147483647 w 365"/>
              <a:gd name="T47" fmla="*/ 2147483647 h 271"/>
              <a:gd name="T48" fmla="*/ 2147483647 w 365"/>
              <a:gd name="T49" fmla="*/ 2147483647 h 271"/>
              <a:gd name="T50" fmla="*/ 2147483647 w 365"/>
              <a:gd name="T51" fmla="*/ 2147483647 h 271"/>
              <a:gd name="T52" fmla="*/ 2147483647 w 365"/>
              <a:gd name="T53" fmla="*/ 2147483647 h 271"/>
              <a:gd name="T54" fmla="*/ 2147483647 w 365"/>
              <a:gd name="T55" fmla="*/ 2147483647 h 271"/>
              <a:gd name="T56" fmla="*/ 2147483647 w 365"/>
              <a:gd name="T57" fmla="*/ 2147483647 h 271"/>
              <a:gd name="T58" fmla="*/ 2147483647 w 365"/>
              <a:gd name="T59" fmla="*/ 2147483647 h 271"/>
              <a:gd name="T60" fmla="*/ 2147483647 w 365"/>
              <a:gd name="T61" fmla="*/ 2147483647 h 271"/>
              <a:gd name="T62" fmla="*/ 2147483647 w 365"/>
              <a:gd name="T63" fmla="*/ 2147483647 h 271"/>
              <a:gd name="T64" fmla="*/ 0 w 365"/>
              <a:gd name="T65" fmla="*/ 2147483647 h 271"/>
              <a:gd name="T66" fmla="*/ 2147483647 w 365"/>
              <a:gd name="T67" fmla="*/ 2147483647 h 271"/>
              <a:gd name="T68" fmla="*/ 2147483647 w 365"/>
              <a:gd name="T69" fmla="*/ 2147483647 h 271"/>
              <a:gd name="T70" fmla="*/ 2147483647 w 365"/>
              <a:gd name="T71" fmla="*/ 2147483647 h 271"/>
              <a:gd name="T72" fmla="*/ 2147483647 w 365"/>
              <a:gd name="T73" fmla="*/ 2147483647 h 271"/>
              <a:gd name="T74" fmla="*/ 2147483647 w 365"/>
              <a:gd name="T75" fmla="*/ 2147483647 h 271"/>
              <a:gd name="T76" fmla="*/ 2147483647 w 365"/>
              <a:gd name="T77" fmla="*/ 2147483647 h 271"/>
              <a:gd name="T78" fmla="*/ 2147483647 w 365"/>
              <a:gd name="T79" fmla="*/ 2147483647 h 271"/>
              <a:gd name="T80" fmla="*/ 2147483647 w 365"/>
              <a:gd name="T81" fmla="*/ 2147483647 h 271"/>
              <a:gd name="T82" fmla="*/ 2147483647 w 365"/>
              <a:gd name="T83" fmla="*/ 2147483647 h 271"/>
              <a:gd name="T84" fmla="*/ 2147483647 w 365"/>
              <a:gd name="T85" fmla="*/ 0 h 271"/>
              <a:gd name="T86" fmla="*/ 2147483647 w 365"/>
              <a:gd name="T87" fmla="*/ 2147483647 h 271"/>
              <a:gd name="T88" fmla="*/ 2147483647 w 365"/>
              <a:gd name="T89" fmla="*/ 2147483647 h 271"/>
              <a:gd name="T90" fmla="*/ 2147483647 w 365"/>
              <a:gd name="T91" fmla="*/ 2147483647 h 271"/>
              <a:gd name="T92" fmla="*/ 2147483647 w 365"/>
              <a:gd name="T93" fmla="*/ 2147483647 h 271"/>
              <a:gd name="T94" fmla="*/ 2147483647 w 365"/>
              <a:gd name="T95" fmla="*/ 2147483647 h 271"/>
              <a:gd name="T96" fmla="*/ 2147483647 w 365"/>
              <a:gd name="T97" fmla="*/ 2147483647 h 271"/>
              <a:gd name="T98" fmla="*/ 2147483647 w 365"/>
              <a:gd name="T99" fmla="*/ 2147483647 h 271"/>
              <a:gd name="T100" fmla="*/ 2147483647 w 365"/>
              <a:gd name="T101" fmla="*/ 2147483647 h 271"/>
              <a:gd name="T102" fmla="*/ 2147483647 w 365"/>
              <a:gd name="T103" fmla="*/ 2147483647 h 271"/>
              <a:gd name="T104" fmla="*/ 2147483647 w 365"/>
              <a:gd name="T105" fmla="*/ 2147483647 h 271"/>
              <a:gd name="T106" fmla="*/ 2147483647 w 365"/>
              <a:gd name="T107" fmla="*/ 2147483647 h 271"/>
              <a:gd name="T108" fmla="*/ 2147483647 w 365"/>
              <a:gd name="T109" fmla="*/ 2147483647 h 271"/>
              <a:gd name="T110" fmla="*/ 2147483647 w 365"/>
              <a:gd name="T111" fmla="*/ 2147483647 h 271"/>
              <a:gd name="T112" fmla="*/ 2147483647 w 365"/>
              <a:gd name="T113" fmla="*/ 2147483647 h 271"/>
              <a:gd name="T114" fmla="*/ 2147483647 w 365"/>
              <a:gd name="T115" fmla="*/ 2147483647 h 271"/>
              <a:gd name="T116" fmla="*/ 2147483647 w 365"/>
              <a:gd name="T117" fmla="*/ 2147483647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7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917940" y="4658940"/>
            <a:ext cx="269875" cy="334963"/>
          </a:xfrm>
          <a:custGeom>
            <a:avLst/>
            <a:gdLst>
              <a:gd name="T0" fmla="*/ 2147483647 w 624"/>
              <a:gd name="T1" fmla="*/ 2147483647 h 640"/>
              <a:gd name="T2" fmla="*/ 2147483647 w 624"/>
              <a:gd name="T3" fmla="*/ 2147483647 h 640"/>
              <a:gd name="T4" fmla="*/ 2147483647 w 624"/>
              <a:gd name="T5" fmla="*/ 2147483647 h 640"/>
              <a:gd name="T6" fmla="*/ 2147483647 w 624"/>
              <a:gd name="T7" fmla="*/ 2147483647 h 640"/>
              <a:gd name="T8" fmla="*/ 2147483647 w 624"/>
              <a:gd name="T9" fmla="*/ 2147483647 h 640"/>
              <a:gd name="T10" fmla="*/ 2147483647 w 624"/>
              <a:gd name="T11" fmla="*/ 2147483647 h 640"/>
              <a:gd name="T12" fmla="*/ 2147483647 w 624"/>
              <a:gd name="T13" fmla="*/ 2147483647 h 640"/>
              <a:gd name="T14" fmla="*/ 2147483647 w 624"/>
              <a:gd name="T15" fmla="*/ 2147483647 h 640"/>
              <a:gd name="T16" fmla="*/ 2147483647 w 624"/>
              <a:gd name="T17" fmla="*/ 2147483647 h 640"/>
              <a:gd name="T18" fmla="*/ 2147483647 w 624"/>
              <a:gd name="T19" fmla="*/ 2147483647 h 640"/>
              <a:gd name="T20" fmla="*/ 2147483647 w 624"/>
              <a:gd name="T21" fmla="*/ 2147483647 h 640"/>
              <a:gd name="T22" fmla="*/ 2147483647 w 624"/>
              <a:gd name="T23" fmla="*/ 2147483647 h 640"/>
              <a:gd name="T24" fmla="*/ 2147483647 w 624"/>
              <a:gd name="T25" fmla="*/ 2147483647 h 640"/>
              <a:gd name="T26" fmla="*/ 2147483647 w 624"/>
              <a:gd name="T27" fmla="*/ 2147483647 h 640"/>
              <a:gd name="T28" fmla="*/ 2147483647 w 624"/>
              <a:gd name="T29" fmla="*/ 2147483647 h 640"/>
              <a:gd name="T30" fmla="*/ 2147483647 w 624"/>
              <a:gd name="T31" fmla="*/ 2147483647 h 640"/>
              <a:gd name="T32" fmla="*/ 2147483647 w 624"/>
              <a:gd name="T33" fmla="*/ 2147483647 h 640"/>
              <a:gd name="T34" fmla="*/ 2147483647 w 624"/>
              <a:gd name="T35" fmla="*/ 2147483647 h 640"/>
              <a:gd name="T36" fmla="*/ 2147483647 w 624"/>
              <a:gd name="T37" fmla="*/ 2147483647 h 640"/>
              <a:gd name="T38" fmla="*/ 2147483647 w 624"/>
              <a:gd name="T39" fmla="*/ 2147483647 h 640"/>
              <a:gd name="T40" fmla="*/ 2147483647 w 624"/>
              <a:gd name="T41" fmla="*/ 2147483647 h 640"/>
              <a:gd name="T42" fmla="*/ 2147483647 w 624"/>
              <a:gd name="T43" fmla="*/ 2147483647 h 640"/>
              <a:gd name="T44" fmla="*/ 2147483647 w 624"/>
              <a:gd name="T45" fmla="*/ 2147483647 h 640"/>
              <a:gd name="T46" fmla="*/ 2147483647 w 624"/>
              <a:gd name="T47" fmla="*/ 2147483647 h 640"/>
              <a:gd name="T48" fmla="*/ 2147483647 w 624"/>
              <a:gd name="T49" fmla="*/ 2147483647 h 640"/>
              <a:gd name="T50" fmla="*/ 2147483647 w 624"/>
              <a:gd name="T51" fmla="*/ 2147483647 h 640"/>
              <a:gd name="T52" fmla="*/ 2147483647 w 624"/>
              <a:gd name="T53" fmla="*/ 2147483647 h 640"/>
              <a:gd name="T54" fmla="*/ 2147483647 w 624"/>
              <a:gd name="T55" fmla="*/ 2147483647 h 640"/>
              <a:gd name="T56" fmla="*/ 2147483647 w 624"/>
              <a:gd name="T57" fmla="*/ 2147483647 h 640"/>
              <a:gd name="T58" fmla="*/ 2147483647 w 624"/>
              <a:gd name="T59" fmla="*/ 2147483647 h 640"/>
              <a:gd name="T60" fmla="*/ 2147483647 w 624"/>
              <a:gd name="T61" fmla="*/ 2147483647 h 640"/>
              <a:gd name="T62" fmla="*/ 2147483647 w 624"/>
              <a:gd name="T63" fmla="*/ 2147483647 h 640"/>
              <a:gd name="T64" fmla="*/ 2147483647 w 624"/>
              <a:gd name="T65" fmla="*/ 2147483647 h 640"/>
              <a:gd name="T66" fmla="*/ 2147483647 w 624"/>
              <a:gd name="T67" fmla="*/ 2147483647 h 640"/>
              <a:gd name="T68" fmla="*/ 2147483647 w 624"/>
              <a:gd name="T69" fmla="*/ 2147483647 h 640"/>
              <a:gd name="T70" fmla="*/ 2147483647 w 624"/>
              <a:gd name="T71" fmla="*/ 2147483647 h 640"/>
              <a:gd name="T72" fmla="*/ 2147483647 w 624"/>
              <a:gd name="T73" fmla="*/ 2147483647 h 640"/>
              <a:gd name="T74" fmla="*/ 2147483647 w 624"/>
              <a:gd name="T75" fmla="*/ 2147483647 h 640"/>
              <a:gd name="T76" fmla="*/ 2147483647 w 624"/>
              <a:gd name="T77" fmla="*/ 2147483647 h 640"/>
              <a:gd name="T78" fmla="*/ 2147483647 w 624"/>
              <a:gd name="T79" fmla="*/ 2147483647 h 640"/>
              <a:gd name="T80" fmla="*/ 2147483647 w 624"/>
              <a:gd name="T81" fmla="*/ 2147483647 h 640"/>
              <a:gd name="T82" fmla="*/ 2147483647 w 624"/>
              <a:gd name="T83" fmla="*/ 2147483647 h 640"/>
              <a:gd name="T84" fmla="*/ 2147483647 w 624"/>
              <a:gd name="T85" fmla="*/ 2147483647 h 640"/>
              <a:gd name="T86" fmla="*/ 2147483647 w 624"/>
              <a:gd name="T87" fmla="*/ 2147483647 h 640"/>
              <a:gd name="T88" fmla="*/ 2147483647 w 624"/>
              <a:gd name="T89" fmla="*/ 2147483647 h 640"/>
              <a:gd name="T90" fmla="*/ 0 w 624"/>
              <a:gd name="T91" fmla="*/ 2147483647 h 640"/>
              <a:gd name="T92" fmla="*/ 0 w 624"/>
              <a:gd name="T93" fmla="*/ 2147483647 h 640"/>
              <a:gd name="T94" fmla="*/ 2147483647 w 624"/>
              <a:gd name="T95" fmla="*/ 2147483647 h 640"/>
              <a:gd name="T96" fmla="*/ 2147483647 w 624"/>
              <a:gd name="T97" fmla="*/ 2147483647 h 640"/>
              <a:gd name="T98" fmla="*/ 2147483647 w 624"/>
              <a:gd name="T99" fmla="*/ 2147483647 h 640"/>
              <a:gd name="T100" fmla="*/ 2147483647 w 624"/>
              <a:gd name="T101" fmla="*/ 2147483647 h 640"/>
              <a:gd name="T102" fmla="*/ 2147483647 w 624"/>
              <a:gd name="T103" fmla="*/ 2147483647 h 640"/>
              <a:gd name="T104" fmla="*/ 2147483647 w 624"/>
              <a:gd name="T105" fmla="*/ 214748364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8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481753" y="3173040"/>
            <a:ext cx="19050" cy="57150"/>
          </a:xfrm>
          <a:custGeom>
            <a:avLst/>
            <a:gdLst>
              <a:gd name="T0" fmla="*/ 2147483647 w 52"/>
              <a:gd name="T1" fmla="*/ 2147483647 h 50"/>
              <a:gd name="T2" fmla="*/ 0 w 52"/>
              <a:gd name="T3" fmla="*/ 2147483647 h 50"/>
              <a:gd name="T4" fmla="*/ 2147483647 w 52"/>
              <a:gd name="T5" fmla="*/ 2147483647 h 50"/>
              <a:gd name="T6" fmla="*/ 2147483647 w 52"/>
              <a:gd name="T7" fmla="*/ 2147483647 h 50"/>
              <a:gd name="T8" fmla="*/ 2147483647 w 52"/>
              <a:gd name="T9" fmla="*/ 2147483647 h 50"/>
              <a:gd name="T10" fmla="*/ 2147483647 w 52"/>
              <a:gd name="T11" fmla="*/ 2147483647 h 50"/>
              <a:gd name="T12" fmla="*/ 2147483647 w 52"/>
              <a:gd name="T13" fmla="*/ 2147483647 h 50"/>
              <a:gd name="T14" fmla="*/ 2147483647 w 52"/>
              <a:gd name="T15" fmla="*/ 2147483647 h 50"/>
              <a:gd name="T16" fmla="*/ 2147483647 w 52"/>
              <a:gd name="T17" fmla="*/ 2147483647 h 50"/>
              <a:gd name="T18" fmla="*/ 2147483647 w 52"/>
              <a:gd name="T19" fmla="*/ 0 h 50"/>
              <a:gd name="T20" fmla="*/ 2147483647 w 52"/>
              <a:gd name="T21" fmla="*/ 2147483647 h 50"/>
              <a:gd name="T22" fmla="*/ 2147483647 w 52"/>
              <a:gd name="T23" fmla="*/ 2147483647 h 50"/>
              <a:gd name="T24" fmla="*/ 2147483647 w 52"/>
              <a:gd name="T25" fmla="*/ 2147483647 h 50"/>
              <a:gd name="T26" fmla="*/ 2147483647 w 52"/>
              <a:gd name="T27" fmla="*/ 2147483647 h 50"/>
              <a:gd name="T28" fmla="*/ 2147483647 w 52"/>
              <a:gd name="T29" fmla="*/ 2147483647 h 50"/>
              <a:gd name="T30" fmla="*/ 2147483647 w 52"/>
              <a:gd name="T31" fmla="*/ 2147483647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69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340465" y="3174628"/>
            <a:ext cx="141288" cy="125412"/>
          </a:xfrm>
          <a:custGeom>
            <a:avLst/>
            <a:gdLst>
              <a:gd name="T0" fmla="*/ 2147483647 w 320"/>
              <a:gd name="T1" fmla="*/ 2147483647 h 234"/>
              <a:gd name="T2" fmla="*/ 2147483647 w 320"/>
              <a:gd name="T3" fmla="*/ 2147483647 h 234"/>
              <a:gd name="T4" fmla="*/ 2147483647 w 320"/>
              <a:gd name="T5" fmla="*/ 2147483647 h 234"/>
              <a:gd name="T6" fmla="*/ 2147483647 w 320"/>
              <a:gd name="T7" fmla="*/ 2147483647 h 234"/>
              <a:gd name="T8" fmla="*/ 2147483647 w 320"/>
              <a:gd name="T9" fmla="*/ 2147483647 h 234"/>
              <a:gd name="T10" fmla="*/ 2147483647 w 320"/>
              <a:gd name="T11" fmla="*/ 2147483647 h 234"/>
              <a:gd name="T12" fmla="*/ 2147483647 w 320"/>
              <a:gd name="T13" fmla="*/ 2147483647 h 234"/>
              <a:gd name="T14" fmla="*/ 2147483647 w 320"/>
              <a:gd name="T15" fmla="*/ 2147483647 h 234"/>
              <a:gd name="T16" fmla="*/ 2147483647 w 320"/>
              <a:gd name="T17" fmla="*/ 2147483647 h 234"/>
              <a:gd name="T18" fmla="*/ 2147483647 w 320"/>
              <a:gd name="T19" fmla="*/ 2147483647 h 234"/>
              <a:gd name="T20" fmla="*/ 2147483647 w 320"/>
              <a:gd name="T21" fmla="*/ 2147483647 h 234"/>
              <a:gd name="T22" fmla="*/ 2147483647 w 320"/>
              <a:gd name="T23" fmla="*/ 2147483647 h 234"/>
              <a:gd name="T24" fmla="*/ 2147483647 w 320"/>
              <a:gd name="T25" fmla="*/ 2147483647 h 234"/>
              <a:gd name="T26" fmla="*/ 2147483647 w 320"/>
              <a:gd name="T27" fmla="*/ 2147483647 h 234"/>
              <a:gd name="T28" fmla="*/ 2147483647 w 320"/>
              <a:gd name="T29" fmla="*/ 2147483647 h 234"/>
              <a:gd name="T30" fmla="*/ 2147483647 w 320"/>
              <a:gd name="T31" fmla="*/ 2147483647 h 234"/>
              <a:gd name="T32" fmla="*/ 2147483647 w 320"/>
              <a:gd name="T33" fmla="*/ 2147483647 h 234"/>
              <a:gd name="T34" fmla="*/ 2147483647 w 320"/>
              <a:gd name="T35" fmla="*/ 2147483647 h 234"/>
              <a:gd name="T36" fmla="*/ 2147483647 w 320"/>
              <a:gd name="T37" fmla="*/ 2147483647 h 234"/>
              <a:gd name="T38" fmla="*/ 2147483647 w 320"/>
              <a:gd name="T39" fmla="*/ 2147483647 h 234"/>
              <a:gd name="T40" fmla="*/ 2147483647 w 320"/>
              <a:gd name="T41" fmla="*/ 2147483647 h 234"/>
              <a:gd name="T42" fmla="*/ 2147483647 w 320"/>
              <a:gd name="T43" fmla="*/ 2147483647 h 234"/>
              <a:gd name="T44" fmla="*/ 2147483647 w 320"/>
              <a:gd name="T45" fmla="*/ 0 h 234"/>
              <a:gd name="T46" fmla="*/ 2147483647 w 320"/>
              <a:gd name="T47" fmla="*/ 0 h 234"/>
              <a:gd name="T48" fmla="*/ 2147483647 w 320"/>
              <a:gd name="T49" fmla="*/ 2147483647 h 234"/>
              <a:gd name="T50" fmla="*/ 2147483647 w 320"/>
              <a:gd name="T51" fmla="*/ 2147483647 h 234"/>
              <a:gd name="T52" fmla="*/ 2147483647 w 320"/>
              <a:gd name="T53" fmla="*/ 2147483647 h 234"/>
              <a:gd name="T54" fmla="*/ 2147483647 w 320"/>
              <a:gd name="T55" fmla="*/ 2147483647 h 234"/>
              <a:gd name="T56" fmla="*/ 2147483647 w 320"/>
              <a:gd name="T57" fmla="*/ 2147483647 h 234"/>
              <a:gd name="T58" fmla="*/ 2147483647 w 320"/>
              <a:gd name="T59" fmla="*/ 2147483647 h 234"/>
              <a:gd name="T60" fmla="*/ 2147483647 w 320"/>
              <a:gd name="T61" fmla="*/ 2147483647 h 234"/>
              <a:gd name="T62" fmla="*/ 2147483647 w 320"/>
              <a:gd name="T63" fmla="*/ 2147483647 h 234"/>
              <a:gd name="T64" fmla="*/ 2147483647 w 320"/>
              <a:gd name="T65" fmla="*/ 2147483647 h 234"/>
              <a:gd name="T66" fmla="*/ 2147483647 w 320"/>
              <a:gd name="T67" fmla="*/ 2147483647 h 234"/>
              <a:gd name="T68" fmla="*/ 2147483647 w 320"/>
              <a:gd name="T69" fmla="*/ 2147483647 h 234"/>
              <a:gd name="T70" fmla="*/ 2147483647 w 320"/>
              <a:gd name="T71" fmla="*/ 2147483647 h 234"/>
              <a:gd name="T72" fmla="*/ 2147483647 w 320"/>
              <a:gd name="T73" fmla="*/ 2147483647 h 234"/>
              <a:gd name="T74" fmla="*/ 2147483647 w 320"/>
              <a:gd name="T75" fmla="*/ 2147483647 h 234"/>
              <a:gd name="T76" fmla="*/ 2147483647 w 320"/>
              <a:gd name="T77" fmla="*/ 2147483647 h 234"/>
              <a:gd name="T78" fmla="*/ 2147483647 w 320"/>
              <a:gd name="T79" fmla="*/ 2147483647 h 234"/>
              <a:gd name="T80" fmla="*/ 2147483647 w 320"/>
              <a:gd name="T81" fmla="*/ 2147483647 h 234"/>
              <a:gd name="T82" fmla="*/ 2147483647 w 320"/>
              <a:gd name="T83" fmla="*/ 2147483647 h 234"/>
              <a:gd name="T84" fmla="*/ 2147483647 w 320"/>
              <a:gd name="T85" fmla="*/ 2147483647 h 234"/>
              <a:gd name="T86" fmla="*/ 2147483647 w 320"/>
              <a:gd name="T87" fmla="*/ 2147483647 h 234"/>
              <a:gd name="T88" fmla="*/ 2147483647 w 320"/>
              <a:gd name="T89" fmla="*/ 2147483647 h 234"/>
              <a:gd name="T90" fmla="*/ 2147483647 w 320"/>
              <a:gd name="T91" fmla="*/ 2147483647 h 234"/>
              <a:gd name="T92" fmla="*/ 2147483647 w 320"/>
              <a:gd name="T93" fmla="*/ 2147483647 h 234"/>
              <a:gd name="T94" fmla="*/ 2147483647 w 320"/>
              <a:gd name="T95" fmla="*/ 2147483647 h 234"/>
              <a:gd name="T96" fmla="*/ 2147483647 w 320"/>
              <a:gd name="T97" fmla="*/ 2147483647 h 234"/>
              <a:gd name="T98" fmla="*/ 2147483647 w 320"/>
              <a:gd name="T99" fmla="*/ 2147483647 h 234"/>
              <a:gd name="T100" fmla="*/ 2147483647 w 320"/>
              <a:gd name="T101" fmla="*/ 2147483647 h 234"/>
              <a:gd name="T102" fmla="*/ 2147483647 w 320"/>
              <a:gd name="T103" fmla="*/ 2147483647 h 234"/>
              <a:gd name="T104" fmla="*/ 2147483647 w 320"/>
              <a:gd name="T105" fmla="*/ 2147483647 h 234"/>
              <a:gd name="T106" fmla="*/ 2147483647 w 320"/>
              <a:gd name="T107" fmla="*/ 2147483647 h 234"/>
              <a:gd name="T108" fmla="*/ 2147483647 w 320"/>
              <a:gd name="T109" fmla="*/ 2147483647 h 234"/>
              <a:gd name="T110" fmla="*/ 2147483647 w 320"/>
              <a:gd name="T111" fmla="*/ 2147483647 h 234"/>
              <a:gd name="T112" fmla="*/ 2147483647 w 320"/>
              <a:gd name="T113" fmla="*/ 2147483647 h 234"/>
              <a:gd name="T114" fmla="*/ 2147483647 w 320"/>
              <a:gd name="T115" fmla="*/ 2147483647 h 234"/>
              <a:gd name="T116" fmla="*/ 2147483647 w 320"/>
              <a:gd name="T117" fmla="*/ 2147483647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0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310303" y="3528640"/>
            <a:ext cx="52387" cy="57150"/>
          </a:xfrm>
          <a:custGeom>
            <a:avLst/>
            <a:gdLst>
              <a:gd name="T0" fmla="*/ 2147483647 w 125"/>
              <a:gd name="T1" fmla="*/ 2147483647 h 93"/>
              <a:gd name="T2" fmla="*/ 2147483647 w 125"/>
              <a:gd name="T3" fmla="*/ 2147483647 h 93"/>
              <a:gd name="T4" fmla="*/ 2147483647 w 125"/>
              <a:gd name="T5" fmla="*/ 2147483647 h 93"/>
              <a:gd name="T6" fmla="*/ 2147483647 w 125"/>
              <a:gd name="T7" fmla="*/ 2147483647 h 93"/>
              <a:gd name="T8" fmla="*/ 2147483647 w 125"/>
              <a:gd name="T9" fmla="*/ 2147483647 h 93"/>
              <a:gd name="T10" fmla="*/ 2147483647 w 125"/>
              <a:gd name="T11" fmla="*/ 2147483647 h 93"/>
              <a:gd name="T12" fmla="*/ 2147483647 w 125"/>
              <a:gd name="T13" fmla="*/ 2147483647 h 93"/>
              <a:gd name="T14" fmla="*/ 2147483647 w 125"/>
              <a:gd name="T15" fmla="*/ 2147483647 h 93"/>
              <a:gd name="T16" fmla="*/ 2147483647 w 125"/>
              <a:gd name="T17" fmla="*/ 2147483647 h 93"/>
              <a:gd name="T18" fmla="*/ 2147483647 w 125"/>
              <a:gd name="T19" fmla="*/ 2147483647 h 93"/>
              <a:gd name="T20" fmla="*/ 2147483647 w 125"/>
              <a:gd name="T21" fmla="*/ 0 h 93"/>
              <a:gd name="T22" fmla="*/ 2147483647 w 125"/>
              <a:gd name="T23" fmla="*/ 0 h 93"/>
              <a:gd name="T24" fmla="*/ 2147483647 w 125"/>
              <a:gd name="T25" fmla="*/ 2147483647 h 93"/>
              <a:gd name="T26" fmla="*/ 2147483647 w 125"/>
              <a:gd name="T27" fmla="*/ 2147483647 h 93"/>
              <a:gd name="T28" fmla="*/ 2147483647 w 125"/>
              <a:gd name="T29" fmla="*/ 2147483647 h 93"/>
              <a:gd name="T30" fmla="*/ 2147483647 w 125"/>
              <a:gd name="T31" fmla="*/ 2147483647 h 93"/>
              <a:gd name="T32" fmla="*/ 2147483647 w 125"/>
              <a:gd name="T33" fmla="*/ 2147483647 h 93"/>
              <a:gd name="T34" fmla="*/ 2147483647 w 125"/>
              <a:gd name="T35" fmla="*/ 2147483647 h 93"/>
              <a:gd name="T36" fmla="*/ 2147483647 w 125"/>
              <a:gd name="T37" fmla="*/ 2147483647 h 93"/>
              <a:gd name="T38" fmla="*/ 2147483647 w 125"/>
              <a:gd name="T39" fmla="*/ 2147483647 h 93"/>
              <a:gd name="T40" fmla="*/ 2147483647 w 125"/>
              <a:gd name="T41" fmla="*/ 2147483647 h 93"/>
              <a:gd name="T42" fmla="*/ 2147483647 w 125"/>
              <a:gd name="T43" fmla="*/ 2147483647 h 93"/>
              <a:gd name="T44" fmla="*/ 2147483647 w 125"/>
              <a:gd name="T45" fmla="*/ 2147483647 h 93"/>
              <a:gd name="T46" fmla="*/ 2147483647 w 125"/>
              <a:gd name="T47" fmla="*/ 2147483647 h 93"/>
              <a:gd name="T48" fmla="*/ 2147483647 w 125"/>
              <a:gd name="T49" fmla="*/ 2147483647 h 93"/>
              <a:gd name="T50" fmla="*/ 2147483647 w 125"/>
              <a:gd name="T51" fmla="*/ 2147483647 h 93"/>
              <a:gd name="T52" fmla="*/ 2147483647 w 125"/>
              <a:gd name="T53" fmla="*/ 2147483647 h 93"/>
              <a:gd name="T54" fmla="*/ 2147483647 w 125"/>
              <a:gd name="T55" fmla="*/ 2147483647 h 93"/>
              <a:gd name="T56" fmla="*/ 2147483647 w 125"/>
              <a:gd name="T57" fmla="*/ 2147483647 h 93"/>
              <a:gd name="T58" fmla="*/ 2147483647 w 125"/>
              <a:gd name="T59" fmla="*/ 2147483647 h 93"/>
              <a:gd name="T60" fmla="*/ 2147483647 w 125"/>
              <a:gd name="T61" fmla="*/ 2147483647 h 93"/>
              <a:gd name="T62" fmla="*/ 2147483647 w 125"/>
              <a:gd name="T63" fmla="*/ 2147483647 h 93"/>
              <a:gd name="T64" fmla="*/ 2147483647 w 125"/>
              <a:gd name="T65" fmla="*/ 2147483647 h 93"/>
              <a:gd name="T66" fmla="*/ 2147483647 w 125"/>
              <a:gd name="T67" fmla="*/ 2147483647 h 93"/>
              <a:gd name="T68" fmla="*/ 0 w 125"/>
              <a:gd name="T69" fmla="*/ 2147483647 h 93"/>
              <a:gd name="T70" fmla="*/ 0 w 125"/>
              <a:gd name="T71" fmla="*/ 2147483647 h 93"/>
              <a:gd name="T72" fmla="*/ 2147483647 w 125"/>
              <a:gd name="T73" fmla="*/ 2147483647 h 93"/>
              <a:gd name="T74" fmla="*/ 2147483647 w 125"/>
              <a:gd name="T75" fmla="*/ 2147483647 h 93"/>
              <a:gd name="T76" fmla="*/ 2147483647 w 125"/>
              <a:gd name="T77" fmla="*/ 2147483647 h 93"/>
              <a:gd name="T78" fmla="*/ 2147483647 w 125"/>
              <a:gd name="T79" fmla="*/ 2147483647 h 93"/>
              <a:gd name="T80" fmla="*/ 2147483647 w 125"/>
              <a:gd name="T81" fmla="*/ 2147483647 h 93"/>
              <a:gd name="T82" fmla="*/ 2147483647 w 125"/>
              <a:gd name="T83" fmla="*/ 2147483647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1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256328" y="3542928"/>
            <a:ext cx="60325" cy="84137"/>
          </a:xfrm>
          <a:custGeom>
            <a:avLst/>
            <a:gdLst>
              <a:gd name="T0" fmla="*/ 2147483647 w 133"/>
              <a:gd name="T1" fmla="*/ 2147483647 h 154"/>
              <a:gd name="T2" fmla="*/ 2147483647 w 133"/>
              <a:gd name="T3" fmla="*/ 2147483647 h 154"/>
              <a:gd name="T4" fmla="*/ 2147483647 w 133"/>
              <a:gd name="T5" fmla="*/ 2147483647 h 154"/>
              <a:gd name="T6" fmla="*/ 2147483647 w 133"/>
              <a:gd name="T7" fmla="*/ 2147483647 h 154"/>
              <a:gd name="T8" fmla="*/ 2147483647 w 133"/>
              <a:gd name="T9" fmla="*/ 2147483647 h 154"/>
              <a:gd name="T10" fmla="*/ 2147483647 w 133"/>
              <a:gd name="T11" fmla="*/ 2147483647 h 154"/>
              <a:gd name="T12" fmla="*/ 2147483647 w 133"/>
              <a:gd name="T13" fmla="*/ 0 h 154"/>
              <a:gd name="T14" fmla="*/ 2147483647 w 133"/>
              <a:gd name="T15" fmla="*/ 2147483647 h 154"/>
              <a:gd name="T16" fmla="*/ 2147483647 w 133"/>
              <a:gd name="T17" fmla="*/ 2147483647 h 154"/>
              <a:gd name="T18" fmla="*/ 2147483647 w 133"/>
              <a:gd name="T19" fmla="*/ 2147483647 h 154"/>
              <a:gd name="T20" fmla="*/ 2147483647 w 133"/>
              <a:gd name="T21" fmla="*/ 2147483647 h 154"/>
              <a:gd name="T22" fmla="*/ 2147483647 w 133"/>
              <a:gd name="T23" fmla="*/ 2147483647 h 154"/>
              <a:gd name="T24" fmla="*/ 2147483647 w 133"/>
              <a:gd name="T25" fmla="*/ 2147483647 h 154"/>
              <a:gd name="T26" fmla="*/ 2147483647 w 133"/>
              <a:gd name="T27" fmla="*/ 2147483647 h 154"/>
              <a:gd name="T28" fmla="*/ 2147483647 w 133"/>
              <a:gd name="T29" fmla="*/ 2147483647 h 154"/>
              <a:gd name="T30" fmla="*/ 2147483647 w 133"/>
              <a:gd name="T31" fmla="*/ 2147483647 h 154"/>
              <a:gd name="T32" fmla="*/ 2147483647 w 133"/>
              <a:gd name="T33" fmla="*/ 2147483647 h 154"/>
              <a:gd name="T34" fmla="*/ 2147483647 w 133"/>
              <a:gd name="T35" fmla="*/ 2147483647 h 154"/>
              <a:gd name="T36" fmla="*/ 2147483647 w 133"/>
              <a:gd name="T37" fmla="*/ 2147483647 h 154"/>
              <a:gd name="T38" fmla="*/ 2147483647 w 133"/>
              <a:gd name="T39" fmla="*/ 2147483647 h 154"/>
              <a:gd name="T40" fmla="*/ 2147483647 w 133"/>
              <a:gd name="T41" fmla="*/ 2147483647 h 154"/>
              <a:gd name="T42" fmla="*/ 2147483647 w 133"/>
              <a:gd name="T43" fmla="*/ 2147483647 h 154"/>
              <a:gd name="T44" fmla="*/ 2147483647 w 133"/>
              <a:gd name="T45" fmla="*/ 2147483647 h 154"/>
              <a:gd name="T46" fmla="*/ 2147483647 w 133"/>
              <a:gd name="T47" fmla="*/ 2147483647 h 154"/>
              <a:gd name="T48" fmla="*/ 2147483647 w 133"/>
              <a:gd name="T49" fmla="*/ 2147483647 h 154"/>
              <a:gd name="T50" fmla="*/ 2147483647 w 133"/>
              <a:gd name="T51" fmla="*/ 2147483647 h 154"/>
              <a:gd name="T52" fmla="*/ 2147483647 w 133"/>
              <a:gd name="T53" fmla="*/ 2147483647 h 154"/>
              <a:gd name="T54" fmla="*/ 2147483647 w 133"/>
              <a:gd name="T55" fmla="*/ 2147483647 h 154"/>
              <a:gd name="T56" fmla="*/ 2147483647 w 133"/>
              <a:gd name="T57" fmla="*/ 2147483647 h 154"/>
              <a:gd name="T58" fmla="*/ 2147483647 w 133"/>
              <a:gd name="T59" fmla="*/ 2147483647 h 154"/>
              <a:gd name="T60" fmla="*/ 2147483647 w 133"/>
              <a:gd name="T61" fmla="*/ 2147483647 h 154"/>
              <a:gd name="T62" fmla="*/ 2147483647 w 133"/>
              <a:gd name="T63" fmla="*/ 2147483647 h 154"/>
              <a:gd name="T64" fmla="*/ 2147483647 w 133"/>
              <a:gd name="T65" fmla="*/ 2147483647 h 154"/>
              <a:gd name="T66" fmla="*/ 2147483647 w 133"/>
              <a:gd name="T67" fmla="*/ 2147483647 h 154"/>
              <a:gd name="T68" fmla="*/ 2147483647 w 133"/>
              <a:gd name="T69" fmla="*/ 2147483647 h 154"/>
              <a:gd name="T70" fmla="*/ 2147483647 w 133"/>
              <a:gd name="T71" fmla="*/ 2147483647 h 154"/>
              <a:gd name="T72" fmla="*/ 2147483647 w 133"/>
              <a:gd name="T73" fmla="*/ 2147483647 h 154"/>
              <a:gd name="T74" fmla="*/ 2147483647 w 133"/>
              <a:gd name="T75" fmla="*/ 2147483647 h 154"/>
              <a:gd name="T76" fmla="*/ 2147483647 w 133"/>
              <a:gd name="T77" fmla="*/ 2147483647 h 154"/>
              <a:gd name="T78" fmla="*/ 2147483647 w 133"/>
              <a:gd name="T79" fmla="*/ 2147483647 h 154"/>
              <a:gd name="T80" fmla="*/ 2147483647 w 133"/>
              <a:gd name="T81" fmla="*/ 2147483647 h 154"/>
              <a:gd name="T82" fmla="*/ 2147483647 w 133"/>
              <a:gd name="T83" fmla="*/ 2147483647 h 154"/>
              <a:gd name="T84" fmla="*/ 2147483647 w 133"/>
              <a:gd name="T85" fmla="*/ 2147483647 h 154"/>
              <a:gd name="T86" fmla="*/ 2147483647 w 133"/>
              <a:gd name="T87" fmla="*/ 2147483647 h 154"/>
              <a:gd name="T88" fmla="*/ 2147483647 w 133"/>
              <a:gd name="T89" fmla="*/ 2147483647 h 154"/>
              <a:gd name="T90" fmla="*/ 2147483647 w 133"/>
              <a:gd name="T91" fmla="*/ 2147483647 h 154"/>
              <a:gd name="T92" fmla="*/ 2147483647 w 133"/>
              <a:gd name="T93" fmla="*/ 2147483647 h 154"/>
              <a:gd name="T94" fmla="*/ 2147483647 w 133"/>
              <a:gd name="T95" fmla="*/ 2147483647 h 154"/>
              <a:gd name="T96" fmla="*/ 2147483647 w 133"/>
              <a:gd name="T97" fmla="*/ 2147483647 h 154"/>
              <a:gd name="T98" fmla="*/ 2147483647 w 133"/>
              <a:gd name="T99" fmla="*/ 2147483647 h 154"/>
              <a:gd name="T100" fmla="*/ 2147483647 w 133"/>
              <a:gd name="T101" fmla="*/ 2147483647 h 154"/>
              <a:gd name="T102" fmla="*/ 0 w 133"/>
              <a:gd name="T103" fmla="*/ 2147483647 h 154"/>
              <a:gd name="T104" fmla="*/ 0 w 133"/>
              <a:gd name="T105" fmla="*/ 2147483647 h 154"/>
              <a:gd name="T106" fmla="*/ 2147483647 w 133"/>
              <a:gd name="T107" fmla="*/ 2147483647 h 154"/>
              <a:gd name="T108" fmla="*/ 2147483647 w 133"/>
              <a:gd name="T109" fmla="*/ 2147483647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2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272203" y="3304803"/>
            <a:ext cx="209550" cy="244475"/>
          </a:xfrm>
          <a:custGeom>
            <a:avLst/>
            <a:gdLst>
              <a:gd name="T0" fmla="*/ 2147483647 w 485"/>
              <a:gd name="T1" fmla="*/ 2147483647 h 468"/>
              <a:gd name="T2" fmla="*/ 2147483647 w 485"/>
              <a:gd name="T3" fmla="*/ 2147483647 h 468"/>
              <a:gd name="T4" fmla="*/ 2147483647 w 485"/>
              <a:gd name="T5" fmla="*/ 2147483647 h 468"/>
              <a:gd name="T6" fmla="*/ 2147483647 w 485"/>
              <a:gd name="T7" fmla="*/ 2147483647 h 468"/>
              <a:gd name="T8" fmla="*/ 2147483647 w 485"/>
              <a:gd name="T9" fmla="*/ 2147483647 h 468"/>
              <a:gd name="T10" fmla="*/ 2147483647 w 485"/>
              <a:gd name="T11" fmla="*/ 2147483647 h 468"/>
              <a:gd name="T12" fmla="*/ 2147483647 w 485"/>
              <a:gd name="T13" fmla="*/ 2147483647 h 468"/>
              <a:gd name="T14" fmla="*/ 2147483647 w 485"/>
              <a:gd name="T15" fmla="*/ 2147483647 h 468"/>
              <a:gd name="T16" fmla="*/ 2147483647 w 485"/>
              <a:gd name="T17" fmla="*/ 2147483647 h 468"/>
              <a:gd name="T18" fmla="*/ 2147483647 w 485"/>
              <a:gd name="T19" fmla="*/ 2147483647 h 468"/>
              <a:gd name="T20" fmla="*/ 2147483647 w 485"/>
              <a:gd name="T21" fmla="*/ 2147483647 h 468"/>
              <a:gd name="T22" fmla="*/ 2147483647 w 485"/>
              <a:gd name="T23" fmla="*/ 2147483647 h 468"/>
              <a:gd name="T24" fmla="*/ 2147483647 w 485"/>
              <a:gd name="T25" fmla="*/ 2147483647 h 468"/>
              <a:gd name="T26" fmla="*/ 2147483647 w 485"/>
              <a:gd name="T27" fmla="*/ 2147483647 h 468"/>
              <a:gd name="T28" fmla="*/ 2147483647 w 485"/>
              <a:gd name="T29" fmla="*/ 2147483647 h 468"/>
              <a:gd name="T30" fmla="*/ 2147483647 w 485"/>
              <a:gd name="T31" fmla="*/ 2147483647 h 468"/>
              <a:gd name="T32" fmla="*/ 2147483647 w 485"/>
              <a:gd name="T33" fmla="*/ 2147483647 h 468"/>
              <a:gd name="T34" fmla="*/ 2147483647 w 485"/>
              <a:gd name="T35" fmla="*/ 2147483647 h 468"/>
              <a:gd name="T36" fmla="*/ 2147483647 w 485"/>
              <a:gd name="T37" fmla="*/ 2147483647 h 468"/>
              <a:gd name="T38" fmla="*/ 2147483647 w 485"/>
              <a:gd name="T39" fmla="*/ 2147483647 h 468"/>
              <a:gd name="T40" fmla="*/ 2147483647 w 485"/>
              <a:gd name="T41" fmla="*/ 2147483647 h 468"/>
              <a:gd name="T42" fmla="*/ 2147483647 w 485"/>
              <a:gd name="T43" fmla="*/ 2147483647 h 468"/>
              <a:gd name="T44" fmla="*/ 2147483647 w 485"/>
              <a:gd name="T45" fmla="*/ 2147483647 h 468"/>
              <a:gd name="T46" fmla="*/ 2147483647 w 485"/>
              <a:gd name="T47" fmla="*/ 2147483647 h 468"/>
              <a:gd name="T48" fmla="*/ 2147483647 w 485"/>
              <a:gd name="T49" fmla="*/ 2147483647 h 468"/>
              <a:gd name="T50" fmla="*/ 2147483647 w 485"/>
              <a:gd name="T51" fmla="*/ 2147483647 h 468"/>
              <a:gd name="T52" fmla="*/ 2147483647 w 485"/>
              <a:gd name="T53" fmla="*/ 2147483647 h 468"/>
              <a:gd name="T54" fmla="*/ 2147483647 w 485"/>
              <a:gd name="T55" fmla="*/ 2147483647 h 468"/>
              <a:gd name="T56" fmla="*/ 2147483647 w 485"/>
              <a:gd name="T57" fmla="*/ 2147483647 h 468"/>
              <a:gd name="T58" fmla="*/ 2147483647 w 485"/>
              <a:gd name="T59" fmla="*/ 2147483647 h 468"/>
              <a:gd name="T60" fmla="*/ 2147483647 w 485"/>
              <a:gd name="T61" fmla="*/ 2147483647 h 468"/>
              <a:gd name="T62" fmla="*/ 2147483647 w 485"/>
              <a:gd name="T63" fmla="*/ 2147483647 h 468"/>
              <a:gd name="T64" fmla="*/ 2147483647 w 485"/>
              <a:gd name="T65" fmla="*/ 2147483647 h 468"/>
              <a:gd name="T66" fmla="*/ 2147483647 w 485"/>
              <a:gd name="T67" fmla="*/ 2147483647 h 468"/>
              <a:gd name="T68" fmla="*/ 2147483647 w 485"/>
              <a:gd name="T69" fmla="*/ 2147483647 h 468"/>
              <a:gd name="T70" fmla="*/ 2147483647 w 485"/>
              <a:gd name="T71" fmla="*/ 2147483647 h 468"/>
              <a:gd name="T72" fmla="*/ 2147483647 w 485"/>
              <a:gd name="T73" fmla="*/ 2147483647 h 468"/>
              <a:gd name="T74" fmla="*/ 2147483647 w 485"/>
              <a:gd name="T75" fmla="*/ 2147483647 h 468"/>
              <a:gd name="T76" fmla="*/ 2147483647 w 485"/>
              <a:gd name="T77" fmla="*/ 2147483647 h 468"/>
              <a:gd name="T78" fmla="*/ 2147483647 w 485"/>
              <a:gd name="T79" fmla="*/ 2147483647 h 468"/>
              <a:gd name="T80" fmla="*/ 2147483647 w 485"/>
              <a:gd name="T81" fmla="*/ 2147483647 h 468"/>
              <a:gd name="T82" fmla="*/ 2147483647 w 485"/>
              <a:gd name="T83" fmla="*/ 2147483647 h 468"/>
              <a:gd name="T84" fmla="*/ 2147483647 w 485"/>
              <a:gd name="T85" fmla="*/ 2147483647 h 468"/>
              <a:gd name="T86" fmla="*/ 2147483647 w 485"/>
              <a:gd name="T87" fmla="*/ 2147483647 h 468"/>
              <a:gd name="T88" fmla="*/ 2147483647 w 485"/>
              <a:gd name="T89" fmla="*/ 2147483647 h 468"/>
              <a:gd name="T90" fmla="*/ 2147483647 w 485"/>
              <a:gd name="T91" fmla="*/ 2147483647 h 468"/>
              <a:gd name="T92" fmla="*/ 2147483647 w 485"/>
              <a:gd name="T93" fmla="*/ 2147483647 h 468"/>
              <a:gd name="T94" fmla="*/ 2147483647 w 485"/>
              <a:gd name="T95" fmla="*/ 2147483647 h 468"/>
              <a:gd name="T96" fmla="*/ 2147483647 w 485"/>
              <a:gd name="T97" fmla="*/ 2147483647 h 468"/>
              <a:gd name="T98" fmla="*/ 2147483647 w 485"/>
              <a:gd name="T99" fmla="*/ 2147483647 h 468"/>
              <a:gd name="T100" fmla="*/ 2147483647 w 485"/>
              <a:gd name="T101" fmla="*/ 2147483647 h 468"/>
              <a:gd name="T102" fmla="*/ 2147483647 w 485"/>
              <a:gd name="T103" fmla="*/ 2147483647 h 468"/>
              <a:gd name="T104" fmla="*/ 2147483647 w 485"/>
              <a:gd name="T105" fmla="*/ 2147483647 h 468"/>
              <a:gd name="T106" fmla="*/ 2147483647 w 485"/>
              <a:gd name="T107" fmla="*/ 2147483647 h 468"/>
              <a:gd name="T108" fmla="*/ 2147483647 w 485"/>
              <a:gd name="T109" fmla="*/ 2147483647 h 468"/>
              <a:gd name="T110" fmla="*/ 2147483647 w 485"/>
              <a:gd name="T111" fmla="*/ 2147483647 h 468"/>
              <a:gd name="T112" fmla="*/ 2147483647 w 485"/>
              <a:gd name="T113" fmla="*/ 2147483647 h 468"/>
              <a:gd name="T114" fmla="*/ 0 w 485"/>
              <a:gd name="T115" fmla="*/ 2147483647 h 468"/>
              <a:gd name="T116" fmla="*/ 2147483647 w 485"/>
              <a:gd name="T117" fmla="*/ 2147483647 h 468"/>
              <a:gd name="T118" fmla="*/ 2147483647 w 485"/>
              <a:gd name="T119" fmla="*/ 2147483647 h 468"/>
              <a:gd name="T120" fmla="*/ 2147483647 w 485"/>
              <a:gd name="T121" fmla="*/ 2147483647 h 468"/>
              <a:gd name="T122" fmla="*/ 2147483647 w 485"/>
              <a:gd name="T123" fmla="*/ 2147483647 h 468"/>
              <a:gd name="T124" fmla="*/ 2147483647 w 485"/>
              <a:gd name="T125" fmla="*/ 2147483647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3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856028" y="2195140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4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998903" y="2177678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5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035415" y="2185615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6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568815" y="2371353"/>
            <a:ext cx="41275" cy="57150"/>
          </a:xfrm>
          <a:custGeom>
            <a:avLst/>
            <a:gdLst>
              <a:gd name="T0" fmla="*/ 2147483647 w 100"/>
              <a:gd name="T1" fmla="*/ 0 h 42"/>
              <a:gd name="T2" fmla="*/ 2147483647 w 100"/>
              <a:gd name="T3" fmla="*/ 2147483647 h 42"/>
              <a:gd name="T4" fmla="*/ 2147483647 w 100"/>
              <a:gd name="T5" fmla="*/ 2147483647 h 42"/>
              <a:gd name="T6" fmla="*/ 2147483647 w 100"/>
              <a:gd name="T7" fmla="*/ 2147483647 h 42"/>
              <a:gd name="T8" fmla="*/ 2147483647 w 100"/>
              <a:gd name="T9" fmla="*/ 2147483647 h 42"/>
              <a:gd name="T10" fmla="*/ 2147483647 w 100"/>
              <a:gd name="T11" fmla="*/ 2147483647 h 42"/>
              <a:gd name="T12" fmla="*/ 2147483647 w 100"/>
              <a:gd name="T13" fmla="*/ 2147483647 h 42"/>
              <a:gd name="T14" fmla="*/ 2147483647 w 100"/>
              <a:gd name="T15" fmla="*/ 2147483647 h 42"/>
              <a:gd name="T16" fmla="*/ 2147483647 w 100"/>
              <a:gd name="T17" fmla="*/ 2147483647 h 42"/>
              <a:gd name="T18" fmla="*/ 2147483647 w 100"/>
              <a:gd name="T19" fmla="*/ 2147483647 h 42"/>
              <a:gd name="T20" fmla="*/ 2147483647 w 100"/>
              <a:gd name="T21" fmla="*/ 2147483647 h 42"/>
              <a:gd name="T22" fmla="*/ 2147483647 w 100"/>
              <a:gd name="T23" fmla="*/ 2147483647 h 42"/>
              <a:gd name="T24" fmla="*/ 2147483647 w 100"/>
              <a:gd name="T25" fmla="*/ 2147483647 h 42"/>
              <a:gd name="T26" fmla="*/ 2147483647 w 100"/>
              <a:gd name="T27" fmla="*/ 2147483647 h 42"/>
              <a:gd name="T28" fmla="*/ 0 w 100"/>
              <a:gd name="T29" fmla="*/ 2147483647 h 42"/>
              <a:gd name="T30" fmla="*/ 2147483647 w 100"/>
              <a:gd name="T31" fmla="*/ 2147483647 h 42"/>
              <a:gd name="T32" fmla="*/ 2147483647 w 100"/>
              <a:gd name="T33" fmla="*/ 2147483647 h 42"/>
              <a:gd name="T34" fmla="*/ 2147483647 w 100"/>
              <a:gd name="T35" fmla="*/ 2147483647 h 42"/>
              <a:gd name="T36" fmla="*/ 2147483647 w 100"/>
              <a:gd name="T37" fmla="*/ 2147483647 h 42"/>
              <a:gd name="T38" fmla="*/ 2147483647 w 100"/>
              <a:gd name="T39" fmla="*/ 2147483647 h 42"/>
              <a:gd name="T40" fmla="*/ 2147483647 w 100"/>
              <a:gd name="T41" fmla="*/ 2147483647 h 42"/>
              <a:gd name="T42" fmla="*/ 2147483647 w 100"/>
              <a:gd name="T43" fmla="*/ 2147483647 h 42"/>
              <a:gd name="T44" fmla="*/ 2147483647 w 100"/>
              <a:gd name="T45" fmla="*/ 2147483647 h 42"/>
              <a:gd name="T46" fmla="*/ 2147483647 w 100"/>
              <a:gd name="T47" fmla="*/ 2147483647 h 42"/>
              <a:gd name="T48" fmla="*/ 2147483647 w 100"/>
              <a:gd name="T49" fmla="*/ 2147483647 h 42"/>
              <a:gd name="T50" fmla="*/ 2147483647 w 100"/>
              <a:gd name="T51" fmla="*/ 0 h 42"/>
              <a:gd name="T52" fmla="*/ 2147483647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7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478328" y="2230065"/>
            <a:ext cx="15875" cy="58738"/>
          </a:xfrm>
          <a:custGeom>
            <a:avLst/>
            <a:gdLst>
              <a:gd name="T0" fmla="*/ 2147483647 w 40"/>
              <a:gd name="T1" fmla="*/ 2147483647 h 5"/>
              <a:gd name="T2" fmla="*/ 0 w 40"/>
              <a:gd name="T3" fmla="*/ 2147483647 h 5"/>
              <a:gd name="T4" fmla="*/ 2147483647 w 40"/>
              <a:gd name="T5" fmla="*/ 2147483647 h 5"/>
              <a:gd name="T6" fmla="*/ 2147483647 w 40"/>
              <a:gd name="T7" fmla="*/ 2147483647 h 5"/>
              <a:gd name="T8" fmla="*/ 2147483647 w 40"/>
              <a:gd name="T9" fmla="*/ 0 h 5"/>
              <a:gd name="T10" fmla="*/ 2147483647 w 40"/>
              <a:gd name="T11" fmla="*/ 0 h 5"/>
              <a:gd name="T12" fmla="*/ 2147483647 w 40"/>
              <a:gd name="T13" fmla="*/ 0 h 5"/>
              <a:gd name="T14" fmla="*/ 2147483647 w 40"/>
              <a:gd name="T15" fmla="*/ 2147483647 h 5"/>
              <a:gd name="T16" fmla="*/ 2147483647 w 40"/>
              <a:gd name="T17" fmla="*/ 2147483647 h 5"/>
              <a:gd name="T18" fmla="*/ 2147483647 w 40"/>
              <a:gd name="T19" fmla="*/ 2147483647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8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500553" y="2188790"/>
            <a:ext cx="14287" cy="60325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0 w 33"/>
              <a:gd name="T17" fmla="*/ 2147483647 h 31"/>
              <a:gd name="T18" fmla="*/ 0 w 33"/>
              <a:gd name="T19" fmla="*/ 2147483647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9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645015" y="2304678"/>
            <a:ext cx="17463" cy="57150"/>
          </a:xfrm>
          <a:custGeom>
            <a:avLst/>
            <a:gdLst>
              <a:gd name="T0" fmla="*/ 2147483647 w 41"/>
              <a:gd name="T1" fmla="*/ 0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2147483647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0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0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698990" y="2188790"/>
            <a:ext cx="93663" cy="60325"/>
          </a:xfrm>
          <a:custGeom>
            <a:avLst/>
            <a:gdLst>
              <a:gd name="T0" fmla="*/ 2147483647 w 213"/>
              <a:gd name="T1" fmla="*/ 0 h 62"/>
              <a:gd name="T2" fmla="*/ 2147483647 w 213"/>
              <a:gd name="T3" fmla="*/ 0 h 62"/>
              <a:gd name="T4" fmla="*/ 2147483647 w 213"/>
              <a:gd name="T5" fmla="*/ 2147483647 h 62"/>
              <a:gd name="T6" fmla="*/ 2147483647 w 213"/>
              <a:gd name="T7" fmla="*/ 2147483647 h 62"/>
              <a:gd name="T8" fmla="*/ 2147483647 w 213"/>
              <a:gd name="T9" fmla="*/ 2147483647 h 62"/>
              <a:gd name="T10" fmla="*/ 2147483647 w 213"/>
              <a:gd name="T11" fmla="*/ 2147483647 h 62"/>
              <a:gd name="T12" fmla="*/ 2147483647 w 213"/>
              <a:gd name="T13" fmla="*/ 2147483647 h 62"/>
              <a:gd name="T14" fmla="*/ 2147483647 w 213"/>
              <a:gd name="T15" fmla="*/ 2147483647 h 62"/>
              <a:gd name="T16" fmla="*/ 2147483647 w 213"/>
              <a:gd name="T17" fmla="*/ 2147483647 h 62"/>
              <a:gd name="T18" fmla="*/ 2147483647 w 213"/>
              <a:gd name="T19" fmla="*/ 2147483647 h 62"/>
              <a:gd name="T20" fmla="*/ 2147483647 w 213"/>
              <a:gd name="T21" fmla="*/ 2147483647 h 62"/>
              <a:gd name="T22" fmla="*/ 2147483647 w 213"/>
              <a:gd name="T23" fmla="*/ 2147483647 h 62"/>
              <a:gd name="T24" fmla="*/ 2147483647 w 213"/>
              <a:gd name="T25" fmla="*/ 2147483647 h 62"/>
              <a:gd name="T26" fmla="*/ 2147483647 w 213"/>
              <a:gd name="T27" fmla="*/ 2147483647 h 62"/>
              <a:gd name="T28" fmla="*/ 2147483647 w 213"/>
              <a:gd name="T29" fmla="*/ 2147483647 h 62"/>
              <a:gd name="T30" fmla="*/ 2147483647 w 213"/>
              <a:gd name="T31" fmla="*/ 2147483647 h 62"/>
              <a:gd name="T32" fmla="*/ 2147483647 w 213"/>
              <a:gd name="T33" fmla="*/ 2147483647 h 62"/>
              <a:gd name="T34" fmla="*/ 2147483647 w 213"/>
              <a:gd name="T35" fmla="*/ 2147483647 h 62"/>
              <a:gd name="T36" fmla="*/ 2147483647 w 213"/>
              <a:gd name="T37" fmla="*/ 2147483647 h 62"/>
              <a:gd name="T38" fmla="*/ 2147483647 w 213"/>
              <a:gd name="T39" fmla="*/ 2147483647 h 62"/>
              <a:gd name="T40" fmla="*/ 2147483647 w 213"/>
              <a:gd name="T41" fmla="*/ 2147483647 h 62"/>
              <a:gd name="T42" fmla="*/ 2147483647 w 213"/>
              <a:gd name="T43" fmla="*/ 2147483647 h 62"/>
              <a:gd name="T44" fmla="*/ 2147483647 w 213"/>
              <a:gd name="T45" fmla="*/ 2147483647 h 62"/>
              <a:gd name="T46" fmla="*/ 2147483647 w 213"/>
              <a:gd name="T47" fmla="*/ 2147483647 h 62"/>
              <a:gd name="T48" fmla="*/ 2147483647 w 213"/>
              <a:gd name="T49" fmla="*/ 2147483647 h 62"/>
              <a:gd name="T50" fmla="*/ 2147483647 w 213"/>
              <a:gd name="T51" fmla="*/ 2147483647 h 62"/>
              <a:gd name="T52" fmla="*/ 0 w 213"/>
              <a:gd name="T53" fmla="*/ 2147483647 h 62"/>
              <a:gd name="T54" fmla="*/ 2147483647 w 213"/>
              <a:gd name="T55" fmla="*/ 2147483647 h 62"/>
              <a:gd name="T56" fmla="*/ 2147483647 w 213"/>
              <a:gd name="T57" fmla="*/ 2147483647 h 62"/>
              <a:gd name="T58" fmla="*/ 2147483647 w 213"/>
              <a:gd name="T59" fmla="*/ 2147483647 h 62"/>
              <a:gd name="T60" fmla="*/ 2147483647 w 213"/>
              <a:gd name="T61" fmla="*/ 2147483647 h 62"/>
              <a:gd name="T62" fmla="*/ 2147483647 w 213"/>
              <a:gd name="T63" fmla="*/ 2147483647 h 62"/>
              <a:gd name="T64" fmla="*/ 2147483647 w 213"/>
              <a:gd name="T65" fmla="*/ 2147483647 h 62"/>
              <a:gd name="T66" fmla="*/ 2147483647 w 213"/>
              <a:gd name="T67" fmla="*/ 2147483647 h 62"/>
              <a:gd name="T68" fmla="*/ 2147483647 w 213"/>
              <a:gd name="T69" fmla="*/ 2147483647 h 62"/>
              <a:gd name="T70" fmla="*/ 2147483647 w 213"/>
              <a:gd name="T71" fmla="*/ 2147483647 h 62"/>
              <a:gd name="T72" fmla="*/ 2147483647 w 213"/>
              <a:gd name="T73" fmla="*/ 2147483647 h 62"/>
              <a:gd name="T74" fmla="*/ 2147483647 w 213"/>
              <a:gd name="T75" fmla="*/ 0 h 62"/>
              <a:gd name="T76" fmla="*/ 2147483647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1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759315" y="2214190"/>
            <a:ext cx="103188" cy="60325"/>
          </a:xfrm>
          <a:custGeom>
            <a:avLst/>
            <a:gdLst>
              <a:gd name="T0" fmla="*/ 2147483647 w 239"/>
              <a:gd name="T1" fmla="*/ 0 h 56"/>
              <a:gd name="T2" fmla="*/ 2147483647 w 239"/>
              <a:gd name="T3" fmla="*/ 2147483647 h 56"/>
              <a:gd name="T4" fmla="*/ 2147483647 w 239"/>
              <a:gd name="T5" fmla="*/ 2147483647 h 56"/>
              <a:gd name="T6" fmla="*/ 2147483647 w 239"/>
              <a:gd name="T7" fmla="*/ 2147483647 h 56"/>
              <a:gd name="T8" fmla="*/ 2147483647 w 239"/>
              <a:gd name="T9" fmla="*/ 2147483647 h 56"/>
              <a:gd name="T10" fmla="*/ 2147483647 w 239"/>
              <a:gd name="T11" fmla="*/ 2147483647 h 56"/>
              <a:gd name="T12" fmla="*/ 2147483647 w 239"/>
              <a:gd name="T13" fmla="*/ 2147483647 h 56"/>
              <a:gd name="T14" fmla="*/ 2147483647 w 239"/>
              <a:gd name="T15" fmla="*/ 2147483647 h 56"/>
              <a:gd name="T16" fmla="*/ 0 w 239"/>
              <a:gd name="T17" fmla="*/ 2147483647 h 56"/>
              <a:gd name="T18" fmla="*/ 2147483647 w 239"/>
              <a:gd name="T19" fmla="*/ 2147483647 h 56"/>
              <a:gd name="T20" fmla="*/ 2147483647 w 239"/>
              <a:gd name="T21" fmla="*/ 2147483647 h 56"/>
              <a:gd name="T22" fmla="*/ 2147483647 w 239"/>
              <a:gd name="T23" fmla="*/ 2147483647 h 56"/>
              <a:gd name="T24" fmla="*/ 2147483647 w 239"/>
              <a:gd name="T25" fmla="*/ 2147483647 h 56"/>
              <a:gd name="T26" fmla="*/ 2147483647 w 239"/>
              <a:gd name="T27" fmla="*/ 2147483647 h 56"/>
              <a:gd name="T28" fmla="*/ 2147483647 w 239"/>
              <a:gd name="T29" fmla="*/ 2147483647 h 56"/>
              <a:gd name="T30" fmla="*/ 2147483647 w 239"/>
              <a:gd name="T31" fmla="*/ 2147483647 h 56"/>
              <a:gd name="T32" fmla="*/ 2147483647 w 239"/>
              <a:gd name="T33" fmla="*/ 2147483647 h 56"/>
              <a:gd name="T34" fmla="*/ 2147483647 w 239"/>
              <a:gd name="T35" fmla="*/ 2147483647 h 56"/>
              <a:gd name="T36" fmla="*/ 2147483647 w 239"/>
              <a:gd name="T37" fmla="*/ 2147483647 h 56"/>
              <a:gd name="T38" fmla="*/ 2147483647 w 239"/>
              <a:gd name="T39" fmla="*/ 2147483647 h 56"/>
              <a:gd name="T40" fmla="*/ 2147483647 w 239"/>
              <a:gd name="T41" fmla="*/ 2147483647 h 56"/>
              <a:gd name="T42" fmla="*/ 2147483647 w 239"/>
              <a:gd name="T43" fmla="*/ 2147483647 h 56"/>
              <a:gd name="T44" fmla="*/ 2147483647 w 239"/>
              <a:gd name="T45" fmla="*/ 2147483647 h 56"/>
              <a:gd name="T46" fmla="*/ 2147483647 w 239"/>
              <a:gd name="T47" fmla="*/ 2147483647 h 56"/>
              <a:gd name="T48" fmla="*/ 2147483647 w 239"/>
              <a:gd name="T49" fmla="*/ 2147483647 h 56"/>
              <a:gd name="T50" fmla="*/ 2147483647 w 239"/>
              <a:gd name="T51" fmla="*/ 2147483647 h 56"/>
              <a:gd name="T52" fmla="*/ 2147483647 w 239"/>
              <a:gd name="T53" fmla="*/ 2147483647 h 56"/>
              <a:gd name="T54" fmla="*/ 2147483647 w 239"/>
              <a:gd name="T55" fmla="*/ 2147483647 h 56"/>
              <a:gd name="T56" fmla="*/ 2147483647 w 239"/>
              <a:gd name="T57" fmla="*/ 2147483647 h 56"/>
              <a:gd name="T58" fmla="*/ 2147483647 w 239"/>
              <a:gd name="T59" fmla="*/ 2147483647 h 56"/>
              <a:gd name="T60" fmla="*/ 2147483647 w 239"/>
              <a:gd name="T61" fmla="*/ 2147483647 h 56"/>
              <a:gd name="T62" fmla="*/ 2147483647 w 239"/>
              <a:gd name="T63" fmla="*/ 2147483647 h 56"/>
              <a:gd name="T64" fmla="*/ 2147483647 w 239"/>
              <a:gd name="T65" fmla="*/ 2147483647 h 56"/>
              <a:gd name="T66" fmla="*/ 2147483647 w 239"/>
              <a:gd name="T67" fmla="*/ 2147483647 h 56"/>
              <a:gd name="T68" fmla="*/ 2147483647 w 239"/>
              <a:gd name="T69" fmla="*/ 2147483647 h 56"/>
              <a:gd name="T70" fmla="*/ 2147483647 w 239"/>
              <a:gd name="T71" fmla="*/ 2147483647 h 56"/>
              <a:gd name="T72" fmla="*/ 2147483647 w 239"/>
              <a:gd name="T73" fmla="*/ 2147483647 h 56"/>
              <a:gd name="T74" fmla="*/ 2147483647 w 239"/>
              <a:gd name="T75" fmla="*/ 2147483647 h 56"/>
              <a:gd name="T76" fmla="*/ 2147483647 w 239"/>
              <a:gd name="T77" fmla="*/ 2147483647 h 56"/>
              <a:gd name="T78" fmla="*/ 2147483647 w 239"/>
              <a:gd name="T79" fmla="*/ 2147483647 h 56"/>
              <a:gd name="T80" fmla="*/ 2147483647 w 239"/>
              <a:gd name="T81" fmla="*/ 2147483647 h 56"/>
              <a:gd name="T82" fmla="*/ 2147483647 w 239"/>
              <a:gd name="T83" fmla="*/ 2147483647 h 56"/>
              <a:gd name="T84" fmla="*/ 2147483647 w 239"/>
              <a:gd name="T85" fmla="*/ 2147483647 h 56"/>
              <a:gd name="T86" fmla="*/ 2147483647 w 239"/>
              <a:gd name="T87" fmla="*/ 0 h 56"/>
              <a:gd name="T88" fmla="*/ 2147483647 w 239"/>
              <a:gd name="T89" fmla="*/ 2147483647 h 56"/>
              <a:gd name="T90" fmla="*/ 2147483647 w 239"/>
              <a:gd name="T91" fmla="*/ 2147483647 h 56"/>
              <a:gd name="T92" fmla="*/ 2147483647 w 239"/>
              <a:gd name="T93" fmla="*/ 2147483647 h 56"/>
              <a:gd name="T94" fmla="*/ 2147483647 w 239"/>
              <a:gd name="T95" fmla="*/ 2147483647 h 56"/>
              <a:gd name="T96" fmla="*/ 2147483647 w 239"/>
              <a:gd name="T97" fmla="*/ 2147483647 h 56"/>
              <a:gd name="T98" fmla="*/ 2147483647 w 239"/>
              <a:gd name="T99" fmla="*/ 2147483647 h 56"/>
              <a:gd name="T100" fmla="*/ 2147483647 w 239"/>
              <a:gd name="T101" fmla="*/ 2147483647 h 56"/>
              <a:gd name="T102" fmla="*/ 2147483647 w 239"/>
              <a:gd name="T103" fmla="*/ 2147483647 h 56"/>
              <a:gd name="T104" fmla="*/ 2147483647 w 239"/>
              <a:gd name="T105" fmla="*/ 2147483647 h 56"/>
              <a:gd name="T106" fmla="*/ 2147483647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2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876790" y="2228478"/>
            <a:ext cx="82550" cy="57150"/>
          </a:xfrm>
          <a:custGeom>
            <a:avLst/>
            <a:gdLst>
              <a:gd name="T0" fmla="*/ 2147483647 w 187"/>
              <a:gd name="T1" fmla="*/ 2147483647 h 80"/>
              <a:gd name="T2" fmla="*/ 2147483647 w 187"/>
              <a:gd name="T3" fmla="*/ 0 h 80"/>
              <a:gd name="T4" fmla="*/ 2147483647 w 187"/>
              <a:gd name="T5" fmla="*/ 2147483647 h 80"/>
              <a:gd name="T6" fmla="*/ 2147483647 w 187"/>
              <a:gd name="T7" fmla="*/ 2147483647 h 80"/>
              <a:gd name="T8" fmla="*/ 2147483647 w 187"/>
              <a:gd name="T9" fmla="*/ 2147483647 h 80"/>
              <a:gd name="T10" fmla="*/ 2147483647 w 187"/>
              <a:gd name="T11" fmla="*/ 2147483647 h 80"/>
              <a:gd name="T12" fmla="*/ 2147483647 w 187"/>
              <a:gd name="T13" fmla="*/ 2147483647 h 80"/>
              <a:gd name="T14" fmla="*/ 2147483647 w 187"/>
              <a:gd name="T15" fmla="*/ 2147483647 h 80"/>
              <a:gd name="T16" fmla="*/ 2147483647 w 187"/>
              <a:gd name="T17" fmla="*/ 2147483647 h 80"/>
              <a:gd name="T18" fmla="*/ 2147483647 w 187"/>
              <a:gd name="T19" fmla="*/ 2147483647 h 80"/>
              <a:gd name="T20" fmla="*/ 2147483647 w 187"/>
              <a:gd name="T21" fmla="*/ 2147483647 h 80"/>
              <a:gd name="T22" fmla="*/ 2147483647 w 187"/>
              <a:gd name="T23" fmla="*/ 2147483647 h 80"/>
              <a:gd name="T24" fmla="*/ 2147483647 w 187"/>
              <a:gd name="T25" fmla="*/ 2147483647 h 80"/>
              <a:gd name="T26" fmla="*/ 2147483647 w 187"/>
              <a:gd name="T27" fmla="*/ 2147483647 h 80"/>
              <a:gd name="T28" fmla="*/ 2147483647 w 187"/>
              <a:gd name="T29" fmla="*/ 2147483647 h 80"/>
              <a:gd name="T30" fmla="*/ 2147483647 w 187"/>
              <a:gd name="T31" fmla="*/ 2147483647 h 80"/>
              <a:gd name="T32" fmla="*/ 2147483647 w 187"/>
              <a:gd name="T33" fmla="*/ 2147483647 h 80"/>
              <a:gd name="T34" fmla="*/ 2147483647 w 187"/>
              <a:gd name="T35" fmla="*/ 2147483647 h 80"/>
              <a:gd name="T36" fmla="*/ 2147483647 w 187"/>
              <a:gd name="T37" fmla="*/ 2147483647 h 80"/>
              <a:gd name="T38" fmla="*/ 2147483647 w 187"/>
              <a:gd name="T39" fmla="*/ 2147483647 h 80"/>
              <a:gd name="T40" fmla="*/ 2147483647 w 187"/>
              <a:gd name="T41" fmla="*/ 2147483647 h 80"/>
              <a:gd name="T42" fmla="*/ 2147483647 w 187"/>
              <a:gd name="T43" fmla="*/ 2147483647 h 80"/>
              <a:gd name="T44" fmla="*/ 2147483647 w 187"/>
              <a:gd name="T45" fmla="*/ 2147483647 h 80"/>
              <a:gd name="T46" fmla="*/ 2147483647 w 187"/>
              <a:gd name="T47" fmla="*/ 2147483647 h 80"/>
              <a:gd name="T48" fmla="*/ 2147483647 w 187"/>
              <a:gd name="T49" fmla="*/ 2147483647 h 80"/>
              <a:gd name="T50" fmla="*/ 2147483647 w 187"/>
              <a:gd name="T51" fmla="*/ 2147483647 h 80"/>
              <a:gd name="T52" fmla="*/ 2147483647 w 187"/>
              <a:gd name="T53" fmla="*/ 2147483647 h 80"/>
              <a:gd name="T54" fmla="*/ 2147483647 w 187"/>
              <a:gd name="T55" fmla="*/ 2147483647 h 80"/>
              <a:gd name="T56" fmla="*/ 2147483647 w 187"/>
              <a:gd name="T57" fmla="*/ 2147483647 h 80"/>
              <a:gd name="T58" fmla="*/ 2147483647 w 187"/>
              <a:gd name="T59" fmla="*/ 2147483647 h 80"/>
              <a:gd name="T60" fmla="*/ 2147483647 w 187"/>
              <a:gd name="T61" fmla="*/ 2147483647 h 80"/>
              <a:gd name="T62" fmla="*/ 2147483647 w 187"/>
              <a:gd name="T63" fmla="*/ 2147483647 h 80"/>
              <a:gd name="T64" fmla="*/ 2147483647 w 187"/>
              <a:gd name="T65" fmla="*/ 2147483647 h 80"/>
              <a:gd name="T66" fmla="*/ 0 w 187"/>
              <a:gd name="T67" fmla="*/ 2147483647 h 80"/>
              <a:gd name="T68" fmla="*/ 2147483647 w 187"/>
              <a:gd name="T69" fmla="*/ 2147483647 h 80"/>
              <a:gd name="T70" fmla="*/ 2147483647 w 187"/>
              <a:gd name="T71" fmla="*/ 2147483647 h 80"/>
              <a:gd name="T72" fmla="*/ 2147483647 w 187"/>
              <a:gd name="T73" fmla="*/ 2147483647 h 80"/>
              <a:gd name="T74" fmla="*/ 2147483647 w 187"/>
              <a:gd name="T75" fmla="*/ 2147483647 h 80"/>
              <a:gd name="T76" fmla="*/ 2147483647 w 187"/>
              <a:gd name="T77" fmla="*/ 2147483647 h 80"/>
              <a:gd name="T78" fmla="*/ 2147483647 w 187"/>
              <a:gd name="T79" fmla="*/ 2147483647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3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403840" y="2353890"/>
            <a:ext cx="79375" cy="58738"/>
          </a:xfrm>
          <a:custGeom>
            <a:avLst/>
            <a:gdLst>
              <a:gd name="T0" fmla="*/ 2147483647 w 183"/>
              <a:gd name="T1" fmla="*/ 0 h 73"/>
              <a:gd name="T2" fmla="*/ 2147483647 w 183"/>
              <a:gd name="T3" fmla="*/ 0 h 73"/>
              <a:gd name="T4" fmla="*/ 2147483647 w 183"/>
              <a:gd name="T5" fmla="*/ 2147483647 h 73"/>
              <a:gd name="T6" fmla="*/ 2147483647 w 183"/>
              <a:gd name="T7" fmla="*/ 2147483647 h 73"/>
              <a:gd name="T8" fmla="*/ 2147483647 w 183"/>
              <a:gd name="T9" fmla="*/ 2147483647 h 73"/>
              <a:gd name="T10" fmla="*/ 2147483647 w 183"/>
              <a:gd name="T11" fmla="*/ 2147483647 h 73"/>
              <a:gd name="T12" fmla="*/ 2147483647 w 183"/>
              <a:gd name="T13" fmla="*/ 2147483647 h 73"/>
              <a:gd name="T14" fmla="*/ 2147483647 w 183"/>
              <a:gd name="T15" fmla="*/ 2147483647 h 73"/>
              <a:gd name="T16" fmla="*/ 2147483647 w 183"/>
              <a:gd name="T17" fmla="*/ 2147483647 h 73"/>
              <a:gd name="T18" fmla="*/ 2147483647 w 183"/>
              <a:gd name="T19" fmla="*/ 2147483647 h 73"/>
              <a:gd name="T20" fmla="*/ 2147483647 w 183"/>
              <a:gd name="T21" fmla="*/ 2147483647 h 73"/>
              <a:gd name="T22" fmla="*/ 2147483647 w 183"/>
              <a:gd name="T23" fmla="*/ 2147483647 h 73"/>
              <a:gd name="T24" fmla="*/ 2147483647 w 183"/>
              <a:gd name="T25" fmla="*/ 2147483647 h 73"/>
              <a:gd name="T26" fmla="*/ 2147483647 w 183"/>
              <a:gd name="T27" fmla="*/ 2147483647 h 73"/>
              <a:gd name="T28" fmla="*/ 2147483647 w 183"/>
              <a:gd name="T29" fmla="*/ 2147483647 h 73"/>
              <a:gd name="T30" fmla="*/ 2147483647 w 183"/>
              <a:gd name="T31" fmla="*/ 2147483647 h 73"/>
              <a:gd name="T32" fmla="*/ 2147483647 w 183"/>
              <a:gd name="T33" fmla="*/ 2147483647 h 73"/>
              <a:gd name="T34" fmla="*/ 2147483647 w 183"/>
              <a:gd name="T35" fmla="*/ 2147483647 h 73"/>
              <a:gd name="T36" fmla="*/ 2147483647 w 183"/>
              <a:gd name="T37" fmla="*/ 2147483647 h 73"/>
              <a:gd name="T38" fmla="*/ 2147483647 w 183"/>
              <a:gd name="T39" fmla="*/ 2147483647 h 73"/>
              <a:gd name="T40" fmla="*/ 2147483647 w 183"/>
              <a:gd name="T41" fmla="*/ 2147483647 h 73"/>
              <a:gd name="T42" fmla="*/ 2147483647 w 183"/>
              <a:gd name="T43" fmla="*/ 2147483647 h 73"/>
              <a:gd name="T44" fmla="*/ 2147483647 w 183"/>
              <a:gd name="T45" fmla="*/ 2147483647 h 73"/>
              <a:gd name="T46" fmla="*/ 2147483647 w 183"/>
              <a:gd name="T47" fmla="*/ 2147483647 h 73"/>
              <a:gd name="T48" fmla="*/ 2147483647 w 183"/>
              <a:gd name="T49" fmla="*/ 2147483647 h 73"/>
              <a:gd name="T50" fmla="*/ 0 w 183"/>
              <a:gd name="T51" fmla="*/ 2147483647 h 73"/>
              <a:gd name="T52" fmla="*/ 2147483647 w 183"/>
              <a:gd name="T53" fmla="*/ 2147483647 h 73"/>
              <a:gd name="T54" fmla="*/ 2147483647 w 183"/>
              <a:gd name="T55" fmla="*/ 2147483647 h 73"/>
              <a:gd name="T56" fmla="*/ 2147483647 w 183"/>
              <a:gd name="T57" fmla="*/ 2147483647 h 73"/>
              <a:gd name="T58" fmla="*/ 2147483647 w 183"/>
              <a:gd name="T59" fmla="*/ 2147483647 h 73"/>
              <a:gd name="T60" fmla="*/ 2147483647 w 183"/>
              <a:gd name="T61" fmla="*/ 2147483647 h 73"/>
              <a:gd name="T62" fmla="*/ 2147483647 w 183"/>
              <a:gd name="T63" fmla="*/ 0 h 73"/>
              <a:gd name="T64" fmla="*/ 2147483647 w 183"/>
              <a:gd name="T65" fmla="*/ 0 h 73"/>
              <a:gd name="T66" fmla="*/ 214748364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4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470515" y="2371353"/>
            <a:ext cx="33338" cy="57150"/>
          </a:xfrm>
          <a:custGeom>
            <a:avLst/>
            <a:gdLst>
              <a:gd name="T0" fmla="*/ 0 w 79"/>
              <a:gd name="T1" fmla="*/ 2147483647 h 42"/>
              <a:gd name="T2" fmla="*/ 2147483647 w 79"/>
              <a:gd name="T3" fmla="*/ 2147483647 h 42"/>
              <a:gd name="T4" fmla="*/ 2147483647 w 79"/>
              <a:gd name="T5" fmla="*/ 2147483647 h 42"/>
              <a:gd name="T6" fmla="*/ 2147483647 w 79"/>
              <a:gd name="T7" fmla="*/ 0 h 42"/>
              <a:gd name="T8" fmla="*/ 2147483647 w 79"/>
              <a:gd name="T9" fmla="*/ 0 h 42"/>
              <a:gd name="T10" fmla="*/ 2147483647 w 79"/>
              <a:gd name="T11" fmla="*/ 2147483647 h 42"/>
              <a:gd name="T12" fmla="*/ 2147483647 w 79"/>
              <a:gd name="T13" fmla="*/ 2147483647 h 42"/>
              <a:gd name="T14" fmla="*/ 2147483647 w 79"/>
              <a:gd name="T15" fmla="*/ 2147483647 h 42"/>
              <a:gd name="T16" fmla="*/ 2147483647 w 79"/>
              <a:gd name="T17" fmla="*/ 2147483647 h 42"/>
              <a:gd name="T18" fmla="*/ 2147483647 w 79"/>
              <a:gd name="T19" fmla="*/ 2147483647 h 42"/>
              <a:gd name="T20" fmla="*/ 2147483647 w 79"/>
              <a:gd name="T21" fmla="*/ 2147483647 h 42"/>
              <a:gd name="T22" fmla="*/ 2147483647 w 79"/>
              <a:gd name="T23" fmla="*/ 2147483647 h 42"/>
              <a:gd name="T24" fmla="*/ 2147483647 w 79"/>
              <a:gd name="T25" fmla="*/ 2147483647 h 42"/>
              <a:gd name="T26" fmla="*/ 2147483647 w 79"/>
              <a:gd name="T27" fmla="*/ 2147483647 h 42"/>
              <a:gd name="T28" fmla="*/ 2147483647 w 79"/>
              <a:gd name="T29" fmla="*/ 2147483647 h 42"/>
              <a:gd name="T30" fmla="*/ 2147483647 w 79"/>
              <a:gd name="T31" fmla="*/ 2147483647 h 42"/>
              <a:gd name="T32" fmla="*/ 2147483647 w 79"/>
              <a:gd name="T33" fmla="*/ 2147483647 h 42"/>
              <a:gd name="T34" fmla="*/ 2147483647 w 79"/>
              <a:gd name="T35" fmla="*/ 2147483647 h 42"/>
              <a:gd name="T36" fmla="*/ 2147483647 w 79"/>
              <a:gd name="T37" fmla="*/ 2147483647 h 42"/>
              <a:gd name="T38" fmla="*/ 2147483647 w 79"/>
              <a:gd name="T39" fmla="*/ 2147483647 h 42"/>
              <a:gd name="T40" fmla="*/ 2147483647 w 79"/>
              <a:gd name="T41" fmla="*/ 2147483647 h 42"/>
              <a:gd name="T42" fmla="*/ 2147483647 w 79"/>
              <a:gd name="T43" fmla="*/ 2147483647 h 42"/>
              <a:gd name="T44" fmla="*/ 2147483647 w 79"/>
              <a:gd name="T45" fmla="*/ 2147483647 h 42"/>
              <a:gd name="T46" fmla="*/ 0 w 79"/>
              <a:gd name="T47" fmla="*/ 2147483647 h 42"/>
              <a:gd name="T48" fmla="*/ 0 w 79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5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500678" y="2382465"/>
            <a:ext cx="52387" cy="58738"/>
          </a:xfrm>
          <a:custGeom>
            <a:avLst/>
            <a:gdLst>
              <a:gd name="T0" fmla="*/ 2147483647 w 113"/>
              <a:gd name="T1" fmla="*/ 2147483647 h 52"/>
              <a:gd name="T2" fmla="*/ 2147483647 w 113"/>
              <a:gd name="T3" fmla="*/ 2147483647 h 52"/>
              <a:gd name="T4" fmla="*/ 2147483647 w 113"/>
              <a:gd name="T5" fmla="*/ 2147483647 h 52"/>
              <a:gd name="T6" fmla="*/ 2147483647 w 113"/>
              <a:gd name="T7" fmla="*/ 2147483647 h 52"/>
              <a:gd name="T8" fmla="*/ 2147483647 w 113"/>
              <a:gd name="T9" fmla="*/ 2147483647 h 52"/>
              <a:gd name="T10" fmla="*/ 2147483647 w 113"/>
              <a:gd name="T11" fmla="*/ 2147483647 h 52"/>
              <a:gd name="T12" fmla="*/ 2147483647 w 113"/>
              <a:gd name="T13" fmla="*/ 2147483647 h 52"/>
              <a:gd name="T14" fmla="*/ 2147483647 w 113"/>
              <a:gd name="T15" fmla="*/ 2147483647 h 52"/>
              <a:gd name="T16" fmla="*/ 2147483647 w 113"/>
              <a:gd name="T17" fmla="*/ 2147483647 h 52"/>
              <a:gd name="T18" fmla="*/ 2147483647 w 113"/>
              <a:gd name="T19" fmla="*/ 2147483647 h 52"/>
              <a:gd name="T20" fmla="*/ 2147483647 w 113"/>
              <a:gd name="T21" fmla="*/ 2147483647 h 52"/>
              <a:gd name="T22" fmla="*/ 2147483647 w 113"/>
              <a:gd name="T23" fmla="*/ 2147483647 h 52"/>
              <a:gd name="T24" fmla="*/ 2147483647 w 113"/>
              <a:gd name="T25" fmla="*/ 2147483647 h 52"/>
              <a:gd name="T26" fmla="*/ 2147483647 w 113"/>
              <a:gd name="T27" fmla="*/ 2147483647 h 52"/>
              <a:gd name="T28" fmla="*/ 2147483647 w 113"/>
              <a:gd name="T29" fmla="*/ 2147483647 h 52"/>
              <a:gd name="T30" fmla="*/ 2147483647 w 113"/>
              <a:gd name="T31" fmla="*/ 2147483647 h 52"/>
              <a:gd name="T32" fmla="*/ 2147483647 w 113"/>
              <a:gd name="T33" fmla="*/ 2147483647 h 52"/>
              <a:gd name="T34" fmla="*/ 2147483647 w 113"/>
              <a:gd name="T35" fmla="*/ 2147483647 h 52"/>
              <a:gd name="T36" fmla="*/ 0 w 113"/>
              <a:gd name="T37" fmla="*/ 2147483647 h 52"/>
              <a:gd name="T38" fmla="*/ 2147483647 w 113"/>
              <a:gd name="T39" fmla="*/ 2147483647 h 52"/>
              <a:gd name="T40" fmla="*/ 2147483647 w 113"/>
              <a:gd name="T41" fmla="*/ 2147483647 h 52"/>
              <a:gd name="T42" fmla="*/ 2147483647 w 113"/>
              <a:gd name="T43" fmla="*/ 2147483647 h 52"/>
              <a:gd name="T44" fmla="*/ 2147483647 w 113"/>
              <a:gd name="T45" fmla="*/ 2147483647 h 52"/>
              <a:gd name="T46" fmla="*/ 2147483647 w 113"/>
              <a:gd name="T47" fmla="*/ 2147483647 h 52"/>
              <a:gd name="T48" fmla="*/ 2147483647 w 113"/>
              <a:gd name="T49" fmla="*/ 2147483647 h 52"/>
              <a:gd name="T50" fmla="*/ 2147483647 w 113"/>
              <a:gd name="T51" fmla="*/ 2147483647 h 52"/>
              <a:gd name="T52" fmla="*/ 2147483647 w 113"/>
              <a:gd name="T53" fmla="*/ 0 h 52"/>
              <a:gd name="T54" fmla="*/ 2147483647 w 113"/>
              <a:gd name="T55" fmla="*/ 0 h 52"/>
              <a:gd name="T56" fmla="*/ 2147483647 w 113"/>
              <a:gd name="T57" fmla="*/ 2147483647 h 52"/>
              <a:gd name="T58" fmla="*/ 2147483647 w 113"/>
              <a:gd name="T59" fmla="*/ 2147483647 h 52"/>
              <a:gd name="T60" fmla="*/ 2147483647 w 113"/>
              <a:gd name="T61" fmla="*/ 2147483647 h 52"/>
              <a:gd name="T62" fmla="*/ 2147483647 w 113"/>
              <a:gd name="T63" fmla="*/ 2147483647 h 52"/>
              <a:gd name="T64" fmla="*/ 2147483647 w 113"/>
              <a:gd name="T65" fmla="*/ 2147483647 h 52"/>
              <a:gd name="T66" fmla="*/ 2147483647 w 113"/>
              <a:gd name="T67" fmla="*/ 2147483647 h 52"/>
              <a:gd name="T68" fmla="*/ 2147483647 w 113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272078" y="2355478"/>
            <a:ext cx="61912" cy="58737"/>
          </a:xfrm>
          <a:custGeom>
            <a:avLst/>
            <a:gdLst>
              <a:gd name="T0" fmla="*/ 0 w 139"/>
              <a:gd name="T1" fmla="*/ 2147483647 h 40"/>
              <a:gd name="T2" fmla="*/ 2147483647 w 139"/>
              <a:gd name="T3" fmla="*/ 2147483647 h 40"/>
              <a:gd name="T4" fmla="*/ 2147483647 w 139"/>
              <a:gd name="T5" fmla="*/ 2147483647 h 40"/>
              <a:gd name="T6" fmla="*/ 2147483647 w 139"/>
              <a:gd name="T7" fmla="*/ 2147483647 h 40"/>
              <a:gd name="T8" fmla="*/ 2147483647 w 139"/>
              <a:gd name="T9" fmla="*/ 2147483647 h 40"/>
              <a:gd name="T10" fmla="*/ 2147483647 w 139"/>
              <a:gd name="T11" fmla="*/ 2147483647 h 40"/>
              <a:gd name="T12" fmla="*/ 2147483647 w 139"/>
              <a:gd name="T13" fmla="*/ 2147483647 h 40"/>
              <a:gd name="T14" fmla="*/ 2147483647 w 139"/>
              <a:gd name="T15" fmla="*/ 0 h 40"/>
              <a:gd name="T16" fmla="*/ 2147483647 w 139"/>
              <a:gd name="T17" fmla="*/ 2147483647 h 40"/>
              <a:gd name="T18" fmla="*/ 2147483647 w 139"/>
              <a:gd name="T19" fmla="*/ 2147483647 h 40"/>
              <a:gd name="T20" fmla="*/ 2147483647 w 139"/>
              <a:gd name="T21" fmla="*/ 2147483647 h 40"/>
              <a:gd name="T22" fmla="*/ 2147483647 w 139"/>
              <a:gd name="T23" fmla="*/ 2147483647 h 40"/>
              <a:gd name="T24" fmla="*/ 2147483647 w 139"/>
              <a:gd name="T25" fmla="*/ 2147483647 h 40"/>
              <a:gd name="T26" fmla="*/ 2147483647 w 139"/>
              <a:gd name="T27" fmla="*/ 2147483647 h 40"/>
              <a:gd name="T28" fmla="*/ 2147483647 w 139"/>
              <a:gd name="T29" fmla="*/ 2147483647 h 40"/>
              <a:gd name="T30" fmla="*/ 2147483647 w 139"/>
              <a:gd name="T31" fmla="*/ 2147483647 h 40"/>
              <a:gd name="T32" fmla="*/ 2147483647 w 139"/>
              <a:gd name="T33" fmla="*/ 2147483647 h 40"/>
              <a:gd name="T34" fmla="*/ 2147483647 w 139"/>
              <a:gd name="T35" fmla="*/ 2147483647 h 40"/>
              <a:gd name="T36" fmla="*/ 2147483647 w 139"/>
              <a:gd name="T37" fmla="*/ 2147483647 h 40"/>
              <a:gd name="T38" fmla="*/ 2147483647 w 139"/>
              <a:gd name="T39" fmla="*/ 2147483647 h 40"/>
              <a:gd name="T40" fmla="*/ 2147483647 w 139"/>
              <a:gd name="T41" fmla="*/ 2147483647 h 40"/>
              <a:gd name="T42" fmla="*/ 0 w 139"/>
              <a:gd name="T43" fmla="*/ 21474836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7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572115" y="2296740"/>
            <a:ext cx="139700" cy="57150"/>
          </a:xfrm>
          <a:custGeom>
            <a:avLst/>
            <a:gdLst>
              <a:gd name="T0" fmla="*/ 2147483647 w 325"/>
              <a:gd name="T1" fmla="*/ 2147483647 h 71"/>
              <a:gd name="T2" fmla="*/ 2147483647 w 325"/>
              <a:gd name="T3" fmla="*/ 2147483647 h 71"/>
              <a:gd name="T4" fmla="*/ 2147483647 w 325"/>
              <a:gd name="T5" fmla="*/ 0 h 71"/>
              <a:gd name="T6" fmla="*/ 2147483647 w 325"/>
              <a:gd name="T7" fmla="*/ 2147483647 h 71"/>
              <a:gd name="T8" fmla="*/ 2147483647 w 325"/>
              <a:gd name="T9" fmla="*/ 2147483647 h 71"/>
              <a:gd name="T10" fmla="*/ 2147483647 w 325"/>
              <a:gd name="T11" fmla="*/ 2147483647 h 71"/>
              <a:gd name="T12" fmla="*/ 2147483647 w 325"/>
              <a:gd name="T13" fmla="*/ 2147483647 h 71"/>
              <a:gd name="T14" fmla="*/ 2147483647 w 325"/>
              <a:gd name="T15" fmla="*/ 2147483647 h 71"/>
              <a:gd name="T16" fmla="*/ 2147483647 w 325"/>
              <a:gd name="T17" fmla="*/ 2147483647 h 71"/>
              <a:gd name="T18" fmla="*/ 2147483647 w 325"/>
              <a:gd name="T19" fmla="*/ 2147483647 h 71"/>
              <a:gd name="T20" fmla="*/ 2147483647 w 325"/>
              <a:gd name="T21" fmla="*/ 2147483647 h 71"/>
              <a:gd name="T22" fmla="*/ 2147483647 w 325"/>
              <a:gd name="T23" fmla="*/ 2147483647 h 71"/>
              <a:gd name="T24" fmla="*/ 2147483647 w 325"/>
              <a:gd name="T25" fmla="*/ 2147483647 h 71"/>
              <a:gd name="T26" fmla="*/ 2147483647 w 325"/>
              <a:gd name="T27" fmla="*/ 2147483647 h 71"/>
              <a:gd name="T28" fmla="*/ 2147483647 w 325"/>
              <a:gd name="T29" fmla="*/ 2147483647 h 71"/>
              <a:gd name="T30" fmla="*/ 2147483647 w 325"/>
              <a:gd name="T31" fmla="*/ 2147483647 h 71"/>
              <a:gd name="T32" fmla="*/ 2147483647 w 325"/>
              <a:gd name="T33" fmla="*/ 2147483647 h 71"/>
              <a:gd name="T34" fmla="*/ 2147483647 w 325"/>
              <a:gd name="T35" fmla="*/ 2147483647 h 71"/>
              <a:gd name="T36" fmla="*/ 2147483647 w 325"/>
              <a:gd name="T37" fmla="*/ 2147483647 h 71"/>
              <a:gd name="T38" fmla="*/ 2147483647 w 325"/>
              <a:gd name="T39" fmla="*/ 2147483647 h 71"/>
              <a:gd name="T40" fmla="*/ 2147483647 w 325"/>
              <a:gd name="T41" fmla="*/ 2147483647 h 71"/>
              <a:gd name="T42" fmla="*/ 2147483647 w 325"/>
              <a:gd name="T43" fmla="*/ 2147483647 h 71"/>
              <a:gd name="T44" fmla="*/ 2147483647 w 325"/>
              <a:gd name="T45" fmla="*/ 2147483647 h 71"/>
              <a:gd name="T46" fmla="*/ 2147483647 w 325"/>
              <a:gd name="T47" fmla="*/ 2147483647 h 71"/>
              <a:gd name="T48" fmla="*/ 2147483647 w 325"/>
              <a:gd name="T49" fmla="*/ 2147483647 h 71"/>
              <a:gd name="T50" fmla="*/ 2147483647 w 325"/>
              <a:gd name="T51" fmla="*/ 2147483647 h 71"/>
              <a:gd name="T52" fmla="*/ 2147483647 w 325"/>
              <a:gd name="T53" fmla="*/ 2147483647 h 71"/>
              <a:gd name="T54" fmla="*/ 2147483647 w 325"/>
              <a:gd name="T55" fmla="*/ 2147483647 h 71"/>
              <a:gd name="T56" fmla="*/ 2147483647 w 325"/>
              <a:gd name="T57" fmla="*/ 2147483647 h 71"/>
              <a:gd name="T58" fmla="*/ 2147483647 w 325"/>
              <a:gd name="T59" fmla="*/ 2147483647 h 71"/>
              <a:gd name="T60" fmla="*/ 2147483647 w 325"/>
              <a:gd name="T61" fmla="*/ 2147483647 h 71"/>
              <a:gd name="T62" fmla="*/ 0 w 325"/>
              <a:gd name="T63" fmla="*/ 2147483647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8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732453" y="2304678"/>
            <a:ext cx="95250" cy="57150"/>
          </a:xfrm>
          <a:custGeom>
            <a:avLst/>
            <a:gdLst>
              <a:gd name="T0" fmla="*/ 2147483647 w 220"/>
              <a:gd name="T1" fmla="*/ 2147483647 h 72"/>
              <a:gd name="T2" fmla="*/ 2147483647 w 220"/>
              <a:gd name="T3" fmla="*/ 2147483647 h 72"/>
              <a:gd name="T4" fmla="*/ 2147483647 w 220"/>
              <a:gd name="T5" fmla="*/ 2147483647 h 72"/>
              <a:gd name="T6" fmla="*/ 2147483647 w 220"/>
              <a:gd name="T7" fmla="*/ 2147483647 h 72"/>
              <a:gd name="T8" fmla="*/ 2147483647 w 220"/>
              <a:gd name="T9" fmla="*/ 2147483647 h 72"/>
              <a:gd name="T10" fmla="*/ 2147483647 w 220"/>
              <a:gd name="T11" fmla="*/ 2147483647 h 72"/>
              <a:gd name="T12" fmla="*/ 2147483647 w 220"/>
              <a:gd name="T13" fmla="*/ 2147483647 h 72"/>
              <a:gd name="T14" fmla="*/ 2147483647 w 220"/>
              <a:gd name="T15" fmla="*/ 2147483647 h 72"/>
              <a:gd name="T16" fmla="*/ 2147483647 w 220"/>
              <a:gd name="T17" fmla="*/ 2147483647 h 72"/>
              <a:gd name="T18" fmla="*/ 2147483647 w 220"/>
              <a:gd name="T19" fmla="*/ 2147483647 h 72"/>
              <a:gd name="T20" fmla="*/ 2147483647 w 220"/>
              <a:gd name="T21" fmla="*/ 2147483647 h 72"/>
              <a:gd name="T22" fmla="*/ 2147483647 w 220"/>
              <a:gd name="T23" fmla="*/ 2147483647 h 72"/>
              <a:gd name="T24" fmla="*/ 2147483647 w 220"/>
              <a:gd name="T25" fmla="*/ 2147483647 h 72"/>
              <a:gd name="T26" fmla="*/ 2147483647 w 220"/>
              <a:gd name="T27" fmla="*/ 2147483647 h 72"/>
              <a:gd name="T28" fmla="*/ 2147483647 w 220"/>
              <a:gd name="T29" fmla="*/ 0 h 72"/>
              <a:gd name="T30" fmla="*/ 2147483647 w 220"/>
              <a:gd name="T31" fmla="*/ 2147483647 h 72"/>
              <a:gd name="T32" fmla="*/ 2147483647 w 220"/>
              <a:gd name="T33" fmla="*/ 2147483647 h 72"/>
              <a:gd name="T34" fmla="*/ 2147483647 w 220"/>
              <a:gd name="T35" fmla="*/ 2147483647 h 72"/>
              <a:gd name="T36" fmla="*/ 2147483647 w 220"/>
              <a:gd name="T37" fmla="*/ 2147483647 h 72"/>
              <a:gd name="T38" fmla="*/ 2147483647 w 220"/>
              <a:gd name="T39" fmla="*/ 2147483647 h 72"/>
              <a:gd name="T40" fmla="*/ 2147483647 w 220"/>
              <a:gd name="T41" fmla="*/ 2147483647 h 72"/>
              <a:gd name="T42" fmla="*/ 2147483647 w 220"/>
              <a:gd name="T43" fmla="*/ 2147483647 h 72"/>
              <a:gd name="T44" fmla="*/ 2147483647 w 220"/>
              <a:gd name="T45" fmla="*/ 2147483647 h 72"/>
              <a:gd name="T46" fmla="*/ 2147483647 w 220"/>
              <a:gd name="T47" fmla="*/ 2147483647 h 72"/>
              <a:gd name="T48" fmla="*/ 2147483647 w 220"/>
              <a:gd name="T49" fmla="*/ 2147483647 h 72"/>
              <a:gd name="T50" fmla="*/ 2147483647 w 220"/>
              <a:gd name="T51" fmla="*/ 2147483647 h 72"/>
              <a:gd name="T52" fmla="*/ 2147483647 w 220"/>
              <a:gd name="T53" fmla="*/ 2147483647 h 72"/>
              <a:gd name="T54" fmla="*/ 2147483647 w 220"/>
              <a:gd name="T55" fmla="*/ 2147483647 h 72"/>
              <a:gd name="T56" fmla="*/ 2147483647 w 220"/>
              <a:gd name="T57" fmla="*/ 2147483647 h 72"/>
              <a:gd name="T58" fmla="*/ 2147483647 w 220"/>
              <a:gd name="T59" fmla="*/ 2147483647 h 72"/>
              <a:gd name="T60" fmla="*/ 2147483647 w 220"/>
              <a:gd name="T61" fmla="*/ 2147483647 h 72"/>
              <a:gd name="T62" fmla="*/ 2147483647 w 220"/>
              <a:gd name="T63" fmla="*/ 2147483647 h 72"/>
              <a:gd name="T64" fmla="*/ 2147483647 w 220"/>
              <a:gd name="T65" fmla="*/ 2147483647 h 72"/>
              <a:gd name="T66" fmla="*/ 2147483647 w 220"/>
              <a:gd name="T67" fmla="*/ 2147483647 h 72"/>
              <a:gd name="T68" fmla="*/ 2147483647 w 220"/>
              <a:gd name="T69" fmla="*/ 2147483647 h 72"/>
              <a:gd name="T70" fmla="*/ 2147483647 w 220"/>
              <a:gd name="T71" fmla="*/ 2147483647 h 72"/>
              <a:gd name="T72" fmla="*/ 2147483647 w 220"/>
              <a:gd name="T73" fmla="*/ 2147483647 h 72"/>
              <a:gd name="T74" fmla="*/ 2147483647 w 220"/>
              <a:gd name="T75" fmla="*/ 2147483647 h 72"/>
              <a:gd name="T76" fmla="*/ 2147483647 w 220"/>
              <a:gd name="T77" fmla="*/ 2147483647 h 72"/>
              <a:gd name="T78" fmla="*/ 2147483647 w 220"/>
              <a:gd name="T79" fmla="*/ 2147483647 h 72"/>
              <a:gd name="T80" fmla="*/ 2147483647 w 220"/>
              <a:gd name="T81" fmla="*/ 2147483647 h 72"/>
              <a:gd name="T82" fmla="*/ 2147483647 w 220"/>
              <a:gd name="T83" fmla="*/ 2147483647 h 72"/>
              <a:gd name="T84" fmla="*/ 2147483647 w 220"/>
              <a:gd name="T85" fmla="*/ 2147483647 h 72"/>
              <a:gd name="T86" fmla="*/ 2147483647 w 220"/>
              <a:gd name="T87" fmla="*/ 2147483647 h 72"/>
              <a:gd name="T88" fmla="*/ 2147483647 w 220"/>
              <a:gd name="T89" fmla="*/ 2147483647 h 72"/>
              <a:gd name="T90" fmla="*/ 2147483647 w 220"/>
              <a:gd name="T91" fmla="*/ 2147483647 h 72"/>
              <a:gd name="T92" fmla="*/ 2147483647 w 220"/>
              <a:gd name="T93" fmla="*/ 2147483647 h 72"/>
              <a:gd name="T94" fmla="*/ 2147483647 w 220"/>
              <a:gd name="T95" fmla="*/ 2147483647 h 72"/>
              <a:gd name="T96" fmla="*/ 2147483647 w 220"/>
              <a:gd name="T97" fmla="*/ 2147483647 h 72"/>
              <a:gd name="T98" fmla="*/ 2147483647 w 220"/>
              <a:gd name="T99" fmla="*/ 2147483647 h 72"/>
              <a:gd name="T100" fmla="*/ 2147483647 w 220"/>
              <a:gd name="T101" fmla="*/ 2147483647 h 72"/>
              <a:gd name="T102" fmla="*/ 2147483647 w 220"/>
              <a:gd name="T103" fmla="*/ 2147483647 h 72"/>
              <a:gd name="T104" fmla="*/ 0 w 220"/>
              <a:gd name="T105" fmla="*/ 2147483647 h 72"/>
              <a:gd name="T106" fmla="*/ 2147483647 w 220"/>
              <a:gd name="T107" fmla="*/ 2147483647 h 72"/>
              <a:gd name="T108" fmla="*/ 2147483647 w 220"/>
              <a:gd name="T109" fmla="*/ 2147483647 h 72"/>
              <a:gd name="T110" fmla="*/ 2147483647 w 220"/>
              <a:gd name="T111" fmla="*/ 2147483647 h 72"/>
              <a:gd name="T112" fmla="*/ 2147483647 w 220"/>
              <a:gd name="T113" fmla="*/ 2147483647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9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692765" y="2352303"/>
            <a:ext cx="63500" cy="58737"/>
          </a:xfrm>
          <a:custGeom>
            <a:avLst/>
            <a:gdLst>
              <a:gd name="T0" fmla="*/ 2147483647 w 146"/>
              <a:gd name="T1" fmla="*/ 2147483647 h 30"/>
              <a:gd name="T2" fmla="*/ 2147483647 w 146"/>
              <a:gd name="T3" fmla="*/ 2147483647 h 30"/>
              <a:gd name="T4" fmla="*/ 2147483647 w 146"/>
              <a:gd name="T5" fmla="*/ 2147483647 h 30"/>
              <a:gd name="T6" fmla="*/ 2147483647 w 146"/>
              <a:gd name="T7" fmla="*/ 2147483647 h 30"/>
              <a:gd name="T8" fmla="*/ 2147483647 w 146"/>
              <a:gd name="T9" fmla="*/ 2147483647 h 30"/>
              <a:gd name="T10" fmla="*/ 2147483647 w 146"/>
              <a:gd name="T11" fmla="*/ 2147483647 h 30"/>
              <a:gd name="T12" fmla="*/ 2147483647 w 146"/>
              <a:gd name="T13" fmla="*/ 2147483647 h 30"/>
              <a:gd name="T14" fmla="*/ 2147483647 w 146"/>
              <a:gd name="T15" fmla="*/ 2147483647 h 30"/>
              <a:gd name="T16" fmla="*/ 2147483647 w 146"/>
              <a:gd name="T17" fmla="*/ 2147483647 h 30"/>
              <a:gd name="T18" fmla="*/ 2147483647 w 146"/>
              <a:gd name="T19" fmla="*/ 2147483647 h 30"/>
              <a:gd name="T20" fmla="*/ 2147483647 w 146"/>
              <a:gd name="T21" fmla="*/ 2147483647 h 30"/>
              <a:gd name="T22" fmla="*/ 2147483647 w 146"/>
              <a:gd name="T23" fmla="*/ 2147483647 h 30"/>
              <a:gd name="T24" fmla="*/ 2147483647 w 146"/>
              <a:gd name="T25" fmla="*/ 2147483647 h 30"/>
              <a:gd name="T26" fmla="*/ 2147483647 w 146"/>
              <a:gd name="T27" fmla="*/ 2147483647 h 30"/>
              <a:gd name="T28" fmla="*/ 2147483647 w 146"/>
              <a:gd name="T29" fmla="*/ 2147483647 h 30"/>
              <a:gd name="T30" fmla="*/ 2147483647 w 146"/>
              <a:gd name="T31" fmla="*/ 2147483647 h 30"/>
              <a:gd name="T32" fmla="*/ 2147483647 w 146"/>
              <a:gd name="T33" fmla="*/ 2147483647 h 30"/>
              <a:gd name="T34" fmla="*/ 2147483647 w 146"/>
              <a:gd name="T35" fmla="*/ 0 h 30"/>
              <a:gd name="T36" fmla="*/ 2147483647 w 146"/>
              <a:gd name="T37" fmla="*/ 2147483647 h 30"/>
              <a:gd name="T38" fmla="*/ 2147483647 w 146"/>
              <a:gd name="T39" fmla="*/ 2147483647 h 30"/>
              <a:gd name="T40" fmla="*/ 2147483647 w 146"/>
              <a:gd name="T41" fmla="*/ 2147483647 h 30"/>
              <a:gd name="T42" fmla="*/ 0 w 146"/>
              <a:gd name="T43" fmla="*/ 2147483647 h 30"/>
              <a:gd name="T44" fmla="*/ 2147483647 w 146"/>
              <a:gd name="T45" fmla="*/ 2147483647 h 30"/>
              <a:gd name="T46" fmla="*/ 2147483647 w 146"/>
              <a:gd name="T47" fmla="*/ 2147483647 h 30"/>
              <a:gd name="T48" fmla="*/ 2147483647 w 146"/>
              <a:gd name="T49" fmla="*/ 2147483647 h 30"/>
              <a:gd name="T50" fmla="*/ 2147483647 w 146"/>
              <a:gd name="T51" fmla="*/ 2147483647 h 30"/>
              <a:gd name="T52" fmla="*/ 2147483647 w 146"/>
              <a:gd name="T53" fmla="*/ 2147483647 h 30"/>
              <a:gd name="T54" fmla="*/ 2147483647 w 146"/>
              <a:gd name="T55" fmla="*/ 2147483647 h 30"/>
              <a:gd name="T56" fmla="*/ 2147483647 w 146"/>
              <a:gd name="T57" fmla="*/ 2147483647 h 30"/>
              <a:gd name="T58" fmla="*/ 2147483647 w 146"/>
              <a:gd name="T59" fmla="*/ 2147483647 h 30"/>
              <a:gd name="T60" fmla="*/ 2147483647 w 146"/>
              <a:gd name="T61" fmla="*/ 2147483647 h 30"/>
              <a:gd name="T62" fmla="*/ 2147483647 w 146"/>
              <a:gd name="T63" fmla="*/ 2147483647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0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672128" y="2349128"/>
            <a:ext cx="20637" cy="58737"/>
          </a:xfrm>
          <a:custGeom>
            <a:avLst/>
            <a:gdLst>
              <a:gd name="T0" fmla="*/ 0 w 53"/>
              <a:gd name="T1" fmla="*/ 2147483647 h 9"/>
              <a:gd name="T2" fmla="*/ 2147483647 w 53"/>
              <a:gd name="T3" fmla="*/ 2147483647 h 9"/>
              <a:gd name="T4" fmla="*/ 2147483647 w 53"/>
              <a:gd name="T5" fmla="*/ 2147483647 h 9"/>
              <a:gd name="T6" fmla="*/ 2147483647 w 53"/>
              <a:gd name="T7" fmla="*/ 2147483647 h 9"/>
              <a:gd name="T8" fmla="*/ 2147483647 w 53"/>
              <a:gd name="T9" fmla="*/ 2147483647 h 9"/>
              <a:gd name="T10" fmla="*/ 2147483647 w 53"/>
              <a:gd name="T11" fmla="*/ 2147483647 h 9"/>
              <a:gd name="T12" fmla="*/ 2147483647 w 53"/>
              <a:gd name="T13" fmla="*/ 2147483647 h 9"/>
              <a:gd name="T14" fmla="*/ 2147483647 w 53"/>
              <a:gd name="T15" fmla="*/ 2147483647 h 9"/>
              <a:gd name="T16" fmla="*/ 2147483647 w 53"/>
              <a:gd name="T17" fmla="*/ 0 h 9"/>
              <a:gd name="T18" fmla="*/ 2147483647 w 53"/>
              <a:gd name="T19" fmla="*/ 0 h 9"/>
              <a:gd name="T20" fmla="*/ 2147483647 w 53"/>
              <a:gd name="T21" fmla="*/ 0 h 9"/>
              <a:gd name="T22" fmla="*/ 2147483647 w 53"/>
              <a:gd name="T23" fmla="*/ 2147483647 h 9"/>
              <a:gd name="T24" fmla="*/ 2147483647 w 53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1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673715" y="234754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  <p:sp>
        <p:nvSpPr>
          <p:cNvPr id="2392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843453" y="2276103"/>
            <a:ext cx="11112" cy="55562"/>
          </a:xfrm>
          <a:custGeom>
            <a:avLst/>
            <a:gdLst>
              <a:gd name="T0" fmla="*/ 0 w 26"/>
              <a:gd name="T1" fmla="*/ 2147483647 h 25"/>
              <a:gd name="T2" fmla="*/ 2147483647 w 26"/>
              <a:gd name="T3" fmla="*/ 2147483647 h 25"/>
              <a:gd name="T4" fmla="*/ 2147483647 w 26"/>
              <a:gd name="T5" fmla="*/ 2147483647 h 25"/>
              <a:gd name="T6" fmla="*/ 2147483647 w 26"/>
              <a:gd name="T7" fmla="*/ 2147483647 h 25"/>
              <a:gd name="T8" fmla="*/ 2147483647 w 26"/>
              <a:gd name="T9" fmla="*/ 2147483647 h 25"/>
              <a:gd name="T10" fmla="*/ 2147483647 w 26"/>
              <a:gd name="T11" fmla="*/ 2147483647 h 25"/>
              <a:gd name="T12" fmla="*/ 2147483647 w 26"/>
              <a:gd name="T13" fmla="*/ 0 h 25"/>
              <a:gd name="T14" fmla="*/ 2147483647 w 26"/>
              <a:gd name="T15" fmla="*/ 2147483647 h 25"/>
              <a:gd name="T16" fmla="*/ 2147483647 w 26"/>
              <a:gd name="T17" fmla="*/ 2147483647 h 25"/>
              <a:gd name="T18" fmla="*/ 2147483647 w 26"/>
              <a:gd name="T19" fmla="*/ 2147483647 h 25"/>
              <a:gd name="T20" fmla="*/ 0 w 26"/>
              <a:gd name="T21" fmla="*/ 2147483647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3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592753" y="2347540"/>
            <a:ext cx="9525" cy="57150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0 h 25"/>
              <a:gd name="T6" fmla="*/ 0 w 33"/>
              <a:gd name="T7" fmla="*/ 0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2147483647 h 25"/>
              <a:gd name="T14" fmla="*/ 2147483647 w 33"/>
              <a:gd name="T15" fmla="*/ 2147483647 h 25"/>
              <a:gd name="T16" fmla="*/ 2147483647 w 33"/>
              <a:gd name="T17" fmla="*/ 2147483647 h 25"/>
              <a:gd name="T18" fmla="*/ 2147483647 w 33"/>
              <a:gd name="T19" fmla="*/ 2147483647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4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546715" y="2311028"/>
            <a:ext cx="9525" cy="57150"/>
          </a:xfrm>
          <a:custGeom>
            <a:avLst/>
            <a:gdLst>
              <a:gd name="T0" fmla="*/ 0 w 20"/>
              <a:gd name="T1" fmla="*/ 0 h 18"/>
              <a:gd name="T2" fmla="*/ 2147483647 w 20"/>
              <a:gd name="T3" fmla="*/ 2147483647 h 18"/>
              <a:gd name="T4" fmla="*/ 2147483647 w 20"/>
              <a:gd name="T5" fmla="*/ 2147483647 h 18"/>
              <a:gd name="T6" fmla="*/ 2147483647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5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046778" y="2880940"/>
            <a:ext cx="12700" cy="58738"/>
          </a:xfrm>
          <a:custGeom>
            <a:avLst/>
            <a:gdLst>
              <a:gd name="T0" fmla="*/ 0 w 33"/>
              <a:gd name="T1" fmla="*/ 2147483647 h 31"/>
              <a:gd name="T2" fmla="*/ 0 w 33"/>
              <a:gd name="T3" fmla="*/ 0 h 31"/>
              <a:gd name="T4" fmla="*/ 2147483647 w 33"/>
              <a:gd name="T5" fmla="*/ 0 h 31"/>
              <a:gd name="T6" fmla="*/ 2147483647 w 33"/>
              <a:gd name="T7" fmla="*/ 0 h 31"/>
              <a:gd name="T8" fmla="*/ 2147483647 w 33"/>
              <a:gd name="T9" fmla="*/ 0 h 31"/>
              <a:gd name="T10" fmla="*/ 2147483647 w 33"/>
              <a:gd name="T11" fmla="*/ 0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0 w 33"/>
              <a:gd name="T29" fmla="*/ 21474836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6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340465" y="2403103"/>
            <a:ext cx="55563" cy="58737"/>
          </a:xfrm>
          <a:custGeom>
            <a:avLst/>
            <a:gdLst>
              <a:gd name="T0" fmla="*/ 2147483647 w 129"/>
              <a:gd name="T1" fmla="*/ 2147483647 h 56"/>
              <a:gd name="T2" fmla="*/ 2147483647 w 129"/>
              <a:gd name="T3" fmla="*/ 2147483647 h 56"/>
              <a:gd name="T4" fmla="*/ 2147483647 w 129"/>
              <a:gd name="T5" fmla="*/ 2147483647 h 56"/>
              <a:gd name="T6" fmla="*/ 0 w 129"/>
              <a:gd name="T7" fmla="*/ 2147483647 h 56"/>
              <a:gd name="T8" fmla="*/ 2147483647 w 129"/>
              <a:gd name="T9" fmla="*/ 2147483647 h 56"/>
              <a:gd name="T10" fmla="*/ 2147483647 w 129"/>
              <a:gd name="T11" fmla="*/ 2147483647 h 56"/>
              <a:gd name="T12" fmla="*/ 2147483647 w 129"/>
              <a:gd name="T13" fmla="*/ 2147483647 h 56"/>
              <a:gd name="T14" fmla="*/ 2147483647 w 129"/>
              <a:gd name="T15" fmla="*/ 2147483647 h 56"/>
              <a:gd name="T16" fmla="*/ 2147483647 w 129"/>
              <a:gd name="T17" fmla="*/ 2147483647 h 56"/>
              <a:gd name="T18" fmla="*/ 2147483647 w 129"/>
              <a:gd name="T19" fmla="*/ 2147483647 h 56"/>
              <a:gd name="T20" fmla="*/ 2147483647 w 129"/>
              <a:gd name="T21" fmla="*/ 2147483647 h 56"/>
              <a:gd name="T22" fmla="*/ 2147483647 w 129"/>
              <a:gd name="T23" fmla="*/ 2147483647 h 56"/>
              <a:gd name="T24" fmla="*/ 2147483647 w 129"/>
              <a:gd name="T25" fmla="*/ 0 h 56"/>
              <a:gd name="T26" fmla="*/ 2147483647 w 129"/>
              <a:gd name="T27" fmla="*/ 2147483647 h 56"/>
              <a:gd name="T28" fmla="*/ 2147483647 w 129"/>
              <a:gd name="T29" fmla="*/ 2147483647 h 56"/>
              <a:gd name="T30" fmla="*/ 2147483647 w 129"/>
              <a:gd name="T31" fmla="*/ 2147483647 h 56"/>
              <a:gd name="T32" fmla="*/ 2147483647 w 129"/>
              <a:gd name="T33" fmla="*/ 2147483647 h 56"/>
              <a:gd name="T34" fmla="*/ 2147483647 w 129"/>
              <a:gd name="T35" fmla="*/ 2147483647 h 56"/>
              <a:gd name="T36" fmla="*/ 2147483647 w 129"/>
              <a:gd name="T37" fmla="*/ 2147483647 h 56"/>
              <a:gd name="T38" fmla="*/ 2147483647 w 129"/>
              <a:gd name="T39" fmla="*/ 2147483647 h 56"/>
              <a:gd name="T40" fmla="*/ 2147483647 w 129"/>
              <a:gd name="T41" fmla="*/ 2147483647 h 56"/>
              <a:gd name="T42" fmla="*/ 2147483647 w 129"/>
              <a:gd name="T43" fmla="*/ 2147483647 h 56"/>
              <a:gd name="T44" fmla="*/ 2147483647 w 129"/>
              <a:gd name="T45" fmla="*/ 2147483647 h 56"/>
              <a:gd name="T46" fmla="*/ 2147483647 w 129"/>
              <a:gd name="T47" fmla="*/ 2147483647 h 56"/>
              <a:gd name="T48" fmla="*/ 2147483647 w 129"/>
              <a:gd name="T49" fmla="*/ 2147483647 h 56"/>
              <a:gd name="T50" fmla="*/ 2147483647 w 129"/>
              <a:gd name="T51" fmla="*/ 2147483647 h 56"/>
              <a:gd name="T52" fmla="*/ 2147483647 w 129"/>
              <a:gd name="T53" fmla="*/ 2147483647 h 56"/>
              <a:gd name="T54" fmla="*/ 2147483647 w 129"/>
              <a:gd name="T55" fmla="*/ 2147483647 h 56"/>
              <a:gd name="T56" fmla="*/ 2147483647 w 129"/>
              <a:gd name="T57" fmla="*/ 2147483647 h 56"/>
              <a:gd name="T58" fmla="*/ 2147483647 w 129"/>
              <a:gd name="T59" fmla="*/ 2147483647 h 56"/>
              <a:gd name="T60" fmla="*/ 2147483647 w 129"/>
              <a:gd name="T61" fmla="*/ 2147483647 h 56"/>
              <a:gd name="T62" fmla="*/ 2147483647 w 129"/>
              <a:gd name="T63" fmla="*/ 2147483647 h 56"/>
              <a:gd name="T64" fmla="*/ 2147483647 w 129"/>
              <a:gd name="T65" fmla="*/ 2147483647 h 56"/>
              <a:gd name="T66" fmla="*/ 2147483647 w 129"/>
              <a:gd name="T67" fmla="*/ 2147483647 h 56"/>
              <a:gd name="T68" fmla="*/ 2147483647 w 129"/>
              <a:gd name="T69" fmla="*/ 2147483647 h 56"/>
              <a:gd name="T70" fmla="*/ 2147483647 w 129"/>
              <a:gd name="T71" fmla="*/ 2147483647 h 56"/>
              <a:gd name="T72" fmla="*/ 2147483647 w 129"/>
              <a:gd name="T73" fmla="*/ 2147483647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7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476990" y="2755528"/>
            <a:ext cx="14288" cy="57150"/>
          </a:xfrm>
          <a:custGeom>
            <a:avLst/>
            <a:gdLst>
              <a:gd name="T0" fmla="*/ 2147483647 w 41"/>
              <a:gd name="T1" fmla="*/ 2147483647 h 42"/>
              <a:gd name="T2" fmla="*/ 0 w 41"/>
              <a:gd name="T3" fmla="*/ 2147483647 h 42"/>
              <a:gd name="T4" fmla="*/ 0 w 41"/>
              <a:gd name="T5" fmla="*/ 2147483647 h 42"/>
              <a:gd name="T6" fmla="*/ 2147483647 w 41"/>
              <a:gd name="T7" fmla="*/ 2147483647 h 42"/>
              <a:gd name="T8" fmla="*/ 2147483647 w 41"/>
              <a:gd name="T9" fmla="*/ 2147483647 h 42"/>
              <a:gd name="T10" fmla="*/ 2147483647 w 41"/>
              <a:gd name="T11" fmla="*/ 2147483647 h 42"/>
              <a:gd name="T12" fmla="*/ 2147483647 w 41"/>
              <a:gd name="T13" fmla="*/ 0 h 42"/>
              <a:gd name="T14" fmla="*/ 2147483647 w 41"/>
              <a:gd name="T15" fmla="*/ 2147483647 h 42"/>
              <a:gd name="T16" fmla="*/ 2147483647 w 41"/>
              <a:gd name="T17" fmla="*/ 2147483647 h 42"/>
              <a:gd name="T18" fmla="*/ 2147483647 w 41"/>
              <a:gd name="T19" fmla="*/ 2147483647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8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626215" y="2868240"/>
            <a:ext cx="42863" cy="60325"/>
          </a:xfrm>
          <a:custGeom>
            <a:avLst/>
            <a:gdLst>
              <a:gd name="T0" fmla="*/ 2147483647 w 93"/>
              <a:gd name="T1" fmla="*/ 2147483647 h 39"/>
              <a:gd name="T2" fmla="*/ 2147483647 w 93"/>
              <a:gd name="T3" fmla="*/ 2147483647 h 39"/>
              <a:gd name="T4" fmla="*/ 2147483647 w 93"/>
              <a:gd name="T5" fmla="*/ 2147483647 h 39"/>
              <a:gd name="T6" fmla="*/ 2147483647 w 93"/>
              <a:gd name="T7" fmla="*/ 2147483647 h 39"/>
              <a:gd name="T8" fmla="*/ 2147483647 w 93"/>
              <a:gd name="T9" fmla="*/ 2147483647 h 39"/>
              <a:gd name="T10" fmla="*/ 2147483647 w 93"/>
              <a:gd name="T11" fmla="*/ 2147483647 h 39"/>
              <a:gd name="T12" fmla="*/ 2147483647 w 93"/>
              <a:gd name="T13" fmla="*/ 2147483647 h 39"/>
              <a:gd name="T14" fmla="*/ 2147483647 w 93"/>
              <a:gd name="T15" fmla="*/ 2147483647 h 39"/>
              <a:gd name="T16" fmla="*/ 2147483647 w 93"/>
              <a:gd name="T17" fmla="*/ 2147483647 h 39"/>
              <a:gd name="T18" fmla="*/ 2147483647 w 93"/>
              <a:gd name="T19" fmla="*/ 2147483647 h 39"/>
              <a:gd name="T20" fmla="*/ 2147483647 w 93"/>
              <a:gd name="T21" fmla="*/ 2147483647 h 39"/>
              <a:gd name="T22" fmla="*/ 2147483647 w 93"/>
              <a:gd name="T23" fmla="*/ 2147483647 h 39"/>
              <a:gd name="T24" fmla="*/ 2147483647 w 93"/>
              <a:gd name="T25" fmla="*/ 2147483647 h 39"/>
              <a:gd name="T26" fmla="*/ 2147483647 w 93"/>
              <a:gd name="T27" fmla="*/ 2147483647 h 39"/>
              <a:gd name="T28" fmla="*/ 2147483647 w 93"/>
              <a:gd name="T29" fmla="*/ 2147483647 h 39"/>
              <a:gd name="T30" fmla="*/ 0 w 93"/>
              <a:gd name="T31" fmla="*/ 2147483647 h 39"/>
              <a:gd name="T32" fmla="*/ 2147483647 w 93"/>
              <a:gd name="T33" fmla="*/ 2147483647 h 39"/>
              <a:gd name="T34" fmla="*/ 2147483647 w 93"/>
              <a:gd name="T35" fmla="*/ 0 h 39"/>
              <a:gd name="T36" fmla="*/ 2147483647 w 93"/>
              <a:gd name="T37" fmla="*/ 0 h 39"/>
              <a:gd name="T38" fmla="*/ 2147483647 w 93"/>
              <a:gd name="T39" fmla="*/ 2147483647 h 39"/>
              <a:gd name="T40" fmla="*/ 2147483647 w 93"/>
              <a:gd name="T41" fmla="*/ 2147483647 h 39"/>
              <a:gd name="T42" fmla="*/ 2147483647 w 93"/>
              <a:gd name="T43" fmla="*/ 2147483647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9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677015" y="2884115"/>
            <a:ext cx="19050" cy="58738"/>
          </a:xfrm>
          <a:custGeom>
            <a:avLst/>
            <a:gdLst>
              <a:gd name="T0" fmla="*/ 2147483647 w 39"/>
              <a:gd name="T1" fmla="*/ 2147483647 h 19"/>
              <a:gd name="T2" fmla="*/ 2147483647 w 39"/>
              <a:gd name="T3" fmla="*/ 2147483647 h 19"/>
              <a:gd name="T4" fmla="*/ 2147483647 w 39"/>
              <a:gd name="T5" fmla="*/ 2147483647 h 19"/>
              <a:gd name="T6" fmla="*/ 2147483647 w 39"/>
              <a:gd name="T7" fmla="*/ 2147483647 h 19"/>
              <a:gd name="T8" fmla="*/ 2147483647 w 39"/>
              <a:gd name="T9" fmla="*/ 2147483647 h 19"/>
              <a:gd name="T10" fmla="*/ 2147483647 w 39"/>
              <a:gd name="T11" fmla="*/ 2147483647 h 19"/>
              <a:gd name="T12" fmla="*/ 0 w 39"/>
              <a:gd name="T13" fmla="*/ 2147483647 h 19"/>
              <a:gd name="T14" fmla="*/ 0 w 39"/>
              <a:gd name="T15" fmla="*/ 0 h 19"/>
              <a:gd name="T16" fmla="*/ 2147483647 w 39"/>
              <a:gd name="T17" fmla="*/ 2147483647 h 19"/>
              <a:gd name="T18" fmla="*/ 2147483647 w 39"/>
              <a:gd name="T19" fmla="*/ 2147483647 h 19"/>
              <a:gd name="T20" fmla="*/ 2147483647 w 39"/>
              <a:gd name="T21" fmla="*/ 2147483647 h 19"/>
              <a:gd name="T22" fmla="*/ 2147483647 w 39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0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542078" y="3011115"/>
            <a:ext cx="14287" cy="57150"/>
          </a:xfrm>
          <a:custGeom>
            <a:avLst/>
            <a:gdLst>
              <a:gd name="T0" fmla="*/ 0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2147483647 w 26"/>
              <a:gd name="T9" fmla="*/ 0 h 36"/>
              <a:gd name="T10" fmla="*/ 2147483647 w 26"/>
              <a:gd name="T11" fmla="*/ 2147483647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2147483647 w 26"/>
              <a:gd name="T27" fmla="*/ 2147483647 h 36"/>
              <a:gd name="T28" fmla="*/ 0 w 26"/>
              <a:gd name="T29" fmla="*/ 2147483647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1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553190" y="3039690"/>
            <a:ext cx="3175" cy="60325"/>
          </a:xfrm>
          <a:custGeom>
            <a:avLst/>
            <a:gdLst>
              <a:gd name="T0" fmla="*/ 0 w 6"/>
              <a:gd name="T1" fmla="*/ 2147483647 h 37"/>
              <a:gd name="T2" fmla="*/ 0 w 6"/>
              <a:gd name="T3" fmla="*/ 0 h 37"/>
              <a:gd name="T4" fmla="*/ 2147483647 w 6"/>
              <a:gd name="T5" fmla="*/ 0 h 37"/>
              <a:gd name="T6" fmla="*/ 2147483647 w 6"/>
              <a:gd name="T7" fmla="*/ 2147483647 h 37"/>
              <a:gd name="T8" fmla="*/ 0 w 6"/>
              <a:gd name="T9" fmla="*/ 2147483647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2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540490" y="3122240"/>
            <a:ext cx="9525" cy="55563"/>
          </a:xfrm>
          <a:custGeom>
            <a:avLst/>
            <a:gdLst>
              <a:gd name="T0" fmla="*/ 0 w 20"/>
              <a:gd name="T1" fmla="*/ 2147483647 h 43"/>
              <a:gd name="T2" fmla="*/ 0 w 20"/>
              <a:gd name="T3" fmla="*/ 2147483647 h 43"/>
              <a:gd name="T4" fmla="*/ 0 w 20"/>
              <a:gd name="T5" fmla="*/ 2147483647 h 43"/>
              <a:gd name="T6" fmla="*/ 2147483647 w 20"/>
              <a:gd name="T7" fmla="*/ 2147483647 h 43"/>
              <a:gd name="T8" fmla="*/ 2147483647 w 20"/>
              <a:gd name="T9" fmla="*/ 0 h 43"/>
              <a:gd name="T10" fmla="*/ 2147483647 w 20"/>
              <a:gd name="T11" fmla="*/ 2147483647 h 43"/>
              <a:gd name="T12" fmla="*/ 2147483647 w 20"/>
              <a:gd name="T13" fmla="*/ 2147483647 h 43"/>
              <a:gd name="T14" fmla="*/ 2147483647 w 20"/>
              <a:gd name="T15" fmla="*/ 2147483647 h 43"/>
              <a:gd name="T16" fmla="*/ 2147483647 w 20"/>
              <a:gd name="T17" fmla="*/ 2147483647 h 43"/>
              <a:gd name="T18" fmla="*/ 2147483647 w 20"/>
              <a:gd name="T19" fmla="*/ 2147483647 h 43"/>
              <a:gd name="T20" fmla="*/ 2147483647 w 20"/>
              <a:gd name="T21" fmla="*/ 2147483647 h 43"/>
              <a:gd name="T22" fmla="*/ 2147483647 w 20"/>
              <a:gd name="T23" fmla="*/ 2147483647 h 43"/>
              <a:gd name="T24" fmla="*/ 2147483647 w 20"/>
              <a:gd name="T25" fmla="*/ 2147483647 h 43"/>
              <a:gd name="T26" fmla="*/ 2147483647 w 20"/>
              <a:gd name="T27" fmla="*/ 2147483647 h 43"/>
              <a:gd name="T28" fmla="*/ 2147483647 w 20"/>
              <a:gd name="T29" fmla="*/ 2147483647 h 43"/>
              <a:gd name="T30" fmla="*/ 2147483647 w 20"/>
              <a:gd name="T31" fmla="*/ 2147483647 h 43"/>
              <a:gd name="T32" fmla="*/ 2147483647 w 20"/>
              <a:gd name="T33" fmla="*/ 2147483647 h 43"/>
              <a:gd name="T34" fmla="*/ 2147483647 w 20"/>
              <a:gd name="T35" fmla="*/ 2147483647 h 43"/>
              <a:gd name="T36" fmla="*/ 0 w 20"/>
              <a:gd name="T37" fmla="*/ 2147483647 h 43"/>
              <a:gd name="T38" fmla="*/ 0 w 20"/>
              <a:gd name="T39" fmla="*/ 214748364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3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518265" y="3157165"/>
            <a:ext cx="0" cy="58738"/>
          </a:xfrm>
          <a:custGeom>
            <a:avLst/>
            <a:gdLst>
              <a:gd name="T0" fmla="*/ 2147483647 h 30"/>
              <a:gd name="T1" fmla="*/ 2147483647 h 30"/>
              <a:gd name="T2" fmla="*/ 2147483647 h 30"/>
              <a:gd name="T3" fmla="*/ 2147483647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4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518265" y="3157165"/>
            <a:ext cx="7938" cy="58738"/>
          </a:xfrm>
          <a:custGeom>
            <a:avLst/>
            <a:gdLst>
              <a:gd name="T0" fmla="*/ 0 w 20"/>
              <a:gd name="T1" fmla="*/ 0 h 24"/>
              <a:gd name="T2" fmla="*/ 2147483647 w 20"/>
              <a:gd name="T3" fmla="*/ 0 h 24"/>
              <a:gd name="T4" fmla="*/ 0 w 20"/>
              <a:gd name="T5" fmla="*/ 2147483647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5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272203" y="2744415"/>
            <a:ext cx="17462" cy="60325"/>
          </a:xfrm>
          <a:custGeom>
            <a:avLst/>
            <a:gdLst>
              <a:gd name="T0" fmla="*/ 0 w 46"/>
              <a:gd name="T1" fmla="*/ 0 h 19"/>
              <a:gd name="T2" fmla="*/ 2147483647 w 46"/>
              <a:gd name="T3" fmla="*/ 2147483647 h 19"/>
              <a:gd name="T4" fmla="*/ 2147483647 w 46"/>
              <a:gd name="T5" fmla="*/ 2147483647 h 19"/>
              <a:gd name="T6" fmla="*/ 2147483647 w 46"/>
              <a:gd name="T7" fmla="*/ 2147483647 h 19"/>
              <a:gd name="T8" fmla="*/ 2147483647 w 46"/>
              <a:gd name="T9" fmla="*/ 2147483647 h 19"/>
              <a:gd name="T10" fmla="*/ 2147483647 w 46"/>
              <a:gd name="T11" fmla="*/ 2147483647 h 19"/>
              <a:gd name="T12" fmla="*/ 2147483647 w 46"/>
              <a:gd name="T13" fmla="*/ 2147483647 h 19"/>
              <a:gd name="T14" fmla="*/ 2147483647 w 46"/>
              <a:gd name="T15" fmla="*/ 2147483647 h 19"/>
              <a:gd name="T16" fmla="*/ 2147483647 w 46"/>
              <a:gd name="T17" fmla="*/ 2147483647 h 19"/>
              <a:gd name="T18" fmla="*/ 2147483647 w 46"/>
              <a:gd name="T19" fmla="*/ 2147483647 h 19"/>
              <a:gd name="T20" fmla="*/ 2147483647 w 46"/>
              <a:gd name="T21" fmla="*/ 2147483647 h 19"/>
              <a:gd name="T22" fmla="*/ 2147483647 w 46"/>
              <a:gd name="T23" fmla="*/ 2147483647 h 19"/>
              <a:gd name="T24" fmla="*/ 2147483647 w 46"/>
              <a:gd name="T25" fmla="*/ 2147483647 h 19"/>
              <a:gd name="T26" fmla="*/ 2147483647 w 46"/>
              <a:gd name="T27" fmla="*/ 2147483647 h 19"/>
              <a:gd name="T28" fmla="*/ 2147483647 w 46"/>
              <a:gd name="T29" fmla="*/ 2147483647 h 19"/>
              <a:gd name="T30" fmla="*/ 2147483647 w 46"/>
              <a:gd name="T31" fmla="*/ 2147483647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6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587740" y="2884115"/>
            <a:ext cx="47625" cy="58738"/>
          </a:xfrm>
          <a:custGeom>
            <a:avLst/>
            <a:gdLst>
              <a:gd name="T0" fmla="*/ 2147483647 w 100"/>
              <a:gd name="T1" fmla="*/ 0 h 55"/>
              <a:gd name="T2" fmla="*/ 2147483647 w 100"/>
              <a:gd name="T3" fmla="*/ 2147483647 h 55"/>
              <a:gd name="T4" fmla="*/ 2147483647 w 100"/>
              <a:gd name="T5" fmla="*/ 2147483647 h 55"/>
              <a:gd name="T6" fmla="*/ 2147483647 w 100"/>
              <a:gd name="T7" fmla="*/ 2147483647 h 55"/>
              <a:gd name="T8" fmla="*/ 0 w 100"/>
              <a:gd name="T9" fmla="*/ 2147483647 h 55"/>
              <a:gd name="T10" fmla="*/ 2147483647 w 100"/>
              <a:gd name="T11" fmla="*/ 2147483647 h 55"/>
              <a:gd name="T12" fmla="*/ 2147483647 w 100"/>
              <a:gd name="T13" fmla="*/ 2147483647 h 55"/>
              <a:gd name="T14" fmla="*/ 2147483647 w 100"/>
              <a:gd name="T15" fmla="*/ 2147483647 h 55"/>
              <a:gd name="T16" fmla="*/ 2147483647 w 100"/>
              <a:gd name="T17" fmla="*/ 2147483647 h 55"/>
              <a:gd name="T18" fmla="*/ 2147483647 w 100"/>
              <a:gd name="T19" fmla="*/ 2147483647 h 55"/>
              <a:gd name="T20" fmla="*/ 2147483647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07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5037003" y="2476128"/>
            <a:ext cx="42862" cy="58737"/>
          </a:xfrm>
          <a:custGeom>
            <a:avLst/>
            <a:gdLst>
              <a:gd name="T0" fmla="*/ 2147483647 w 99"/>
              <a:gd name="T1" fmla="*/ 2147483647 h 51"/>
              <a:gd name="T2" fmla="*/ 2147483647 w 99"/>
              <a:gd name="T3" fmla="*/ 2147483647 h 51"/>
              <a:gd name="T4" fmla="*/ 2147483647 w 99"/>
              <a:gd name="T5" fmla="*/ 0 h 51"/>
              <a:gd name="T6" fmla="*/ 2147483647 w 99"/>
              <a:gd name="T7" fmla="*/ 0 h 51"/>
              <a:gd name="T8" fmla="*/ 2147483647 w 99"/>
              <a:gd name="T9" fmla="*/ 2147483647 h 51"/>
              <a:gd name="T10" fmla="*/ 2147483647 w 99"/>
              <a:gd name="T11" fmla="*/ 2147483647 h 51"/>
              <a:gd name="T12" fmla="*/ 2147483647 w 99"/>
              <a:gd name="T13" fmla="*/ 2147483647 h 51"/>
              <a:gd name="T14" fmla="*/ 2147483647 w 99"/>
              <a:gd name="T15" fmla="*/ 2147483647 h 51"/>
              <a:gd name="T16" fmla="*/ 2147483647 w 99"/>
              <a:gd name="T17" fmla="*/ 2147483647 h 51"/>
              <a:gd name="T18" fmla="*/ 2147483647 w 99"/>
              <a:gd name="T19" fmla="*/ 2147483647 h 51"/>
              <a:gd name="T20" fmla="*/ 2147483647 w 99"/>
              <a:gd name="T21" fmla="*/ 2147483647 h 51"/>
              <a:gd name="T22" fmla="*/ 2147483647 w 99"/>
              <a:gd name="T23" fmla="*/ 2147483647 h 51"/>
              <a:gd name="T24" fmla="*/ 2147483647 w 99"/>
              <a:gd name="T25" fmla="*/ 2147483647 h 51"/>
              <a:gd name="T26" fmla="*/ 2147483647 w 99"/>
              <a:gd name="T27" fmla="*/ 2147483647 h 51"/>
              <a:gd name="T28" fmla="*/ 2147483647 w 99"/>
              <a:gd name="T29" fmla="*/ 2147483647 h 51"/>
              <a:gd name="T30" fmla="*/ 2147483647 w 99"/>
              <a:gd name="T31" fmla="*/ 2147483647 h 51"/>
              <a:gd name="T32" fmla="*/ 2147483647 w 99"/>
              <a:gd name="T33" fmla="*/ 2147483647 h 51"/>
              <a:gd name="T34" fmla="*/ 2147483647 w 99"/>
              <a:gd name="T35" fmla="*/ 2147483647 h 51"/>
              <a:gd name="T36" fmla="*/ 2147483647 w 99"/>
              <a:gd name="T37" fmla="*/ 2147483647 h 51"/>
              <a:gd name="T38" fmla="*/ 2147483647 w 99"/>
              <a:gd name="T39" fmla="*/ 2147483647 h 51"/>
              <a:gd name="T40" fmla="*/ 2147483647 w 99"/>
              <a:gd name="T41" fmla="*/ 2147483647 h 51"/>
              <a:gd name="T42" fmla="*/ 2147483647 w 99"/>
              <a:gd name="T43" fmla="*/ 2147483647 h 51"/>
              <a:gd name="T44" fmla="*/ 2147483647 w 99"/>
              <a:gd name="T45" fmla="*/ 2147483647 h 51"/>
              <a:gd name="T46" fmla="*/ 2147483647 w 99"/>
              <a:gd name="T47" fmla="*/ 2147483647 h 51"/>
              <a:gd name="T48" fmla="*/ 2147483647 w 99"/>
              <a:gd name="T49" fmla="*/ 2147483647 h 51"/>
              <a:gd name="T50" fmla="*/ 2147483647 w 99"/>
              <a:gd name="T51" fmla="*/ 2147483647 h 51"/>
              <a:gd name="T52" fmla="*/ 2147483647 w 99"/>
              <a:gd name="T53" fmla="*/ 2147483647 h 51"/>
              <a:gd name="T54" fmla="*/ 0 w 99"/>
              <a:gd name="T55" fmla="*/ 2147483647 h 51"/>
              <a:gd name="T56" fmla="*/ 2147483647 w 99"/>
              <a:gd name="T57" fmla="*/ 2147483647 h 51"/>
              <a:gd name="T58" fmla="*/ 2147483647 w 99"/>
              <a:gd name="T59" fmla="*/ 2147483647 h 51"/>
              <a:gd name="T60" fmla="*/ 2147483647 w 99"/>
              <a:gd name="T61" fmla="*/ 2147483647 h 51"/>
              <a:gd name="T62" fmla="*/ 2147483647 w 99"/>
              <a:gd name="T63" fmla="*/ 2147483647 h 51"/>
              <a:gd name="T64" fmla="*/ 2147483647 w 99"/>
              <a:gd name="T65" fmla="*/ 2147483647 h 51"/>
              <a:gd name="T66" fmla="*/ 2147483647 w 99"/>
              <a:gd name="T67" fmla="*/ 2147483647 h 51"/>
              <a:gd name="T68" fmla="*/ 2147483647 w 99"/>
              <a:gd name="T69" fmla="*/ 2147483647 h 51"/>
              <a:gd name="T70" fmla="*/ 2147483647 w 99"/>
              <a:gd name="T71" fmla="*/ 2147483647 h 51"/>
              <a:gd name="T72" fmla="*/ 2147483647 w 99"/>
              <a:gd name="T73" fmla="*/ 2147483647 h 51"/>
              <a:gd name="T74" fmla="*/ 2147483647 w 99"/>
              <a:gd name="T75" fmla="*/ 2147483647 h 51"/>
              <a:gd name="T76" fmla="*/ 2147483647 w 99"/>
              <a:gd name="T77" fmla="*/ 2147483647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8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5071928" y="2288803"/>
            <a:ext cx="228600" cy="163512"/>
          </a:xfrm>
          <a:custGeom>
            <a:avLst/>
            <a:gdLst>
              <a:gd name="T0" fmla="*/ 2147483647 w 525"/>
              <a:gd name="T1" fmla="*/ 2147483647 h 311"/>
              <a:gd name="T2" fmla="*/ 2147483647 w 525"/>
              <a:gd name="T3" fmla="*/ 2147483647 h 311"/>
              <a:gd name="T4" fmla="*/ 2147483647 w 525"/>
              <a:gd name="T5" fmla="*/ 2147483647 h 311"/>
              <a:gd name="T6" fmla="*/ 2147483647 w 525"/>
              <a:gd name="T7" fmla="*/ 2147483647 h 311"/>
              <a:gd name="T8" fmla="*/ 2147483647 w 525"/>
              <a:gd name="T9" fmla="*/ 2147483647 h 311"/>
              <a:gd name="T10" fmla="*/ 2147483647 w 525"/>
              <a:gd name="T11" fmla="*/ 2147483647 h 311"/>
              <a:gd name="T12" fmla="*/ 2147483647 w 525"/>
              <a:gd name="T13" fmla="*/ 2147483647 h 311"/>
              <a:gd name="T14" fmla="*/ 2147483647 w 525"/>
              <a:gd name="T15" fmla="*/ 2147483647 h 311"/>
              <a:gd name="T16" fmla="*/ 2147483647 w 525"/>
              <a:gd name="T17" fmla="*/ 2147483647 h 311"/>
              <a:gd name="T18" fmla="*/ 2147483647 w 525"/>
              <a:gd name="T19" fmla="*/ 2147483647 h 311"/>
              <a:gd name="T20" fmla="*/ 2147483647 w 525"/>
              <a:gd name="T21" fmla="*/ 2147483647 h 311"/>
              <a:gd name="T22" fmla="*/ 2147483647 w 525"/>
              <a:gd name="T23" fmla="*/ 2147483647 h 311"/>
              <a:gd name="T24" fmla="*/ 2147483647 w 525"/>
              <a:gd name="T25" fmla="*/ 2147483647 h 311"/>
              <a:gd name="T26" fmla="*/ 2147483647 w 525"/>
              <a:gd name="T27" fmla="*/ 2147483647 h 311"/>
              <a:gd name="T28" fmla="*/ 2147483647 w 525"/>
              <a:gd name="T29" fmla="*/ 2147483647 h 311"/>
              <a:gd name="T30" fmla="*/ 2147483647 w 525"/>
              <a:gd name="T31" fmla="*/ 2147483647 h 311"/>
              <a:gd name="T32" fmla="*/ 2147483647 w 525"/>
              <a:gd name="T33" fmla="*/ 2147483647 h 311"/>
              <a:gd name="T34" fmla="*/ 2147483647 w 525"/>
              <a:gd name="T35" fmla="*/ 2147483647 h 311"/>
              <a:gd name="T36" fmla="*/ 2147483647 w 525"/>
              <a:gd name="T37" fmla="*/ 2147483647 h 311"/>
              <a:gd name="T38" fmla="*/ 2147483647 w 525"/>
              <a:gd name="T39" fmla="*/ 2147483647 h 311"/>
              <a:gd name="T40" fmla="*/ 2147483647 w 525"/>
              <a:gd name="T41" fmla="*/ 2147483647 h 311"/>
              <a:gd name="T42" fmla="*/ 2147483647 w 525"/>
              <a:gd name="T43" fmla="*/ 2147483647 h 311"/>
              <a:gd name="T44" fmla="*/ 2147483647 w 525"/>
              <a:gd name="T45" fmla="*/ 2147483647 h 311"/>
              <a:gd name="T46" fmla="*/ 2147483647 w 525"/>
              <a:gd name="T47" fmla="*/ 2147483647 h 311"/>
              <a:gd name="T48" fmla="*/ 2147483647 w 525"/>
              <a:gd name="T49" fmla="*/ 2147483647 h 311"/>
              <a:gd name="T50" fmla="*/ 2147483647 w 525"/>
              <a:gd name="T51" fmla="*/ 2147483647 h 311"/>
              <a:gd name="T52" fmla="*/ 2147483647 w 525"/>
              <a:gd name="T53" fmla="*/ 2147483647 h 311"/>
              <a:gd name="T54" fmla="*/ 2147483647 w 525"/>
              <a:gd name="T55" fmla="*/ 2147483647 h 311"/>
              <a:gd name="T56" fmla="*/ 2147483647 w 525"/>
              <a:gd name="T57" fmla="*/ 2147483647 h 311"/>
              <a:gd name="T58" fmla="*/ 2147483647 w 525"/>
              <a:gd name="T59" fmla="*/ 2147483647 h 311"/>
              <a:gd name="T60" fmla="*/ 2147483647 w 525"/>
              <a:gd name="T61" fmla="*/ 2147483647 h 311"/>
              <a:gd name="T62" fmla="*/ 2147483647 w 525"/>
              <a:gd name="T63" fmla="*/ 2147483647 h 311"/>
              <a:gd name="T64" fmla="*/ 2147483647 w 525"/>
              <a:gd name="T65" fmla="*/ 2147483647 h 311"/>
              <a:gd name="T66" fmla="*/ 2147483647 w 525"/>
              <a:gd name="T67" fmla="*/ 2147483647 h 311"/>
              <a:gd name="T68" fmla="*/ 2147483647 w 525"/>
              <a:gd name="T69" fmla="*/ 2147483647 h 311"/>
              <a:gd name="T70" fmla="*/ 2147483647 w 525"/>
              <a:gd name="T71" fmla="*/ 2147483647 h 311"/>
              <a:gd name="T72" fmla="*/ 2147483647 w 525"/>
              <a:gd name="T73" fmla="*/ 2147483647 h 311"/>
              <a:gd name="T74" fmla="*/ 2147483647 w 525"/>
              <a:gd name="T75" fmla="*/ 2147483647 h 311"/>
              <a:gd name="T76" fmla="*/ 0 w 525"/>
              <a:gd name="T77" fmla="*/ 2147483647 h 311"/>
              <a:gd name="T78" fmla="*/ 2147483647 w 525"/>
              <a:gd name="T79" fmla="*/ 2147483647 h 311"/>
              <a:gd name="T80" fmla="*/ 2147483647 w 525"/>
              <a:gd name="T81" fmla="*/ 2147483647 h 311"/>
              <a:gd name="T82" fmla="*/ 2147483647 w 525"/>
              <a:gd name="T83" fmla="*/ 2147483647 h 311"/>
              <a:gd name="T84" fmla="*/ 2147483647 w 525"/>
              <a:gd name="T85" fmla="*/ 2147483647 h 311"/>
              <a:gd name="T86" fmla="*/ 2147483647 w 525"/>
              <a:gd name="T87" fmla="*/ 2147483647 h 311"/>
              <a:gd name="T88" fmla="*/ 2147483647 w 525"/>
              <a:gd name="T89" fmla="*/ 2147483647 h 311"/>
              <a:gd name="T90" fmla="*/ 2147483647 w 525"/>
              <a:gd name="T91" fmla="*/ 2147483647 h 311"/>
              <a:gd name="T92" fmla="*/ 2147483647 w 525"/>
              <a:gd name="T93" fmla="*/ 2147483647 h 311"/>
              <a:gd name="T94" fmla="*/ 2147483647 w 525"/>
              <a:gd name="T95" fmla="*/ 2147483647 h 311"/>
              <a:gd name="T96" fmla="*/ 2147483647 w 525"/>
              <a:gd name="T97" fmla="*/ 2147483647 h 311"/>
              <a:gd name="T98" fmla="*/ 2147483647 w 525"/>
              <a:gd name="T99" fmla="*/ 2147483647 h 311"/>
              <a:gd name="T100" fmla="*/ 2147483647 w 525"/>
              <a:gd name="T101" fmla="*/ 2147483647 h 311"/>
              <a:gd name="T102" fmla="*/ 2147483647 w 525"/>
              <a:gd name="T103" fmla="*/ 2147483647 h 311"/>
              <a:gd name="T104" fmla="*/ 2147483647 w 525"/>
              <a:gd name="T105" fmla="*/ 2147483647 h 311"/>
              <a:gd name="T106" fmla="*/ 2147483647 w 525"/>
              <a:gd name="T107" fmla="*/ 2147483647 h 311"/>
              <a:gd name="T108" fmla="*/ 2147483647 w 525"/>
              <a:gd name="T109" fmla="*/ 2147483647 h 311"/>
              <a:gd name="T110" fmla="*/ 2147483647 w 525"/>
              <a:gd name="T111" fmla="*/ 2147483647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9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863965" y="2599953"/>
            <a:ext cx="31750" cy="55562"/>
          </a:xfrm>
          <a:custGeom>
            <a:avLst/>
            <a:gdLst>
              <a:gd name="T0" fmla="*/ 2147483647 w 79"/>
              <a:gd name="T1" fmla="*/ 0 h 38"/>
              <a:gd name="T2" fmla="*/ 2147483647 w 79"/>
              <a:gd name="T3" fmla="*/ 2147483647 h 38"/>
              <a:gd name="T4" fmla="*/ 2147483647 w 79"/>
              <a:gd name="T5" fmla="*/ 2147483647 h 38"/>
              <a:gd name="T6" fmla="*/ 2147483647 w 79"/>
              <a:gd name="T7" fmla="*/ 2147483647 h 38"/>
              <a:gd name="T8" fmla="*/ 2147483647 w 79"/>
              <a:gd name="T9" fmla="*/ 2147483647 h 38"/>
              <a:gd name="T10" fmla="*/ 2147483647 w 79"/>
              <a:gd name="T11" fmla="*/ 2147483647 h 38"/>
              <a:gd name="T12" fmla="*/ 2147483647 w 79"/>
              <a:gd name="T13" fmla="*/ 2147483647 h 38"/>
              <a:gd name="T14" fmla="*/ 2147483647 w 79"/>
              <a:gd name="T15" fmla="*/ 2147483647 h 38"/>
              <a:gd name="T16" fmla="*/ 2147483647 w 79"/>
              <a:gd name="T17" fmla="*/ 2147483647 h 38"/>
              <a:gd name="T18" fmla="*/ 2147483647 w 79"/>
              <a:gd name="T19" fmla="*/ 2147483647 h 38"/>
              <a:gd name="T20" fmla="*/ 2147483647 w 79"/>
              <a:gd name="T21" fmla="*/ 2147483647 h 38"/>
              <a:gd name="T22" fmla="*/ 2147483647 w 79"/>
              <a:gd name="T23" fmla="*/ 2147483647 h 38"/>
              <a:gd name="T24" fmla="*/ 2147483647 w 79"/>
              <a:gd name="T25" fmla="*/ 2147483647 h 38"/>
              <a:gd name="T26" fmla="*/ 2147483647 w 79"/>
              <a:gd name="T27" fmla="*/ 2147483647 h 38"/>
              <a:gd name="T28" fmla="*/ 2147483647 w 79"/>
              <a:gd name="T29" fmla="*/ 2147483647 h 38"/>
              <a:gd name="T30" fmla="*/ 2147483647 w 79"/>
              <a:gd name="T31" fmla="*/ 2147483647 h 38"/>
              <a:gd name="T32" fmla="*/ 2147483647 w 79"/>
              <a:gd name="T33" fmla="*/ 2147483647 h 38"/>
              <a:gd name="T34" fmla="*/ 2147483647 w 79"/>
              <a:gd name="T35" fmla="*/ 2147483647 h 38"/>
              <a:gd name="T36" fmla="*/ 2147483647 w 79"/>
              <a:gd name="T37" fmla="*/ 2147483647 h 38"/>
              <a:gd name="T38" fmla="*/ 2147483647 w 79"/>
              <a:gd name="T39" fmla="*/ 2147483647 h 38"/>
              <a:gd name="T40" fmla="*/ 2147483647 w 79"/>
              <a:gd name="T41" fmla="*/ 2147483647 h 38"/>
              <a:gd name="T42" fmla="*/ 2147483647 w 79"/>
              <a:gd name="T43" fmla="*/ 2147483647 h 38"/>
              <a:gd name="T44" fmla="*/ 2147483647 w 79"/>
              <a:gd name="T45" fmla="*/ 2147483647 h 38"/>
              <a:gd name="T46" fmla="*/ 0 w 79"/>
              <a:gd name="T47" fmla="*/ 2147483647 h 38"/>
              <a:gd name="T48" fmla="*/ 0 w 79"/>
              <a:gd name="T49" fmla="*/ 2147483647 h 38"/>
              <a:gd name="T50" fmla="*/ 2147483647 w 79"/>
              <a:gd name="T51" fmla="*/ 2147483647 h 38"/>
              <a:gd name="T52" fmla="*/ 2147483647 w 79"/>
              <a:gd name="T53" fmla="*/ 2147483647 h 38"/>
              <a:gd name="T54" fmla="*/ 2147483647 w 79"/>
              <a:gd name="T55" fmla="*/ 2147483647 h 38"/>
              <a:gd name="T56" fmla="*/ 2147483647 w 79"/>
              <a:gd name="T57" fmla="*/ 2147483647 h 38"/>
              <a:gd name="T58" fmla="*/ 2147483647 w 79"/>
              <a:gd name="T59" fmla="*/ 2147483647 h 38"/>
              <a:gd name="T60" fmla="*/ 214748364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0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169015" y="2896815"/>
            <a:ext cx="196850" cy="268288"/>
          </a:xfrm>
          <a:custGeom>
            <a:avLst/>
            <a:gdLst>
              <a:gd name="T0" fmla="*/ 2147483647 w 459"/>
              <a:gd name="T1" fmla="*/ 2147483647 h 511"/>
              <a:gd name="T2" fmla="*/ 2147483647 w 459"/>
              <a:gd name="T3" fmla="*/ 2147483647 h 511"/>
              <a:gd name="T4" fmla="*/ 0 w 459"/>
              <a:gd name="T5" fmla="*/ 0 h 511"/>
              <a:gd name="T6" fmla="*/ 2147483647 w 459"/>
              <a:gd name="T7" fmla="*/ 2147483647 h 511"/>
              <a:gd name="T8" fmla="*/ 2147483647 w 459"/>
              <a:gd name="T9" fmla="*/ 2147483647 h 511"/>
              <a:gd name="T10" fmla="*/ 2147483647 w 459"/>
              <a:gd name="T11" fmla="*/ 2147483647 h 511"/>
              <a:gd name="T12" fmla="*/ 2147483647 w 459"/>
              <a:gd name="T13" fmla="*/ 2147483647 h 511"/>
              <a:gd name="T14" fmla="*/ 2147483647 w 459"/>
              <a:gd name="T15" fmla="*/ 2147483647 h 511"/>
              <a:gd name="T16" fmla="*/ 2147483647 w 459"/>
              <a:gd name="T17" fmla="*/ 2147483647 h 511"/>
              <a:gd name="T18" fmla="*/ 2147483647 w 459"/>
              <a:gd name="T19" fmla="*/ 2147483647 h 511"/>
              <a:gd name="T20" fmla="*/ 2147483647 w 459"/>
              <a:gd name="T21" fmla="*/ 2147483647 h 511"/>
              <a:gd name="T22" fmla="*/ 2147483647 w 459"/>
              <a:gd name="T23" fmla="*/ 2147483647 h 511"/>
              <a:gd name="T24" fmla="*/ 2147483647 w 459"/>
              <a:gd name="T25" fmla="*/ 2147483647 h 511"/>
              <a:gd name="T26" fmla="*/ 2147483647 w 459"/>
              <a:gd name="T27" fmla="*/ 2147483647 h 511"/>
              <a:gd name="T28" fmla="*/ 2147483647 w 459"/>
              <a:gd name="T29" fmla="*/ 2147483647 h 511"/>
              <a:gd name="T30" fmla="*/ 2147483647 w 459"/>
              <a:gd name="T31" fmla="*/ 2147483647 h 511"/>
              <a:gd name="T32" fmla="*/ 2147483647 w 459"/>
              <a:gd name="T33" fmla="*/ 2147483647 h 511"/>
              <a:gd name="T34" fmla="*/ 2147483647 w 459"/>
              <a:gd name="T35" fmla="*/ 2147483647 h 511"/>
              <a:gd name="T36" fmla="*/ 2147483647 w 459"/>
              <a:gd name="T37" fmla="*/ 2147483647 h 511"/>
              <a:gd name="T38" fmla="*/ 2147483647 w 459"/>
              <a:gd name="T39" fmla="*/ 2147483647 h 511"/>
              <a:gd name="T40" fmla="*/ 2147483647 w 459"/>
              <a:gd name="T41" fmla="*/ 2147483647 h 511"/>
              <a:gd name="T42" fmla="*/ 2147483647 w 459"/>
              <a:gd name="T43" fmla="*/ 2147483647 h 511"/>
              <a:gd name="T44" fmla="*/ 2147483647 w 459"/>
              <a:gd name="T45" fmla="*/ 2147483647 h 511"/>
              <a:gd name="T46" fmla="*/ 2147483647 w 459"/>
              <a:gd name="T47" fmla="*/ 2147483647 h 511"/>
              <a:gd name="T48" fmla="*/ 2147483647 w 459"/>
              <a:gd name="T49" fmla="*/ 2147483647 h 511"/>
              <a:gd name="T50" fmla="*/ 2147483647 w 459"/>
              <a:gd name="T51" fmla="*/ 2147483647 h 511"/>
              <a:gd name="T52" fmla="*/ 2147483647 w 459"/>
              <a:gd name="T53" fmla="*/ 2147483647 h 511"/>
              <a:gd name="T54" fmla="*/ 2147483647 w 459"/>
              <a:gd name="T55" fmla="*/ 2147483647 h 511"/>
              <a:gd name="T56" fmla="*/ 2147483647 w 459"/>
              <a:gd name="T57" fmla="*/ 2147483647 h 511"/>
              <a:gd name="T58" fmla="*/ 2147483647 w 459"/>
              <a:gd name="T59" fmla="*/ 2147483647 h 511"/>
              <a:gd name="T60" fmla="*/ 2147483647 w 459"/>
              <a:gd name="T61" fmla="*/ 2147483647 h 511"/>
              <a:gd name="T62" fmla="*/ 2147483647 w 459"/>
              <a:gd name="T63" fmla="*/ 2147483647 h 511"/>
              <a:gd name="T64" fmla="*/ 2147483647 w 459"/>
              <a:gd name="T65" fmla="*/ 2147483647 h 511"/>
              <a:gd name="T66" fmla="*/ 2147483647 w 459"/>
              <a:gd name="T67" fmla="*/ 2147483647 h 511"/>
              <a:gd name="T68" fmla="*/ 2147483647 w 459"/>
              <a:gd name="T69" fmla="*/ 2147483647 h 511"/>
              <a:gd name="T70" fmla="*/ 2147483647 w 459"/>
              <a:gd name="T71" fmla="*/ 2147483647 h 511"/>
              <a:gd name="T72" fmla="*/ 2147483647 w 459"/>
              <a:gd name="T73" fmla="*/ 2147483647 h 511"/>
              <a:gd name="T74" fmla="*/ 2147483647 w 459"/>
              <a:gd name="T75" fmla="*/ 2147483647 h 511"/>
              <a:gd name="T76" fmla="*/ 2147483647 w 459"/>
              <a:gd name="T77" fmla="*/ 2147483647 h 511"/>
              <a:gd name="T78" fmla="*/ 2147483647 w 459"/>
              <a:gd name="T79" fmla="*/ 2147483647 h 511"/>
              <a:gd name="T80" fmla="*/ 2147483647 w 459"/>
              <a:gd name="T81" fmla="*/ 2147483647 h 511"/>
              <a:gd name="T82" fmla="*/ 2147483647 w 459"/>
              <a:gd name="T83" fmla="*/ 2147483647 h 511"/>
              <a:gd name="T84" fmla="*/ 2147483647 w 459"/>
              <a:gd name="T85" fmla="*/ 2147483647 h 511"/>
              <a:gd name="T86" fmla="*/ 2147483647 w 459"/>
              <a:gd name="T87" fmla="*/ 2147483647 h 511"/>
              <a:gd name="T88" fmla="*/ 2147483647 w 459"/>
              <a:gd name="T89" fmla="*/ 2147483647 h 511"/>
              <a:gd name="T90" fmla="*/ 2147483647 w 459"/>
              <a:gd name="T91" fmla="*/ 2147483647 h 511"/>
              <a:gd name="T92" fmla="*/ 2147483647 w 459"/>
              <a:gd name="T93" fmla="*/ 214748364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411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959340" y="2852365"/>
            <a:ext cx="671513" cy="384175"/>
            <a:chOff x="4115" y="1551"/>
            <a:chExt cx="504" cy="244"/>
          </a:xfrm>
        </p:grpSpPr>
        <p:sp>
          <p:nvSpPr>
            <p:cNvPr id="2447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0 w 240"/>
                <a:gd name="T1" fmla="*/ 3 h 259"/>
                <a:gd name="T2" fmla="*/ 1 w 240"/>
                <a:gd name="T3" fmla="*/ 3 h 259"/>
                <a:gd name="T4" fmla="*/ 1 w 240"/>
                <a:gd name="T5" fmla="*/ 3 h 259"/>
                <a:gd name="T6" fmla="*/ 2 w 240"/>
                <a:gd name="T7" fmla="*/ 3 h 259"/>
                <a:gd name="T8" fmla="*/ 2 w 240"/>
                <a:gd name="T9" fmla="*/ 2 h 259"/>
                <a:gd name="T10" fmla="*/ 3 w 240"/>
                <a:gd name="T11" fmla="*/ 1 h 259"/>
                <a:gd name="T12" fmla="*/ 3 w 240"/>
                <a:gd name="T13" fmla="*/ 0 h 259"/>
                <a:gd name="T14" fmla="*/ 3 w 240"/>
                <a:gd name="T15" fmla="*/ 0 h 259"/>
                <a:gd name="T16" fmla="*/ 2 w 240"/>
                <a:gd name="T17" fmla="*/ 0 h 259"/>
                <a:gd name="T18" fmla="*/ 2 w 240"/>
                <a:gd name="T19" fmla="*/ 1 h 259"/>
                <a:gd name="T20" fmla="*/ 2 w 240"/>
                <a:gd name="T21" fmla="*/ 1 h 259"/>
                <a:gd name="T22" fmla="*/ 2 w 240"/>
                <a:gd name="T23" fmla="*/ 2 h 259"/>
                <a:gd name="T24" fmla="*/ 1 w 240"/>
                <a:gd name="T25" fmla="*/ 2 h 259"/>
                <a:gd name="T26" fmla="*/ 1 w 240"/>
                <a:gd name="T27" fmla="*/ 3 h 259"/>
                <a:gd name="T28" fmla="*/ 0 w 240"/>
                <a:gd name="T29" fmla="*/ 3 h 259"/>
                <a:gd name="T30" fmla="*/ 0 w 240"/>
                <a:gd name="T31" fmla="*/ 3 h 259"/>
                <a:gd name="T32" fmla="*/ 0 w 240"/>
                <a:gd name="T33" fmla="*/ 3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48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0 w 259"/>
                <a:gd name="T1" fmla="*/ 1 h 104"/>
                <a:gd name="T2" fmla="*/ 0 w 259"/>
                <a:gd name="T3" fmla="*/ 1 h 104"/>
                <a:gd name="T4" fmla="*/ 1 w 259"/>
                <a:gd name="T5" fmla="*/ 1 h 104"/>
                <a:gd name="T6" fmla="*/ 1 w 259"/>
                <a:gd name="T7" fmla="*/ 1 h 104"/>
                <a:gd name="T8" fmla="*/ 1 w 259"/>
                <a:gd name="T9" fmla="*/ 1 h 104"/>
                <a:gd name="T10" fmla="*/ 2 w 259"/>
                <a:gd name="T11" fmla="*/ 1 h 104"/>
                <a:gd name="T12" fmla="*/ 3 w 259"/>
                <a:gd name="T13" fmla="*/ 0 h 104"/>
                <a:gd name="T14" fmla="*/ 3 w 259"/>
                <a:gd name="T15" fmla="*/ 0 h 104"/>
                <a:gd name="T16" fmla="*/ 3 w 259"/>
                <a:gd name="T17" fmla="*/ 0 h 104"/>
                <a:gd name="T18" fmla="*/ 2 w 259"/>
                <a:gd name="T19" fmla="*/ 0 h 104"/>
                <a:gd name="T20" fmla="*/ 2 w 259"/>
                <a:gd name="T21" fmla="*/ 0 h 104"/>
                <a:gd name="T22" fmla="*/ 1 w 259"/>
                <a:gd name="T23" fmla="*/ 0 h 104"/>
                <a:gd name="T24" fmla="*/ 1 w 259"/>
                <a:gd name="T25" fmla="*/ 0 h 104"/>
                <a:gd name="T26" fmla="*/ 0 w 259"/>
                <a:gd name="T27" fmla="*/ 1 h 104"/>
                <a:gd name="T28" fmla="*/ 0 w 259"/>
                <a:gd name="T29" fmla="*/ 1 h 104"/>
                <a:gd name="T30" fmla="*/ 0 w 259"/>
                <a:gd name="T31" fmla="*/ 1 h 104"/>
                <a:gd name="T32" fmla="*/ 0 w 259"/>
                <a:gd name="T33" fmla="*/ 1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412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5016365" y="3601665"/>
            <a:ext cx="530225" cy="511175"/>
          </a:xfrm>
          <a:custGeom>
            <a:avLst/>
            <a:gdLst>
              <a:gd name="T0" fmla="*/ 2147483647 w 1227"/>
              <a:gd name="T1" fmla="*/ 2147483647 h 979"/>
              <a:gd name="T2" fmla="*/ 2147483647 w 1227"/>
              <a:gd name="T3" fmla="*/ 2147483647 h 979"/>
              <a:gd name="T4" fmla="*/ 2147483647 w 1227"/>
              <a:gd name="T5" fmla="*/ 2147483647 h 979"/>
              <a:gd name="T6" fmla="*/ 2147483647 w 1227"/>
              <a:gd name="T7" fmla="*/ 2147483647 h 979"/>
              <a:gd name="T8" fmla="*/ 2147483647 w 1227"/>
              <a:gd name="T9" fmla="*/ 2147483647 h 979"/>
              <a:gd name="T10" fmla="*/ 2147483647 w 1227"/>
              <a:gd name="T11" fmla="*/ 2147483647 h 979"/>
              <a:gd name="T12" fmla="*/ 2147483647 w 1227"/>
              <a:gd name="T13" fmla="*/ 2147483647 h 979"/>
              <a:gd name="T14" fmla="*/ 2147483647 w 1227"/>
              <a:gd name="T15" fmla="*/ 2147483647 h 979"/>
              <a:gd name="T16" fmla="*/ 2147483647 w 1227"/>
              <a:gd name="T17" fmla="*/ 2147483647 h 979"/>
              <a:gd name="T18" fmla="*/ 2147483647 w 1227"/>
              <a:gd name="T19" fmla="*/ 2147483647 h 979"/>
              <a:gd name="T20" fmla="*/ 2147483647 w 1227"/>
              <a:gd name="T21" fmla="*/ 2147483647 h 979"/>
              <a:gd name="T22" fmla="*/ 2147483647 w 1227"/>
              <a:gd name="T23" fmla="*/ 2147483647 h 979"/>
              <a:gd name="T24" fmla="*/ 2147483647 w 1227"/>
              <a:gd name="T25" fmla="*/ 2147483647 h 979"/>
              <a:gd name="T26" fmla="*/ 2147483647 w 1227"/>
              <a:gd name="T27" fmla="*/ 2147483647 h 979"/>
              <a:gd name="T28" fmla="*/ 2147483647 w 1227"/>
              <a:gd name="T29" fmla="*/ 2147483647 h 979"/>
              <a:gd name="T30" fmla="*/ 2147483647 w 1227"/>
              <a:gd name="T31" fmla="*/ 2147483647 h 979"/>
              <a:gd name="T32" fmla="*/ 2147483647 w 1227"/>
              <a:gd name="T33" fmla="*/ 2147483647 h 979"/>
              <a:gd name="T34" fmla="*/ 2147483647 w 1227"/>
              <a:gd name="T35" fmla="*/ 2147483647 h 979"/>
              <a:gd name="T36" fmla="*/ 2147483647 w 1227"/>
              <a:gd name="T37" fmla="*/ 2147483647 h 979"/>
              <a:gd name="T38" fmla="*/ 2147483647 w 1227"/>
              <a:gd name="T39" fmla="*/ 2147483647 h 979"/>
              <a:gd name="T40" fmla="*/ 2147483647 w 1227"/>
              <a:gd name="T41" fmla="*/ 2147483647 h 979"/>
              <a:gd name="T42" fmla="*/ 2147483647 w 1227"/>
              <a:gd name="T43" fmla="*/ 2147483647 h 979"/>
              <a:gd name="T44" fmla="*/ 2147483647 w 1227"/>
              <a:gd name="T45" fmla="*/ 2147483647 h 979"/>
              <a:gd name="T46" fmla="*/ 2147483647 w 1227"/>
              <a:gd name="T47" fmla="*/ 2147483647 h 979"/>
              <a:gd name="T48" fmla="*/ 2147483647 w 1227"/>
              <a:gd name="T49" fmla="*/ 2147483647 h 979"/>
              <a:gd name="T50" fmla="*/ 2147483647 w 1227"/>
              <a:gd name="T51" fmla="*/ 2147483647 h 979"/>
              <a:gd name="T52" fmla="*/ 2147483647 w 1227"/>
              <a:gd name="T53" fmla="*/ 2147483647 h 979"/>
              <a:gd name="T54" fmla="*/ 2147483647 w 1227"/>
              <a:gd name="T55" fmla="*/ 2147483647 h 979"/>
              <a:gd name="T56" fmla="*/ 2147483647 w 1227"/>
              <a:gd name="T57" fmla="*/ 2147483647 h 979"/>
              <a:gd name="T58" fmla="*/ 0 w 1227"/>
              <a:gd name="T59" fmla="*/ 2147483647 h 979"/>
              <a:gd name="T60" fmla="*/ 2147483647 w 1227"/>
              <a:gd name="T61" fmla="*/ 2147483647 h 979"/>
              <a:gd name="T62" fmla="*/ 2147483647 w 1227"/>
              <a:gd name="T63" fmla="*/ 2147483647 h 979"/>
              <a:gd name="T64" fmla="*/ 2147483647 w 1227"/>
              <a:gd name="T65" fmla="*/ 2147483647 h 979"/>
              <a:gd name="T66" fmla="*/ 2147483647 w 1227"/>
              <a:gd name="T67" fmla="*/ 2147483647 h 979"/>
              <a:gd name="T68" fmla="*/ 2147483647 w 1227"/>
              <a:gd name="T69" fmla="*/ 2147483647 h 979"/>
              <a:gd name="T70" fmla="*/ 2147483647 w 1227"/>
              <a:gd name="T71" fmla="*/ 2147483647 h 979"/>
              <a:gd name="T72" fmla="*/ 2147483647 w 1227"/>
              <a:gd name="T73" fmla="*/ 2147483647 h 979"/>
              <a:gd name="T74" fmla="*/ 2147483647 w 1227"/>
              <a:gd name="T75" fmla="*/ 2147483647 h 979"/>
              <a:gd name="T76" fmla="*/ 2147483647 w 1227"/>
              <a:gd name="T77" fmla="*/ 2147483647 h 979"/>
              <a:gd name="T78" fmla="*/ 2147483647 w 1227"/>
              <a:gd name="T79" fmla="*/ 2147483647 h 979"/>
              <a:gd name="T80" fmla="*/ 2147483647 w 1227"/>
              <a:gd name="T81" fmla="*/ 2147483647 h 979"/>
              <a:gd name="T82" fmla="*/ 2147483647 w 1227"/>
              <a:gd name="T83" fmla="*/ 2147483647 h 979"/>
              <a:gd name="T84" fmla="*/ 2147483647 w 1227"/>
              <a:gd name="T85" fmla="*/ 2147483647 h 979"/>
              <a:gd name="T86" fmla="*/ 2147483647 w 1227"/>
              <a:gd name="T87" fmla="*/ 2147483647 h 979"/>
              <a:gd name="T88" fmla="*/ 2147483647 w 1227"/>
              <a:gd name="T89" fmla="*/ 2147483647 h 979"/>
              <a:gd name="T90" fmla="*/ 2147483647 w 1227"/>
              <a:gd name="T91" fmla="*/ 2147483647 h 979"/>
              <a:gd name="T92" fmla="*/ 2147483647 w 1227"/>
              <a:gd name="T93" fmla="*/ 2147483647 h 979"/>
              <a:gd name="T94" fmla="*/ 2147483647 w 1227"/>
              <a:gd name="T95" fmla="*/ 2147483647 h 979"/>
              <a:gd name="T96" fmla="*/ 2147483647 w 1227"/>
              <a:gd name="T97" fmla="*/ 2147483647 h 979"/>
              <a:gd name="T98" fmla="*/ 2147483647 w 1227"/>
              <a:gd name="T99" fmla="*/ 2147483647 h 979"/>
              <a:gd name="T100" fmla="*/ 2147483647 w 1227"/>
              <a:gd name="T101" fmla="*/ 2147483647 h 979"/>
              <a:gd name="T102" fmla="*/ 2147483647 w 1227"/>
              <a:gd name="T103" fmla="*/ 2147483647 h 979"/>
              <a:gd name="T104" fmla="*/ 2147483647 w 1227"/>
              <a:gd name="T105" fmla="*/ 2147483647 h 979"/>
              <a:gd name="T106" fmla="*/ 2147483647 w 1227"/>
              <a:gd name="T107" fmla="*/ 2147483647 h 979"/>
              <a:gd name="T108" fmla="*/ 2147483647 w 1227"/>
              <a:gd name="T109" fmla="*/ 2147483647 h 979"/>
              <a:gd name="T110" fmla="*/ 2147483647 w 1227"/>
              <a:gd name="T111" fmla="*/ 2147483647 h 979"/>
              <a:gd name="T112" fmla="*/ 2147483647 w 1227"/>
              <a:gd name="T113" fmla="*/ 2147483647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3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490903" y="3146053"/>
            <a:ext cx="57150" cy="57150"/>
          </a:xfrm>
          <a:custGeom>
            <a:avLst/>
            <a:gdLst>
              <a:gd name="T0" fmla="*/ 2147483647 w 146"/>
              <a:gd name="T1" fmla="*/ 2147483647 h 81"/>
              <a:gd name="T2" fmla="*/ 2147483647 w 146"/>
              <a:gd name="T3" fmla="*/ 2147483647 h 81"/>
              <a:gd name="T4" fmla="*/ 2147483647 w 146"/>
              <a:gd name="T5" fmla="*/ 2147483647 h 81"/>
              <a:gd name="T6" fmla="*/ 2147483647 w 146"/>
              <a:gd name="T7" fmla="*/ 2147483647 h 81"/>
              <a:gd name="T8" fmla="*/ 2147483647 w 146"/>
              <a:gd name="T9" fmla="*/ 2147483647 h 81"/>
              <a:gd name="T10" fmla="*/ 2147483647 w 146"/>
              <a:gd name="T11" fmla="*/ 2147483647 h 81"/>
              <a:gd name="T12" fmla="*/ 2147483647 w 146"/>
              <a:gd name="T13" fmla="*/ 2147483647 h 81"/>
              <a:gd name="T14" fmla="*/ 2147483647 w 146"/>
              <a:gd name="T15" fmla="*/ 2147483647 h 81"/>
              <a:gd name="T16" fmla="*/ 2147483647 w 146"/>
              <a:gd name="T17" fmla="*/ 2147483647 h 81"/>
              <a:gd name="T18" fmla="*/ 2147483647 w 146"/>
              <a:gd name="T19" fmla="*/ 2147483647 h 81"/>
              <a:gd name="T20" fmla="*/ 2147483647 w 146"/>
              <a:gd name="T21" fmla="*/ 2147483647 h 81"/>
              <a:gd name="T22" fmla="*/ 2147483647 w 146"/>
              <a:gd name="T23" fmla="*/ 2147483647 h 81"/>
              <a:gd name="T24" fmla="*/ 2147483647 w 146"/>
              <a:gd name="T25" fmla="*/ 2147483647 h 81"/>
              <a:gd name="T26" fmla="*/ 2147483647 w 146"/>
              <a:gd name="T27" fmla="*/ 2147483647 h 81"/>
              <a:gd name="T28" fmla="*/ 0 w 146"/>
              <a:gd name="T29" fmla="*/ 2147483647 h 81"/>
              <a:gd name="T30" fmla="*/ 0 w 146"/>
              <a:gd name="T31" fmla="*/ 2147483647 h 81"/>
              <a:gd name="T32" fmla="*/ 0 w 146"/>
              <a:gd name="T33" fmla="*/ 2147483647 h 81"/>
              <a:gd name="T34" fmla="*/ 0 w 146"/>
              <a:gd name="T35" fmla="*/ 2147483647 h 81"/>
              <a:gd name="T36" fmla="*/ 0 w 146"/>
              <a:gd name="T37" fmla="*/ 2147483647 h 81"/>
              <a:gd name="T38" fmla="*/ 2147483647 w 146"/>
              <a:gd name="T39" fmla="*/ 2147483647 h 81"/>
              <a:gd name="T40" fmla="*/ 2147483647 w 146"/>
              <a:gd name="T41" fmla="*/ 2147483647 h 81"/>
              <a:gd name="T42" fmla="*/ 2147483647 w 146"/>
              <a:gd name="T43" fmla="*/ 2147483647 h 81"/>
              <a:gd name="T44" fmla="*/ 2147483647 w 146"/>
              <a:gd name="T45" fmla="*/ 2147483647 h 81"/>
              <a:gd name="T46" fmla="*/ 2147483647 w 146"/>
              <a:gd name="T47" fmla="*/ 2147483647 h 81"/>
              <a:gd name="T48" fmla="*/ 2147483647 w 146"/>
              <a:gd name="T49" fmla="*/ 2147483647 h 81"/>
              <a:gd name="T50" fmla="*/ 2147483647 w 146"/>
              <a:gd name="T51" fmla="*/ 2147483647 h 81"/>
              <a:gd name="T52" fmla="*/ 2147483647 w 146"/>
              <a:gd name="T53" fmla="*/ 2147483647 h 81"/>
              <a:gd name="T54" fmla="*/ 2147483647 w 146"/>
              <a:gd name="T55" fmla="*/ 2147483647 h 81"/>
              <a:gd name="T56" fmla="*/ 2147483647 w 146"/>
              <a:gd name="T57" fmla="*/ 0 h 81"/>
              <a:gd name="T58" fmla="*/ 2147483647 w 146"/>
              <a:gd name="T59" fmla="*/ 2147483647 h 81"/>
              <a:gd name="T60" fmla="*/ 2147483647 w 146"/>
              <a:gd name="T61" fmla="*/ 2147483647 h 81"/>
              <a:gd name="T62" fmla="*/ 2147483647 w 146"/>
              <a:gd name="T63" fmla="*/ 2147483647 h 81"/>
              <a:gd name="T64" fmla="*/ 2147483647 w 146"/>
              <a:gd name="T65" fmla="*/ 2147483647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4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230553" y="3358778"/>
            <a:ext cx="15875" cy="57150"/>
          </a:xfrm>
          <a:custGeom>
            <a:avLst/>
            <a:gdLst>
              <a:gd name="T0" fmla="*/ 2147483647 w 34"/>
              <a:gd name="T1" fmla="*/ 2147483647 h 49"/>
              <a:gd name="T2" fmla="*/ 2147483647 w 34"/>
              <a:gd name="T3" fmla="*/ 2147483647 h 49"/>
              <a:gd name="T4" fmla="*/ 2147483647 w 34"/>
              <a:gd name="T5" fmla="*/ 2147483647 h 49"/>
              <a:gd name="T6" fmla="*/ 2147483647 w 34"/>
              <a:gd name="T7" fmla="*/ 2147483647 h 49"/>
              <a:gd name="T8" fmla="*/ 2147483647 w 34"/>
              <a:gd name="T9" fmla="*/ 2147483647 h 49"/>
              <a:gd name="T10" fmla="*/ 2147483647 w 34"/>
              <a:gd name="T11" fmla="*/ 2147483647 h 49"/>
              <a:gd name="T12" fmla="*/ 2147483647 w 34"/>
              <a:gd name="T13" fmla="*/ 2147483647 h 49"/>
              <a:gd name="T14" fmla="*/ 2147483647 w 34"/>
              <a:gd name="T15" fmla="*/ 2147483647 h 49"/>
              <a:gd name="T16" fmla="*/ 2147483647 w 34"/>
              <a:gd name="T17" fmla="*/ 0 h 49"/>
              <a:gd name="T18" fmla="*/ 2147483647 w 34"/>
              <a:gd name="T19" fmla="*/ 0 h 49"/>
              <a:gd name="T20" fmla="*/ 0 w 34"/>
              <a:gd name="T21" fmla="*/ 0 h 49"/>
              <a:gd name="T22" fmla="*/ 2147483647 w 34"/>
              <a:gd name="T23" fmla="*/ 2147483647 h 49"/>
              <a:gd name="T24" fmla="*/ 2147483647 w 34"/>
              <a:gd name="T25" fmla="*/ 2147483647 h 49"/>
              <a:gd name="T26" fmla="*/ 2147483647 w 34"/>
              <a:gd name="T27" fmla="*/ 2147483647 h 49"/>
              <a:gd name="T28" fmla="*/ 2147483647 w 34"/>
              <a:gd name="T29" fmla="*/ 2147483647 h 49"/>
              <a:gd name="T30" fmla="*/ 2147483647 w 34"/>
              <a:gd name="T31" fmla="*/ 2147483647 h 49"/>
              <a:gd name="T32" fmla="*/ 2147483647 w 34"/>
              <a:gd name="T33" fmla="*/ 2147483647 h 49"/>
              <a:gd name="T34" fmla="*/ 2147483647 w 34"/>
              <a:gd name="T35" fmla="*/ 2147483647 h 49"/>
              <a:gd name="T36" fmla="*/ 2147483647 w 34"/>
              <a:gd name="T37" fmla="*/ 2147483647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5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822565" y="3704853"/>
            <a:ext cx="28575" cy="57150"/>
          </a:xfrm>
          <a:custGeom>
            <a:avLst/>
            <a:gdLst>
              <a:gd name="T0" fmla="*/ 2147483647 w 60"/>
              <a:gd name="T1" fmla="*/ 0 h 74"/>
              <a:gd name="T2" fmla="*/ 2147483647 w 60"/>
              <a:gd name="T3" fmla="*/ 2147483647 h 74"/>
              <a:gd name="T4" fmla="*/ 2147483647 w 60"/>
              <a:gd name="T5" fmla="*/ 2147483647 h 74"/>
              <a:gd name="T6" fmla="*/ 2147483647 w 60"/>
              <a:gd name="T7" fmla="*/ 2147483647 h 74"/>
              <a:gd name="T8" fmla="*/ 2147483647 w 60"/>
              <a:gd name="T9" fmla="*/ 2147483647 h 74"/>
              <a:gd name="T10" fmla="*/ 2147483647 w 60"/>
              <a:gd name="T11" fmla="*/ 2147483647 h 74"/>
              <a:gd name="T12" fmla="*/ 2147483647 w 60"/>
              <a:gd name="T13" fmla="*/ 2147483647 h 74"/>
              <a:gd name="T14" fmla="*/ 2147483647 w 60"/>
              <a:gd name="T15" fmla="*/ 2147483647 h 74"/>
              <a:gd name="T16" fmla="*/ 2147483647 w 60"/>
              <a:gd name="T17" fmla="*/ 2147483647 h 74"/>
              <a:gd name="T18" fmla="*/ 2147483647 w 60"/>
              <a:gd name="T19" fmla="*/ 2147483647 h 74"/>
              <a:gd name="T20" fmla="*/ 2147483647 w 60"/>
              <a:gd name="T21" fmla="*/ 2147483647 h 74"/>
              <a:gd name="T22" fmla="*/ 2147483647 w 60"/>
              <a:gd name="T23" fmla="*/ 2147483647 h 74"/>
              <a:gd name="T24" fmla="*/ 2147483647 w 60"/>
              <a:gd name="T25" fmla="*/ 2147483647 h 74"/>
              <a:gd name="T26" fmla="*/ 2147483647 w 60"/>
              <a:gd name="T27" fmla="*/ 2147483647 h 74"/>
              <a:gd name="T28" fmla="*/ 0 w 60"/>
              <a:gd name="T29" fmla="*/ 2147483647 h 74"/>
              <a:gd name="T30" fmla="*/ 2147483647 w 60"/>
              <a:gd name="T31" fmla="*/ 2147483647 h 74"/>
              <a:gd name="T32" fmla="*/ 2147483647 w 60"/>
              <a:gd name="T33" fmla="*/ 2147483647 h 74"/>
              <a:gd name="T34" fmla="*/ 2147483647 w 60"/>
              <a:gd name="T35" fmla="*/ 2147483647 h 74"/>
              <a:gd name="T36" fmla="*/ 2147483647 w 60"/>
              <a:gd name="T37" fmla="*/ 2147483647 h 74"/>
              <a:gd name="T38" fmla="*/ 2147483647 w 60"/>
              <a:gd name="T39" fmla="*/ 2147483647 h 74"/>
              <a:gd name="T40" fmla="*/ 2147483647 w 60"/>
              <a:gd name="T41" fmla="*/ 2147483647 h 74"/>
              <a:gd name="T42" fmla="*/ 2147483647 w 60"/>
              <a:gd name="T43" fmla="*/ 2147483647 h 74"/>
              <a:gd name="T44" fmla="*/ 2147483647 w 60"/>
              <a:gd name="T45" fmla="*/ 2147483647 h 74"/>
              <a:gd name="T46" fmla="*/ 2147483647 w 60"/>
              <a:gd name="T47" fmla="*/ 0 h 74"/>
              <a:gd name="T48" fmla="*/ 2147483647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6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763828" y="3720728"/>
            <a:ext cx="23812" cy="60325"/>
          </a:xfrm>
          <a:custGeom>
            <a:avLst/>
            <a:gdLst>
              <a:gd name="T0" fmla="*/ 2147483647 w 47"/>
              <a:gd name="T1" fmla="*/ 2147483647 h 45"/>
              <a:gd name="T2" fmla="*/ 2147483647 w 47"/>
              <a:gd name="T3" fmla="*/ 2147483647 h 45"/>
              <a:gd name="T4" fmla="*/ 2147483647 w 47"/>
              <a:gd name="T5" fmla="*/ 2147483647 h 45"/>
              <a:gd name="T6" fmla="*/ 2147483647 w 47"/>
              <a:gd name="T7" fmla="*/ 2147483647 h 45"/>
              <a:gd name="T8" fmla="*/ 2147483647 w 47"/>
              <a:gd name="T9" fmla="*/ 2147483647 h 45"/>
              <a:gd name="T10" fmla="*/ 2147483647 w 47"/>
              <a:gd name="T11" fmla="*/ 2147483647 h 45"/>
              <a:gd name="T12" fmla="*/ 2147483647 w 47"/>
              <a:gd name="T13" fmla="*/ 0 h 45"/>
              <a:gd name="T14" fmla="*/ 2147483647 w 47"/>
              <a:gd name="T15" fmla="*/ 2147483647 h 45"/>
              <a:gd name="T16" fmla="*/ 2147483647 w 47"/>
              <a:gd name="T17" fmla="*/ 2147483647 h 45"/>
              <a:gd name="T18" fmla="*/ 2147483647 w 47"/>
              <a:gd name="T19" fmla="*/ 2147483647 h 45"/>
              <a:gd name="T20" fmla="*/ 2147483647 w 47"/>
              <a:gd name="T21" fmla="*/ 2147483647 h 45"/>
              <a:gd name="T22" fmla="*/ 2147483647 w 47"/>
              <a:gd name="T23" fmla="*/ 2147483647 h 45"/>
              <a:gd name="T24" fmla="*/ 2147483647 w 47"/>
              <a:gd name="T25" fmla="*/ 2147483647 h 45"/>
              <a:gd name="T26" fmla="*/ 2147483647 w 47"/>
              <a:gd name="T27" fmla="*/ 2147483647 h 45"/>
              <a:gd name="T28" fmla="*/ 2147483647 w 47"/>
              <a:gd name="T29" fmla="*/ 2147483647 h 45"/>
              <a:gd name="T30" fmla="*/ 2147483647 w 47"/>
              <a:gd name="T31" fmla="*/ 2147483647 h 45"/>
              <a:gd name="T32" fmla="*/ 2147483647 w 47"/>
              <a:gd name="T33" fmla="*/ 2147483647 h 45"/>
              <a:gd name="T34" fmla="*/ 2147483647 w 47"/>
              <a:gd name="T35" fmla="*/ 2147483647 h 45"/>
              <a:gd name="T36" fmla="*/ 0 w 47"/>
              <a:gd name="T37" fmla="*/ 2147483647 h 45"/>
              <a:gd name="T38" fmla="*/ 2147483647 w 47"/>
              <a:gd name="T39" fmla="*/ 2147483647 h 45"/>
              <a:gd name="T40" fmla="*/ 2147483647 w 47"/>
              <a:gd name="T41" fmla="*/ 2147483647 h 45"/>
              <a:gd name="T42" fmla="*/ 2147483647 w 47"/>
              <a:gd name="T43" fmla="*/ 2147483647 h 45"/>
              <a:gd name="T44" fmla="*/ 2147483647 w 47"/>
              <a:gd name="T45" fmla="*/ 2147483647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7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738428" y="3714378"/>
            <a:ext cx="6350" cy="57150"/>
          </a:xfrm>
          <a:custGeom>
            <a:avLst/>
            <a:gdLst>
              <a:gd name="T0" fmla="*/ 2147483647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0 w 26"/>
              <a:gd name="T9" fmla="*/ 0 h 36"/>
              <a:gd name="T10" fmla="*/ 2147483647 w 26"/>
              <a:gd name="T11" fmla="*/ 0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18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5010015" y="3442915"/>
            <a:ext cx="174625" cy="158750"/>
          </a:xfrm>
          <a:custGeom>
            <a:avLst/>
            <a:gdLst>
              <a:gd name="T0" fmla="*/ 2147483647 w 405"/>
              <a:gd name="T1" fmla="*/ 2147483647 h 302"/>
              <a:gd name="T2" fmla="*/ 2147483647 w 405"/>
              <a:gd name="T3" fmla="*/ 2147483647 h 302"/>
              <a:gd name="T4" fmla="*/ 2147483647 w 405"/>
              <a:gd name="T5" fmla="*/ 2147483647 h 302"/>
              <a:gd name="T6" fmla="*/ 2147483647 w 405"/>
              <a:gd name="T7" fmla="*/ 2147483647 h 302"/>
              <a:gd name="T8" fmla="*/ 2147483647 w 405"/>
              <a:gd name="T9" fmla="*/ 2147483647 h 302"/>
              <a:gd name="T10" fmla="*/ 2147483647 w 405"/>
              <a:gd name="T11" fmla="*/ 2147483647 h 302"/>
              <a:gd name="T12" fmla="*/ 2147483647 w 405"/>
              <a:gd name="T13" fmla="*/ 2147483647 h 302"/>
              <a:gd name="T14" fmla="*/ 2147483647 w 405"/>
              <a:gd name="T15" fmla="*/ 2147483647 h 302"/>
              <a:gd name="T16" fmla="*/ 2147483647 w 405"/>
              <a:gd name="T17" fmla="*/ 2147483647 h 302"/>
              <a:gd name="T18" fmla="*/ 2147483647 w 405"/>
              <a:gd name="T19" fmla="*/ 2147483647 h 302"/>
              <a:gd name="T20" fmla="*/ 2147483647 w 405"/>
              <a:gd name="T21" fmla="*/ 2147483647 h 302"/>
              <a:gd name="T22" fmla="*/ 2147483647 w 405"/>
              <a:gd name="T23" fmla="*/ 2147483647 h 302"/>
              <a:gd name="T24" fmla="*/ 2147483647 w 405"/>
              <a:gd name="T25" fmla="*/ 2147483647 h 302"/>
              <a:gd name="T26" fmla="*/ 2147483647 w 405"/>
              <a:gd name="T27" fmla="*/ 2147483647 h 302"/>
              <a:gd name="T28" fmla="*/ 2147483647 w 405"/>
              <a:gd name="T29" fmla="*/ 2147483647 h 302"/>
              <a:gd name="T30" fmla="*/ 2147483647 w 405"/>
              <a:gd name="T31" fmla="*/ 2147483647 h 302"/>
              <a:gd name="T32" fmla="*/ 2147483647 w 405"/>
              <a:gd name="T33" fmla="*/ 2147483647 h 302"/>
              <a:gd name="T34" fmla="*/ 2147483647 w 405"/>
              <a:gd name="T35" fmla="*/ 2147483647 h 302"/>
              <a:gd name="T36" fmla="*/ 2147483647 w 405"/>
              <a:gd name="T37" fmla="*/ 2147483647 h 302"/>
              <a:gd name="T38" fmla="*/ 2147483647 w 405"/>
              <a:gd name="T39" fmla="*/ 2147483647 h 302"/>
              <a:gd name="T40" fmla="*/ 2147483647 w 405"/>
              <a:gd name="T41" fmla="*/ 2147483647 h 302"/>
              <a:gd name="T42" fmla="*/ 2147483647 w 405"/>
              <a:gd name="T43" fmla="*/ 2147483647 h 302"/>
              <a:gd name="T44" fmla="*/ 2147483647 w 405"/>
              <a:gd name="T45" fmla="*/ 2147483647 h 302"/>
              <a:gd name="T46" fmla="*/ 2147483647 w 405"/>
              <a:gd name="T47" fmla="*/ 2147483647 h 302"/>
              <a:gd name="T48" fmla="*/ 2147483647 w 405"/>
              <a:gd name="T49" fmla="*/ 2147483647 h 302"/>
              <a:gd name="T50" fmla="*/ 2147483647 w 405"/>
              <a:gd name="T51" fmla="*/ 2147483647 h 302"/>
              <a:gd name="T52" fmla="*/ 2147483647 w 405"/>
              <a:gd name="T53" fmla="*/ 2147483647 h 302"/>
              <a:gd name="T54" fmla="*/ 2147483647 w 405"/>
              <a:gd name="T55" fmla="*/ 2147483647 h 302"/>
              <a:gd name="T56" fmla="*/ 2147483647 w 405"/>
              <a:gd name="T57" fmla="*/ 2147483647 h 302"/>
              <a:gd name="T58" fmla="*/ 2147483647 w 405"/>
              <a:gd name="T59" fmla="*/ 2147483647 h 302"/>
              <a:gd name="T60" fmla="*/ 2147483647 w 405"/>
              <a:gd name="T61" fmla="*/ 2147483647 h 302"/>
              <a:gd name="T62" fmla="*/ 2147483647 w 405"/>
              <a:gd name="T63" fmla="*/ 2147483647 h 302"/>
              <a:gd name="T64" fmla="*/ 2147483647 w 405"/>
              <a:gd name="T65" fmla="*/ 2147483647 h 302"/>
              <a:gd name="T66" fmla="*/ 2147483647 w 405"/>
              <a:gd name="T67" fmla="*/ 2147483647 h 302"/>
              <a:gd name="T68" fmla="*/ 2147483647 w 405"/>
              <a:gd name="T69" fmla="*/ 2147483647 h 302"/>
              <a:gd name="T70" fmla="*/ 2147483647 w 405"/>
              <a:gd name="T71" fmla="*/ 2147483647 h 302"/>
              <a:gd name="T72" fmla="*/ 2147483647 w 405"/>
              <a:gd name="T73" fmla="*/ 2147483647 h 302"/>
              <a:gd name="T74" fmla="*/ 2147483647 w 405"/>
              <a:gd name="T75" fmla="*/ 2147483647 h 302"/>
              <a:gd name="T76" fmla="*/ 2147483647 w 405"/>
              <a:gd name="T77" fmla="*/ 2147483647 h 302"/>
              <a:gd name="T78" fmla="*/ 2147483647 w 405"/>
              <a:gd name="T79" fmla="*/ 2147483647 h 302"/>
              <a:gd name="T80" fmla="*/ 2147483647 w 405"/>
              <a:gd name="T81" fmla="*/ 2147483647 h 302"/>
              <a:gd name="T82" fmla="*/ 2147483647 w 405"/>
              <a:gd name="T83" fmla="*/ 2147483647 h 302"/>
              <a:gd name="T84" fmla="*/ 2147483647 w 405"/>
              <a:gd name="T85" fmla="*/ 2147483647 h 302"/>
              <a:gd name="T86" fmla="*/ 2147483647 w 405"/>
              <a:gd name="T87" fmla="*/ 2147483647 h 302"/>
              <a:gd name="T88" fmla="*/ 2147483647 w 405"/>
              <a:gd name="T89" fmla="*/ 2147483647 h 302"/>
              <a:gd name="T90" fmla="*/ 2147483647 w 405"/>
              <a:gd name="T91" fmla="*/ 2147483647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19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7103928" y="3823915"/>
            <a:ext cx="42862" cy="79375"/>
          </a:xfrm>
          <a:custGeom>
            <a:avLst/>
            <a:gdLst>
              <a:gd name="T0" fmla="*/ 2147483647 w 100"/>
              <a:gd name="T1" fmla="*/ 2147483647 h 155"/>
              <a:gd name="T2" fmla="*/ 2147483647 w 100"/>
              <a:gd name="T3" fmla="*/ 2147483647 h 155"/>
              <a:gd name="T4" fmla="*/ 2147483647 w 100"/>
              <a:gd name="T5" fmla="*/ 2147483647 h 155"/>
              <a:gd name="T6" fmla="*/ 2147483647 w 100"/>
              <a:gd name="T7" fmla="*/ 2147483647 h 155"/>
              <a:gd name="T8" fmla="*/ 2147483647 w 100"/>
              <a:gd name="T9" fmla="*/ 2147483647 h 155"/>
              <a:gd name="T10" fmla="*/ 2147483647 w 100"/>
              <a:gd name="T11" fmla="*/ 2147483647 h 155"/>
              <a:gd name="T12" fmla="*/ 2147483647 w 100"/>
              <a:gd name="T13" fmla="*/ 2147483647 h 155"/>
              <a:gd name="T14" fmla="*/ 2147483647 w 100"/>
              <a:gd name="T15" fmla="*/ 2147483647 h 155"/>
              <a:gd name="T16" fmla="*/ 2147483647 w 100"/>
              <a:gd name="T17" fmla="*/ 2147483647 h 155"/>
              <a:gd name="T18" fmla="*/ 2147483647 w 100"/>
              <a:gd name="T19" fmla="*/ 2147483647 h 155"/>
              <a:gd name="T20" fmla="*/ 2147483647 w 100"/>
              <a:gd name="T21" fmla="*/ 2147483647 h 155"/>
              <a:gd name="T22" fmla="*/ 2147483647 w 100"/>
              <a:gd name="T23" fmla="*/ 2147483647 h 155"/>
              <a:gd name="T24" fmla="*/ 2147483647 w 100"/>
              <a:gd name="T25" fmla="*/ 2147483647 h 155"/>
              <a:gd name="T26" fmla="*/ 2147483647 w 100"/>
              <a:gd name="T27" fmla="*/ 2147483647 h 155"/>
              <a:gd name="T28" fmla="*/ 2147483647 w 100"/>
              <a:gd name="T29" fmla="*/ 2147483647 h 155"/>
              <a:gd name="T30" fmla="*/ 2147483647 w 100"/>
              <a:gd name="T31" fmla="*/ 2147483647 h 155"/>
              <a:gd name="T32" fmla="*/ 2147483647 w 100"/>
              <a:gd name="T33" fmla="*/ 2147483647 h 155"/>
              <a:gd name="T34" fmla="*/ 2147483647 w 100"/>
              <a:gd name="T35" fmla="*/ 2147483647 h 155"/>
              <a:gd name="T36" fmla="*/ 2147483647 w 100"/>
              <a:gd name="T37" fmla="*/ 2147483647 h 155"/>
              <a:gd name="T38" fmla="*/ 2147483647 w 100"/>
              <a:gd name="T39" fmla="*/ 2147483647 h 155"/>
              <a:gd name="T40" fmla="*/ 2147483647 w 100"/>
              <a:gd name="T41" fmla="*/ 2147483647 h 155"/>
              <a:gd name="T42" fmla="*/ 2147483647 w 100"/>
              <a:gd name="T43" fmla="*/ 2147483647 h 155"/>
              <a:gd name="T44" fmla="*/ 2147483647 w 100"/>
              <a:gd name="T45" fmla="*/ 2147483647 h 155"/>
              <a:gd name="T46" fmla="*/ 0 w 100"/>
              <a:gd name="T47" fmla="*/ 2147483647 h 155"/>
              <a:gd name="T48" fmla="*/ 0 w 100"/>
              <a:gd name="T49" fmla="*/ 2147483647 h 155"/>
              <a:gd name="T50" fmla="*/ 0 w 100"/>
              <a:gd name="T51" fmla="*/ 2147483647 h 155"/>
              <a:gd name="T52" fmla="*/ 0 w 100"/>
              <a:gd name="T53" fmla="*/ 2147483647 h 155"/>
              <a:gd name="T54" fmla="*/ 0 w 100"/>
              <a:gd name="T55" fmla="*/ 2147483647 h 155"/>
              <a:gd name="T56" fmla="*/ 0 w 100"/>
              <a:gd name="T57" fmla="*/ 2147483647 h 155"/>
              <a:gd name="T58" fmla="*/ 2147483647 w 100"/>
              <a:gd name="T59" fmla="*/ 2147483647 h 155"/>
              <a:gd name="T60" fmla="*/ 2147483647 w 100"/>
              <a:gd name="T61" fmla="*/ 2147483647 h 155"/>
              <a:gd name="T62" fmla="*/ 2147483647 w 100"/>
              <a:gd name="T63" fmla="*/ 2147483647 h 155"/>
              <a:gd name="T64" fmla="*/ 2147483647 w 100"/>
              <a:gd name="T65" fmla="*/ 2147483647 h 155"/>
              <a:gd name="T66" fmla="*/ 2147483647 w 100"/>
              <a:gd name="T67" fmla="*/ 2147483647 h 155"/>
              <a:gd name="T68" fmla="*/ 2147483647 w 100"/>
              <a:gd name="T69" fmla="*/ 2147483647 h 155"/>
              <a:gd name="T70" fmla="*/ 2147483647 w 100"/>
              <a:gd name="T71" fmla="*/ 2147483647 h 155"/>
              <a:gd name="T72" fmla="*/ 2147483647 w 100"/>
              <a:gd name="T73" fmla="*/ 2147483647 h 155"/>
              <a:gd name="T74" fmla="*/ 2147483647 w 100"/>
              <a:gd name="T75" fmla="*/ 2147483647 h 155"/>
              <a:gd name="T76" fmla="*/ 2147483647 w 100"/>
              <a:gd name="T77" fmla="*/ 2147483647 h 155"/>
              <a:gd name="T78" fmla="*/ 2147483647 w 100"/>
              <a:gd name="T79" fmla="*/ 0 h 155"/>
              <a:gd name="T80" fmla="*/ 2147483647 w 100"/>
              <a:gd name="T81" fmla="*/ 0 h 155"/>
              <a:gd name="T82" fmla="*/ 2147483647 w 100"/>
              <a:gd name="T83" fmla="*/ 0 h 155"/>
              <a:gd name="T84" fmla="*/ 2147483647 w 100"/>
              <a:gd name="T85" fmla="*/ 2147483647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420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751253" y="3292103"/>
            <a:ext cx="482600" cy="201612"/>
            <a:chOff x="3289" y="1830"/>
            <a:chExt cx="363" cy="128"/>
          </a:xfrm>
        </p:grpSpPr>
        <p:sp>
          <p:nvSpPr>
            <p:cNvPr id="2442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0 w 13"/>
                <a:gd name="T11" fmla="*/ 0 h 7"/>
                <a:gd name="T12" fmla="*/ 0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3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0 h 8"/>
                <a:gd name="T2" fmla="*/ 0 w 34"/>
                <a:gd name="T3" fmla="*/ 0 h 8"/>
                <a:gd name="T4" fmla="*/ 0 w 34"/>
                <a:gd name="T5" fmla="*/ 0 h 8"/>
                <a:gd name="T6" fmla="*/ 0 w 34"/>
                <a:gd name="T7" fmla="*/ 0 h 8"/>
                <a:gd name="T8" fmla="*/ 0 w 34"/>
                <a:gd name="T9" fmla="*/ 0 h 8"/>
                <a:gd name="T10" fmla="*/ 0 w 34"/>
                <a:gd name="T11" fmla="*/ 0 h 8"/>
                <a:gd name="T12" fmla="*/ 0 w 34"/>
                <a:gd name="T13" fmla="*/ 0 h 8"/>
                <a:gd name="T14" fmla="*/ 0 w 34"/>
                <a:gd name="T15" fmla="*/ 0 h 8"/>
                <a:gd name="T16" fmla="*/ 0 w 34"/>
                <a:gd name="T17" fmla="*/ 0 h 8"/>
                <a:gd name="T18" fmla="*/ 0 w 34"/>
                <a:gd name="T19" fmla="*/ 0 h 8"/>
                <a:gd name="T20" fmla="*/ 0 w 34"/>
                <a:gd name="T21" fmla="*/ 0 h 8"/>
                <a:gd name="T22" fmla="*/ 0 w 34"/>
                <a:gd name="T23" fmla="*/ 0 h 8"/>
                <a:gd name="T24" fmla="*/ 0 w 34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4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0 h 24"/>
                <a:gd name="T2" fmla="*/ 0 w 13"/>
                <a:gd name="T3" fmla="*/ 0 h 24"/>
                <a:gd name="T4" fmla="*/ 0 w 13"/>
                <a:gd name="T5" fmla="*/ 0 h 24"/>
                <a:gd name="T6" fmla="*/ 0 w 13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5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0 h 69"/>
                <a:gd name="T2" fmla="*/ 0 w 107"/>
                <a:gd name="T3" fmla="*/ 0 h 69"/>
                <a:gd name="T4" fmla="*/ 0 w 107"/>
                <a:gd name="T5" fmla="*/ 1 h 69"/>
                <a:gd name="T6" fmla="*/ 0 w 107"/>
                <a:gd name="T7" fmla="*/ 1 h 69"/>
                <a:gd name="T8" fmla="*/ 0 w 107"/>
                <a:gd name="T9" fmla="*/ 1 h 69"/>
                <a:gd name="T10" fmla="*/ 0 w 107"/>
                <a:gd name="T11" fmla="*/ 1 h 69"/>
                <a:gd name="T12" fmla="*/ 1 w 107"/>
                <a:gd name="T13" fmla="*/ 1 h 69"/>
                <a:gd name="T14" fmla="*/ 1 w 107"/>
                <a:gd name="T15" fmla="*/ 1 h 69"/>
                <a:gd name="T16" fmla="*/ 1 w 107"/>
                <a:gd name="T17" fmla="*/ 1 h 69"/>
                <a:gd name="T18" fmla="*/ 1 w 107"/>
                <a:gd name="T19" fmla="*/ 0 h 69"/>
                <a:gd name="T20" fmla="*/ 1 w 107"/>
                <a:gd name="T21" fmla="*/ 0 h 69"/>
                <a:gd name="T22" fmla="*/ 1 w 107"/>
                <a:gd name="T23" fmla="*/ 0 h 69"/>
                <a:gd name="T24" fmla="*/ 1 w 107"/>
                <a:gd name="T25" fmla="*/ 0 h 69"/>
                <a:gd name="T26" fmla="*/ 1 w 107"/>
                <a:gd name="T27" fmla="*/ 0 h 69"/>
                <a:gd name="T28" fmla="*/ 1 w 107"/>
                <a:gd name="T29" fmla="*/ 0 h 69"/>
                <a:gd name="T30" fmla="*/ 1 w 107"/>
                <a:gd name="T31" fmla="*/ 0 h 69"/>
                <a:gd name="T32" fmla="*/ 1 w 107"/>
                <a:gd name="T33" fmla="*/ 0 h 69"/>
                <a:gd name="T34" fmla="*/ 1 w 107"/>
                <a:gd name="T35" fmla="*/ 0 h 69"/>
                <a:gd name="T36" fmla="*/ 1 w 107"/>
                <a:gd name="T37" fmla="*/ 0 h 69"/>
                <a:gd name="T38" fmla="*/ 1 w 107"/>
                <a:gd name="T39" fmla="*/ 0 h 69"/>
                <a:gd name="T40" fmla="*/ 0 w 107"/>
                <a:gd name="T41" fmla="*/ 0 h 69"/>
                <a:gd name="T42" fmla="*/ 0 w 107"/>
                <a:gd name="T43" fmla="*/ 0 h 69"/>
                <a:gd name="T44" fmla="*/ 0 w 107"/>
                <a:gd name="T45" fmla="*/ 0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6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11 w 1070"/>
                <a:gd name="T1" fmla="*/ 2 h 382"/>
                <a:gd name="T2" fmla="*/ 11 w 1070"/>
                <a:gd name="T3" fmla="*/ 1 h 382"/>
                <a:gd name="T4" fmla="*/ 11 w 1070"/>
                <a:gd name="T5" fmla="*/ 1 h 382"/>
                <a:gd name="T6" fmla="*/ 11 w 1070"/>
                <a:gd name="T7" fmla="*/ 0 h 382"/>
                <a:gd name="T8" fmla="*/ 9 w 1070"/>
                <a:gd name="T9" fmla="*/ 0 h 382"/>
                <a:gd name="T10" fmla="*/ 9 w 1070"/>
                <a:gd name="T11" fmla="*/ 1 h 382"/>
                <a:gd name="T12" fmla="*/ 8 w 1070"/>
                <a:gd name="T13" fmla="*/ 1 h 382"/>
                <a:gd name="T14" fmla="*/ 7 w 1070"/>
                <a:gd name="T15" fmla="*/ 1 h 382"/>
                <a:gd name="T16" fmla="*/ 7 w 1070"/>
                <a:gd name="T17" fmla="*/ 1 h 382"/>
                <a:gd name="T18" fmla="*/ 7 w 1070"/>
                <a:gd name="T19" fmla="*/ 0 h 382"/>
                <a:gd name="T20" fmla="*/ 6 w 1070"/>
                <a:gd name="T21" fmla="*/ 0 h 382"/>
                <a:gd name="T22" fmla="*/ 6 w 1070"/>
                <a:gd name="T23" fmla="*/ 0 h 382"/>
                <a:gd name="T24" fmla="*/ 5 w 1070"/>
                <a:gd name="T25" fmla="*/ 0 h 382"/>
                <a:gd name="T26" fmla="*/ 5 w 1070"/>
                <a:gd name="T27" fmla="*/ 0 h 382"/>
                <a:gd name="T28" fmla="*/ 3 w 1070"/>
                <a:gd name="T29" fmla="*/ 0 h 382"/>
                <a:gd name="T30" fmla="*/ 3 w 1070"/>
                <a:gd name="T31" fmla="*/ 1 h 382"/>
                <a:gd name="T32" fmla="*/ 2 w 1070"/>
                <a:gd name="T33" fmla="*/ 1 h 382"/>
                <a:gd name="T34" fmla="*/ 2 w 1070"/>
                <a:gd name="T35" fmla="*/ 1 h 382"/>
                <a:gd name="T36" fmla="*/ 2 w 1070"/>
                <a:gd name="T37" fmla="*/ 1 h 382"/>
                <a:gd name="T38" fmla="*/ 1 w 1070"/>
                <a:gd name="T39" fmla="*/ 1 h 382"/>
                <a:gd name="T40" fmla="*/ 1 w 1070"/>
                <a:gd name="T41" fmla="*/ 1 h 382"/>
                <a:gd name="T42" fmla="*/ 0 w 1070"/>
                <a:gd name="T43" fmla="*/ 1 h 382"/>
                <a:gd name="T44" fmla="*/ 0 w 1070"/>
                <a:gd name="T45" fmla="*/ 2 h 382"/>
                <a:gd name="T46" fmla="*/ 0 w 1070"/>
                <a:gd name="T47" fmla="*/ 2 h 382"/>
                <a:gd name="T48" fmla="*/ 0 w 1070"/>
                <a:gd name="T49" fmla="*/ 2 h 382"/>
                <a:gd name="T50" fmla="*/ 0 w 1070"/>
                <a:gd name="T51" fmla="*/ 3 h 382"/>
                <a:gd name="T52" fmla="*/ 1 w 1070"/>
                <a:gd name="T53" fmla="*/ 3 h 382"/>
                <a:gd name="T54" fmla="*/ 1 w 1070"/>
                <a:gd name="T55" fmla="*/ 3 h 382"/>
                <a:gd name="T56" fmla="*/ 1 w 1070"/>
                <a:gd name="T57" fmla="*/ 3 h 382"/>
                <a:gd name="T58" fmla="*/ 1 w 1070"/>
                <a:gd name="T59" fmla="*/ 4 h 382"/>
                <a:gd name="T60" fmla="*/ 2 w 1070"/>
                <a:gd name="T61" fmla="*/ 4 h 382"/>
                <a:gd name="T62" fmla="*/ 3 w 1070"/>
                <a:gd name="T63" fmla="*/ 5 h 382"/>
                <a:gd name="T64" fmla="*/ 3 w 1070"/>
                <a:gd name="T65" fmla="*/ 4 h 382"/>
                <a:gd name="T66" fmla="*/ 3 w 1070"/>
                <a:gd name="T67" fmla="*/ 4 h 382"/>
                <a:gd name="T68" fmla="*/ 3 w 1070"/>
                <a:gd name="T69" fmla="*/ 4 h 382"/>
                <a:gd name="T70" fmla="*/ 4 w 1070"/>
                <a:gd name="T71" fmla="*/ 4 h 382"/>
                <a:gd name="T72" fmla="*/ 4 w 1070"/>
                <a:gd name="T73" fmla="*/ 4 h 382"/>
                <a:gd name="T74" fmla="*/ 5 w 1070"/>
                <a:gd name="T75" fmla="*/ 5 h 382"/>
                <a:gd name="T76" fmla="*/ 5 w 1070"/>
                <a:gd name="T77" fmla="*/ 4 h 382"/>
                <a:gd name="T78" fmla="*/ 6 w 1070"/>
                <a:gd name="T79" fmla="*/ 4 h 382"/>
                <a:gd name="T80" fmla="*/ 6 w 1070"/>
                <a:gd name="T81" fmla="*/ 4 h 382"/>
                <a:gd name="T82" fmla="*/ 7 w 1070"/>
                <a:gd name="T83" fmla="*/ 4 h 382"/>
                <a:gd name="T84" fmla="*/ 7 w 1070"/>
                <a:gd name="T85" fmla="*/ 5 h 382"/>
                <a:gd name="T86" fmla="*/ 7 w 1070"/>
                <a:gd name="T87" fmla="*/ 5 h 382"/>
                <a:gd name="T88" fmla="*/ 7 w 1070"/>
                <a:gd name="T89" fmla="*/ 5 h 382"/>
                <a:gd name="T90" fmla="*/ 8 w 1070"/>
                <a:gd name="T91" fmla="*/ 4 h 382"/>
                <a:gd name="T92" fmla="*/ 9 w 1070"/>
                <a:gd name="T93" fmla="*/ 4 h 382"/>
                <a:gd name="T94" fmla="*/ 9 w 1070"/>
                <a:gd name="T95" fmla="*/ 4 h 382"/>
                <a:gd name="T96" fmla="*/ 10 w 1070"/>
                <a:gd name="T97" fmla="*/ 4 h 382"/>
                <a:gd name="T98" fmla="*/ 11 w 1070"/>
                <a:gd name="T99" fmla="*/ 4 h 382"/>
                <a:gd name="T100" fmla="*/ 11 w 1070"/>
                <a:gd name="T101" fmla="*/ 4 h 382"/>
                <a:gd name="T102" fmla="*/ 12 w 1070"/>
                <a:gd name="T103" fmla="*/ 4 h 382"/>
                <a:gd name="T104" fmla="*/ 12 w 1070"/>
                <a:gd name="T105" fmla="*/ 3 h 382"/>
                <a:gd name="T106" fmla="*/ 12 w 1070"/>
                <a:gd name="T107" fmla="*/ 3 h 382"/>
                <a:gd name="T108" fmla="*/ 12 w 1070"/>
                <a:gd name="T109" fmla="*/ 2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421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739890" y="4444628"/>
            <a:ext cx="100013" cy="122237"/>
          </a:xfrm>
          <a:custGeom>
            <a:avLst/>
            <a:gdLst>
              <a:gd name="T0" fmla="*/ 2147483647 w 226"/>
              <a:gd name="T1" fmla="*/ 2147483647 h 237"/>
              <a:gd name="T2" fmla="*/ 2147483647 w 226"/>
              <a:gd name="T3" fmla="*/ 2147483647 h 237"/>
              <a:gd name="T4" fmla="*/ 2147483647 w 226"/>
              <a:gd name="T5" fmla="*/ 2147483647 h 237"/>
              <a:gd name="T6" fmla="*/ 2147483647 w 226"/>
              <a:gd name="T7" fmla="*/ 2147483647 h 237"/>
              <a:gd name="T8" fmla="*/ 2147483647 w 226"/>
              <a:gd name="T9" fmla="*/ 2147483647 h 237"/>
              <a:gd name="T10" fmla="*/ 2147483647 w 226"/>
              <a:gd name="T11" fmla="*/ 2147483647 h 237"/>
              <a:gd name="T12" fmla="*/ 2147483647 w 226"/>
              <a:gd name="T13" fmla="*/ 2147483647 h 237"/>
              <a:gd name="T14" fmla="*/ 2147483647 w 226"/>
              <a:gd name="T15" fmla="*/ 2147483647 h 237"/>
              <a:gd name="T16" fmla="*/ 2147483647 w 226"/>
              <a:gd name="T17" fmla="*/ 2147483647 h 237"/>
              <a:gd name="T18" fmla="*/ 2147483647 w 226"/>
              <a:gd name="T19" fmla="*/ 2147483647 h 237"/>
              <a:gd name="T20" fmla="*/ 2147483647 w 226"/>
              <a:gd name="T21" fmla="*/ 2147483647 h 237"/>
              <a:gd name="T22" fmla="*/ 2147483647 w 226"/>
              <a:gd name="T23" fmla="*/ 2147483647 h 237"/>
              <a:gd name="T24" fmla="*/ 2147483647 w 226"/>
              <a:gd name="T25" fmla="*/ 2147483647 h 237"/>
              <a:gd name="T26" fmla="*/ 2147483647 w 226"/>
              <a:gd name="T27" fmla="*/ 2147483647 h 237"/>
              <a:gd name="T28" fmla="*/ 2147483647 w 226"/>
              <a:gd name="T29" fmla="*/ 2147483647 h 237"/>
              <a:gd name="T30" fmla="*/ 2147483647 w 226"/>
              <a:gd name="T31" fmla="*/ 2147483647 h 237"/>
              <a:gd name="T32" fmla="*/ 2147483647 w 226"/>
              <a:gd name="T33" fmla="*/ 2147483647 h 237"/>
              <a:gd name="T34" fmla="*/ 2147483647 w 226"/>
              <a:gd name="T35" fmla="*/ 2147483647 h 237"/>
              <a:gd name="T36" fmla="*/ 2147483647 w 226"/>
              <a:gd name="T37" fmla="*/ 2147483647 h 237"/>
              <a:gd name="T38" fmla="*/ 2147483647 w 226"/>
              <a:gd name="T39" fmla="*/ 2147483647 h 237"/>
              <a:gd name="T40" fmla="*/ 2147483647 w 226"/>
              <a:gd name="T41" fmla="*/ 2147483647 h 237"/>
              <a:gd name="T42" fmla="*/ 2147483647 w 226"/>
              <a:gd name="T43" fmla="*/ 2147483647 h 237"/>
              <a:gd name="T44" fmla="*/ 2147483647 w 226"/>
              <a:gd name="T45" fmla="*/ 2147483647 h 237"/>
              <a:gd name="T46" fmla="*/ 2147483647 w 226"/>
              <a:gd name="T47" fmla="*/ 2147483647 h 237"/>
              <a:gd name="T48" fmla="*/ 2147483647 w 226"/>
              <a:gd name="T49" fmla="*/ 2147483647 h 237"/>
              <a:gd name="T50" fmla="*/ 2147483647 w 226"/>
              <a:gd name="T51" fmla="*/ 2147483647 h 237"/>
              <a:gd name="T52" fmla="*/ 2147483647 w 226"/>
              <a:gd name="T53" fmla="*/ 2147483647 h 237"/>
              <a:gd name="T54" fmla="*/ 2147483647 w 226"/>
              <a:gd name="T55" fmla="*/ 2147483647 h 237"/>
              <a:gd name="T56" fmla="*/ 2147483647 w 226"/>
              <a:gd name="T57" fmla="*/ 2147483647 h 237"/>
              <a:gd name="T58" fmla="*/ 0 w 226"/>
              <a:gd name="T59" fmla="*/ 2147483647 h 237"/>
              <a:gd name="T60" fmla="*/ 2147483647 w 226"/>
              <a:gd name="T61" fmla="*/ 2147483647 h 237"/>
              <a:gd name="T62" fmla="*/ 2147483647 w 226"/>
              <a:gd name="T63" fmla="*/ 2147483647 h 237"/>
              <a:gd name="T64" fmla="*/ 2147483647 w 226"/>
              <a:gd name="T65" fmla="*/ 2147483647 h 237"/>
              <a:gd name="T66" fmla="*/ 2147483647 w 226"/>
              <a:gd name="T67" fmla="*/ 2147483647 h 237"/>
              <a:gd name="T68" fmla="*/ 2147483647 w 226"/>
              <a:gd name="T69" fmla="*/ 2147483647 h 237"/>
              <a:gd name="T70" fmla="*/ 2147483647 w 226"/>
              <a:gd name="T71" fmla="*/ 2147483647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2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684828" y="3881065"/>
            <a:ext cx="207962" cy="458788"/>
          </a:xfrm>
          <a:custGeom>
            <a:avLst/>
            <a:gdLst>
              <a:gd name="T0" fmla="*/ 2147483647 w 478"/>
              <a:gd name="T1" fmla="*/ 2147483647 h 875"/>
              <a:gd name="T2" fmla="*/ 2147483647 w 478"/>
              <a:gd name="T3" fmla="*/ 2147483647 h 875"/>
              <a:gd name="T4" fmla="*/ 2147483647 w 478"/>
              <a:gd name="T5" fmla="*/ 2147483647 h 875"/>
              <a:gd name="T6" fmla="*/ 2147483647 w 478"/>
              <a:gd name="T7" fmla="*/ 2147483647 h 875"/>
              <a:gd name="T8" fmla="*/ 2147483647 w 478"/>
              <a:gd name="T9" fmla="*/ 2147483647 h 875"/>
              <a:gd name="T10" fmla="*/ 2147483647 w 478"/>
              <a:gd name="T11" fmla="*/ 2147483647 h 875"/>
              <a:gd name="T12" fmla="*/ 2147483647 w 478"/>
              <a:gd name="T13" fmla="*/ 2147483647 h 875"/>
              <a:gd name="T14" fmla="*/ 2147483647 w 478"/>
              <a:gd name="T15" fmla="*/ 2147483647 h 875"/>
              <a:gd name="T16" fmla="*/ 2147483647 w 478"/>
              <a:gd name="T17" fmla="*/ 2147483647 h 875"/>
              <a:gd name="T18" fmla="*/ 2147483647 w 478"/>
              <a:gd name="T19" fmla="*/ 2147483647 h 875"/>
              <a:gd name="T20" fmla="*/ 2147483647 w 478"/>
              <a:gd name="T21" fmla="*/ 2147483647 h 875"/>
              <a:gd name="T22" fmla="*/ 2147483647 w 478"/>
              <a:gd name="T23" fmla="*/ 2147483647 h 875"/>
              <a:gd name="T24" fmla="*/ 2147483647 w 478"/>
              <a:gd name="T25" fmla="*/ 2147483647 h 875"/>
              <a:gd name="T26" fmla="*/ 2147483647 w 478"/>
              <a:gd name="T27" fmla="*/ 2147483647 h 875"/>
              <a:gd name="T28" fmla="*/ 2147483647 w 478"/>
              <a:gd name="T29" fmla="*/ 2147483647 h 875"/>
              <a:gd name="T30" fmla="*/ 2147483647 w 478"/>
              <a:gd name="T31" fmla="*/ 2147483647 h 875"/>
              <a:gd name="T32" fmla="*/ 2147483647 w 478"/>
              <a:gd name="T33" fmla="*/ 2147483647 h 875"/>
              <a:gd name="T34" fmla="*/ 2147483647 w 478"/>
              <a:gd name="T35" fmla="*/ 2147483647 h 875"/>
              <a:gd name="T36" fmla="*/ 2147483647 w 478"/>
              <a:gd name="T37" fmla="*/ 2147483647 h 875"/>
              <a:gd name="T38" fmla="*/ 2147483647 w 478"/>
              <a:gd name="T39" fmla="*/ 2147483647 h 875"/>
              <a:gd name="T40" fmla="*/ 2147483647 w 478"/>
              <a:gd name="T41" fmla="*/ 2147483647 h 875"/>
              <a:gd name="T42" fmla="*/ 2147483647 w 478"/>
              <a:gd name="T43" fmla="*/ 2147483647 h 875"/>
              <a:gd name="T44" fmla="*/ 2147483647 w 478"/>
              <a:gd name="T45" fmla="*/ 2147483647 h 875"/>
              <a:gd name="T46" fmla="*/ 2147483647 w 478"/>
              <a:gd name="T47" fmla="*/ 2147483647 h 875"/>
              <a:gd name="T48" fmla="*/ 2147483647 w 478"/>
              <a:gd name="T49" fmla="*/ 2147483647 h 875"/>
              <a:gd name="T50" fmla="*/ 2147483647 w 478"/>
              <a:gd name="T51" fmla="*/ 2147483647 h 875"/>
              <a:gd name="T52" fmla="*/ 2147483647 w 478"/>
              <a:gd name="T53" fmla="*/ 2147483647 h 875"/>
              <a:gd name="T54" fmla="*/ 2147483647 w 478"/>
              <a:gd name="T55" fmla="*/ 2147483647 h 875"/>
              <a:gd name="T56" fmla="*/ 2147483647 w 478"/>
              <a:gd name="T57" fmla="*/ 2147483647 h 875"/>
              <a:gd name="T58" fmla="*/ 2147483647 w 478"/>
              <a:gd name="T59" fmla="*/ 2147483647 h 875"/>
              <a:gd name="T60" fmla="*/ 2147483647 w 478"/>
              <a:gd name="T61" fmla="*/ 2147483647 h 875"/>
              <a:gd name="T62" fmla="*/ 2147483647 w 478"/>
              <a:gd name="T63" fmla="*/ 2147483647 h 875"/>
              <a:gd name="T64" fmla="*/ 2147483647 w 478"/>
              <a:gd name="T65" fmla="*/ 2147483647 h 875"/>
              <a:gd name="T66" fmla="*/ 2147483647 w 478"/>
              <a:gd name="T67" fmla="*/ 2147483647 h 875"/>
              <a:gd name="T68" fmla="*/ 2147483647 w 478"/>
              <a:gd name="T69" fmla="*/ 2147483647 h 875"/>
              <a:gd name="T70" fmla="*/ 2147483647 w 478"/>
              <a:gd name="T71" fmla="*/ 2147483647 h 875"/>
              <a:gd name="T72" fmla="*/ 2147483647 w 478"/>
              <a:gd name="T73" fmla="*/ 2147483647 h 875"/>
              <a:gd name="T74" fmla="*/ 2147483647 w 478"/>
              <a:gd name="T75" fmla="*/ 2147483647 h 875"/>
              <a:gd name="T76" fmla="*/ 2147483647 w 478"/>
              <a:gd name="T77" fmla="*/ 2147483647 h 875"/>
              <a:gd name="T78" fmla="*/ 2147483647 w 478"/>
              <a:gd name="T79" fmla="*/ 2147483647 h 875"/>
              <a:gd name="T80" fmla="*/ 2147483647 w 478"/>
              <a:gd name="T81" fmla="*/ 2147483647 h 875"/>
              <a:gd name="T82" fmla="*/ 2147483647 w 478"/>
              <a:gd name="T83" fmla="*/ 2147483647 h 875"/>
              <a:gd name="T84" fmla="*/ 2147483647 w 478"/>
              <a:gd name="T85" fmla="*/ 2147483647 h 875"/>
              <a:gd name="T86" fmla="*/ 2147483647 w 478"/>
              <a:gd name="T87" fmla="*/ 2147483647 h 875"/>
              <a:gd name="T88" fmla="*/ 2147483647 w 478"/>
              <a:gd name="T89" fmla="*/ 2147483647 h 875"/>
              <a:gd name="T90" fmla="*/ 2147483647 w 478"/>
              <a:gd name="T91" fmla="*/ 2147483647 h 875"/>
              <a:gd name="T92" fmla="*/ 2147483647 w 478"/>
              <a:gd name="T93" fmla="*/ 2147483647 h 875"/>
              <a:gd name="T94" fmla="*/ 2147483647 w 478"/>
              <a:gd name="T95" fmla="*/ 2147483647 h 875"/>
              <a:gd name="T96" fmla="*/ 2147483647 w 478"/>
              <a:gd name="T97" fmla="*/ 2147483647 h 875"/>
              <a:gd name="T98" fmla="*/ 2147483647 w 478"/>
              <a:gd name="T99" fmla="*/ 2147483647 h 875"/>
              <a:gd name="T100" fmla="*/ 2147483647 w 478"/>
              <a:gd name="T101" fmla="*/ 2147483647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3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772140" y="4566865"/>
            <a:ext cx="25400" cy="57150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4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464040" y="3825503"/>
            <a:ext cx="174625" cy="271462"/>
          </a:xfrm>
          <a:custGeom>
            <a:avLst/>
            <a:gdLst>
              <a:gd name="T0" fmla="*/ 2147483647 w 399"/>
              <a:gd name="T1" fmla="*/ 2147483647 h 518"/>
              <a:gd name="T2" fmla="*/ 2147483647 w 399"/>
              <a:gd name="T3" fmla="*/ 2147483647 h 518"/>
              <a:gd name="T4" fmla="*/ 2147483647 w 399"/>
              <a:gd name="T5" fmla="*/ 2147483647 h 518"/>
              <a:gd name="T6" fmla="*/ 2147483647 w 399"/>
              <a:gd name="T7" fmla="*/ 2147483647 h 518"/>
              <a:gd name="T8" fmla="*/ 2147483647 w 399"/>
              <a:gd name="T9" fmla="*/ 2147483647 h 518"/>
              <a:gd name="T10" fmla="*/ 2147483647 w 399"/>
              <a:gd name="T11" fmla="*/ 2147483647 h 518"/>
              <a:gd name="T12" fmla="*/ 2147483647 w 399"/>
              <a:gd name="T13" fmla="*/ 2147483647 h 518"/>
              <a:gd name="T14" fmla="*/ 2147483647 w 399"/>
              <a:gd name="T15" fmla="*/ 2147483647 h 518"/>
              <a:gd name="T16" fmla="*/ 2147483647 w 399"/>
              <a:gd name="T17" fmla="*/ 2147483647 h 518"/>
              <a:gd name="T18" fmla="*/ 2147483647 w 399"/>
              <a:gd name="T19" fmla="*/ 2147483647 h 518"/>
              <a:gd name="T20" fmla="*/ 2147483647 w 399"/>
              <a:gd name="T21" fmla="*/ 2147483647 h 518"/>
              <a:gd name="T22" fmla="*/ 2147483647 w 399"/>
              <a:gd name="T23" fmla="*/ 2147483647 h 518"/>
              <a:gd name="T24" fmla="*/ 2147483647 w 399"/>
              <a:gd name="T25" fmla="*/ 2147483647 h 518"/>
              <a:gd name="T26" fmla="*/ 2147483647 w 399"/>
              <a:gd name="T27" fmla="*/ 2147483647 h 518"/>
              <a:gd name="T28" fmla="*/ 2147483647 w 399"/>
              <a:gd name="T29" fmla="*/ 2147483647 h 518"/>
              <a:gd name="T30" fmla="*/ 2147483647 w 399"/>
              <a:gd name="T31" fmla="*/ 2147483647 h 518"/>
              <a:gd name="T32" fmla="*/ 2147483647 w 399"/>
              <a:gd name="T33" fmla="*/ 2147483647 h 518"/>
              <a:gd name="T34" fmla="*/ 2147483647 w 399"/>
              <a:gd name="T35" fmla="*/ 2147483647 h 518"/>
              <a:gd name="T36" fmla="*/ 2147483647 w 399"/>
              <a:gd name="T37" fmla="*/ 2147483647 h 518"/>
              <a:gd name="T38" fmla="*/ 2147483647 w 399"/>
              <a:gd name="T39" fmla="*/ 2147483647 h 518"/>
              <a:gd name="T40" fmla="*/ 2147483647 w 399"/>
              <a:gd name="T41" fmla="*/ 2147483647 h 518"/>
              <a:gd name="T42" fmla="*/ 2147483647 w 399"/>
              <a:gd name="T43" fmla="*/ 2147483647 h 518"/>
              <a:gd name="T44" fmla="*/ 2147483647 w 399"/>
              <a:gd name="T45" fmla="*/ 2147483647 h 518"/>
              <a:gd name="T46" fmla="*/ 2147483647 w 399"/>
              <a:gd name="T47" fmla="*/ 2147483647 h 518"/>
              <a:gd name="T48" fmla="*/ 2147483647 w 399"/>
              <a:gd name="T49" fmla="*/ 2147483647 h 518"/>
              <a:gd name="T50" fmla="*/ 2147483647 w 399"/>
              <a:gd name="T51" fmla="*/ 2147483647 h 518"/>
              <a:gd name="T52" fmla="*/ 2147483647 w 399"/>
              <a:gd name="T53" fmla="*/ 2147483647 h 518"/>
              <a:gd name="T54" fmla="*/ 2147483647 w 399"/>
              <a:gd name="T55" fmla="*/ 2147483647 h 518"/>
              <a:gd name="T56" fmla="*/ 2147483647 w 399"/>
              <a:gd name="T57" fmla="*/ 2147483647 h 518"/>
              <a:gd name="T58" fmla="*/ 2147483647 w 399"/>
              <a:gd name="T59" fmla="*/ 2147483647 h 518"/>
              <a:gd name="T60" fmla="*/ 2147483647 w 399"/>
              <a:gd name="T61" fmla="*/ 2147483647 h 518"/>
              <a:gd name="T62" fmla="*/ 2147483647 w 399"/>
              <a:gd name="T63" fmla="*/ 2147483647 h 518"/>
              <a:gd name="T64" fmla="*/ 2147483647 w 399"/>
              <a:gd name="T65" fmla="*/ 2147483647 h 518"/>
              <a:gd name="T66" fmla="*/ 2147483647 w 399"/>
              <a:gd name="T67" fmla="*/ 2147483647 h 518"/>
              <a:gd name="T68" fmla="*/ 2147483647 w 399"/>
              <a:gd name="T69" fmla="*/ 2147483647 h 518"/>
              <a:gd name="T70" fmla="*/ 2147483647 w 399"/>
              <a:gd name="T71" fmla="*/ 2147483647 h 518"/>
              <a:gd name="T72" fmla="*/ 2147483647 w 399"/>
              <a:gd name="T73" fmla="*/ 2147483647 h 518"/>
              <a:gd name="T74" fmla="*/ 2147483647 w 399"/>
              <a:gd name="T75" fmla="*/ 2147483647 h 518"/>
              <a:gd name="T76" fmla="*/ 2147483647 w 399"/>
              <a:gd name="T77" fmla="*/ 2147483647 h 518"/>
              <a:gd name="T78" fmla="*/ 2147483647 w 399"/>
              <a:gd name="T79" fmla="*/ 2147483647 h 518"/>
              <a:gd name="T80" fmla="*/ 2147483647 w 399"/>
              <a:gd name="T81" fmla="*/ 2147483647 h 518"/>
              <a:gd name="T82" fmla="*/ 2147483647 w 399"/>
              <a:gd name="T83" fmla="*/ 2147483647 h 518"/>
              <a:gd name="T84" fmla="*/ 2147483647 w 399"/>
              <a:gd name="T85" fmla="*/ 2147483647 h 518"/>
              <a:gd name="T86" fmla="*/ 0 w 399"/>
              <a:gd name="T87" fmla="*/ 2147483647 h 518"/>
              <a:gd name="T88" fmla="*/ 2147483647 w 399"/>
              <a:gd name="T89" fmla="*/ 2147483647 h 518"/>
              <a:gd name="T90" fmla="*/ 2147483647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GB"/>
          </a:p>
        </p:txBody>
      </p:sp>
      <p:sp>
        <p:nvSpPr>
          <p:cNvPr id="2425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190865" y="3879478"/>
            <a:ext cx="376238" cy="385762"/>
          </a:xfrm>
          <a:custGeom>
            <a:avLst/>
            <a:gdLst>
              <a:gd name="T0" fmla="*/ 2147483647 w 866"/>
              <a:gd name="T1" fmla="*/ 2147483647 h 740"/>
              <a:gd name="T2" fmla="*/ 2147483647 w 866"/>
              <a:gd name="T3" fmla="*/ 2147483647 h 740"/>
              <a:gd name="T4" fmla="*/ 2147483647 w 866"/>
              <a:gd name="T5" fmla="*/ 2147483647 h 740"/>
              <a:gd name="T6" fmla="*/ 2147483647 w 866"/>
              <a:gd name="T7" fmla="*/ 2147483647 h 740"/>
              <a:gd name="T8" fmla="*/ 2147483647 w 866"/>
              <a:gd name="T9" fmla="*/ 2147483647 h 740"/>
              <a:gd name="T10" fmla="*/ 2147483647 w 866"/>
              <a:gd name="T11" fmla="*/ 2147483647 h 740"/>
              <a:gd name="T12" fmla="*/ 2147483647 w 866"/>
              <a:gd name="T13" fmla="*/ 2147483647 h 740"/>
              <a:gd name="T14" fmla="*/ 2147483647 w 866"/>
              <a:gd name="T15" fmla="*/ 2147483647 h 740"/>
              <a:gd name="T16" fmla="*/ 2147483647 w 866"/>
              <a:gd name="T17" fmla="*/ 2147483647 h 740"/>
              <a:gd name="T18" fmla="*/ 2147483647 w 866"/>
              <a:gd name="T19" fmla="*/ 2147483647 h 740"/>
              <a:gd name="T20" fmla="*/ 2147483647 w 866"/>
              <a:gd name="T21" fmla="*/ 2147483647 h 740"/>
              <a:gd name="T22" fmla="*/ 2147483647 w 866"/>
              <a:gd name="T23" fmla="*/ 2147483647 h 740"/>
              <a:gd name="T24" fmla="*/ 2147483647 w 866"/>
              <a:gd name="T25" fmla="*/ 2147483647 h 740"/>
              <a:gd name="T26" fmla="*/ 2147483647 w 866"/>
              <a:gd name="T27" fmla="*/ 2147483647 h 740"/>
              <a:gd name="T28" fmla="*/ 2147483647 w 866"/>
              <a:gd name="T29" fmla="*/ 2147483647 h 740"/>
              <a:gd name="T30" fmla="*/ 2147483647 w 866"/>
              <a:gd name="T31" fmla="*/ 2147483647 h 740"/>
              <a:gd name="T32" fmla="*/ 2147483647 w 866"/>
              <a:gd name="T33" fmla="*/ 2147483647 h 740"/>
              <a:gd name="T34" fmla="*/ 2147483647 w 866"/>
              <a:gd name="T35" fmla="*/ 2147483647 h 740"/>
              <a:gd name="T36" fmla="*/ 2147483647 w 866"/>
              <a:gd name="T37" fmla="*/ 2147483647 h 740"/>
              <a:gd name="T38" fmla="*/ 2147483647 w 866"/>
              <a:gd name="T39" fmla="*/ 2147483647 h 740"/>
              <a:gd name="T40" fmla="*/ 2147483647 w 866"/>
              <a:gd name="T41" fmla="*/ 2147483647 h 740"/>
              <a:gd name="T42" fmla="*/ 2147483647 w 866"/>
              <a:gd name="T43" fmla="*/ 2147483647 h 740"/>
              <a:gd name="T44" fmla="*/ 2147483647 w 866"/>
              <a:gd name="T45" fmla="*/ 2147483647 h 740"/>
              <a:gd name="T46" fmla="*/ 2147483647 w 866"/>
              <a:gd name="T47" fmla="*/ 2147483647 h 740"/>
              <a:gd name="T48" fmla="*/ 2147483647 w 866"/>
              <a:gd name="T49" fmla="*/ 2147483647 h 740"/>
              <a:gd name="T50" fmla="*/ 2147483647 w 866"/>
              <a:gd name="T51" fmla="*/ 2147483647 h 740"/>
              <a:gd name="T52" fmla="*/ 2147483647 w 866"/>
              <a:gd name="T53" fmla="*/ 2147483647 h 740"/>
              <a:gd name="T54" fmla="*/ 2147483647 w 866"/>
              <a:gd name="T55" fmla="*/ 2147483647 h 740"/>
              <a:gd name="T56" fmla="*/ 2147483647 w 866"/>
              <a:gd name="T57" fmla="*/ 2147483647 h 740"/>
              <a:gd name="T58" fmla="*/ 2147483647 w 866"/>
              <a:gd name="T59" fmla="*/ 2147483647 h 740"/>
              <a:gd name="T60" fmla="*/ 2147483647 w 866"/>
              <a:gd name="T61" fmla="*/ 2147483647 h 740"/>
              <a:gd name="T62" fmla="*/ 2147483647 w 866"/>
              <a:gd name="T63" fmla="*/ 2147483647 h 740"/>
              <a:gd name="T64" fmla="*/ 2147483647 w 866"/>
              <a:gd name="T65" fmla="*/ 2147483647 h 740"/>
              <a:gd name="T66" fmla="*/ 2147483647 w 866"/>
              <a:gd name="T67" fmla="*/ 2147483647 h 740"/>
              <a:gd name="T68" fmla="*/ 2147483647 w 866"/>
              <a:gd name="T69" fmla="*/ 2147483647 h 740"/>
              <a:gd name="T70" fmla="*/ 2147483647 w 866"/>
              <a:gd name="T71" fmla="*/ 2147483647 h 740"/>
              <a:gd name="T72" fmla="*/ 2147483647 w 866"/>
              <a:gd name="T73" fmla="*/ 2147483647 h 740"/>
              <a:gd name="T74" fmla="*/ 2147483647 w 866"/>
              <a:gd name="T75" fmla="*/ 2147483647 h 740"/>
              <a:gd name="T76" fmla="*/ 2147483647 w 866"/>
              <a:gd name="T77" fmla="*/ 2147483647 h 740"/>
              <a:gd name="T78" fmla="*/ 2147483647 w 866"/>
              <a:gd name="T79" fmla="*/ 2147483647 h 740"/>
              <a:gd name="T80" fmla="*/ 2147483647 w 866"/>
              <a:gd name="T81" fmla="*/ 2147483647 h 740"/>
              <a:gd name="T82" fmla="*/ 2147483647 w 866"/>
              <a:gd name="T83" fmla="*/ 2147483647 h 740"/>
              <a:gd name="T84" fmla="*/ 2147483647 w 866"/>
              <a:gd name="T85" fmla="*/ 2147483647 h 740"/>
              <a:gd name="T86" fmla="*/ 2147483647 w 866"/>
              <a:gd name="T87" fmla="*/ 2147483647 h 740"/>
              <a:gd name="T88" fmla="*/ 2147483647 w 866"/>
              <a:gd name="T89" fmla="*/ 2147483647 h 740"/>
              <a:gd name="T90" fmla="*/ 2147483647 w 866"/>
              <a:gd name="T91" fmla="*/ 2147483647 h 740"/>
              <a:gd name="T92" fmla="*/ 2147483647 w 866"/>
              <a:gd name="T93" fmla="*/ 2147483647 h 740"/>
              <a:gd name="T94" fmla="*/ 2147483647 w 866"/>
              <a:gd name="T95" fmla="*/ 2147483647 h 740"/>
              <a:gd name="T96" fmla="*/ 2147483647 w 866"/>
              <a:gd name="T97" fmla="*/ 2147483647 h 740"/>
              <a:gd name="T98" fmla="*/ 2147483647 w 866"/>
              <a:gd name="T99" fmla="*/ 2147483647 h 740"/>
              <a:gd name="T100" fmla="*/ 2147483647 w 866"/>
              <a:gd name="T101" fmla="*/ 2147483647 h 740"/>
              <a:gd name="T102" fmla="*/ 2147483647 w 866"/>
              <a:gd name="T103" fmla="*/ 2147483647 h 740"/>
              <a:gd name="T104" fmla="*/ 2147483647 w 866"/>
              <a:gd name="T105" fmla="*/ 2147483647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6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860665" y="3496890"/>
            <a:ext cx="300038" cy="260350"/>
          </a:xfrm>
          <a:custGeom>
            <a:avLst/>
            <a:gdLst>
              <a:gd name="T0" fmla="*/ 2147483647 w 697"/>
              <a:gd name="T1" fmla="*/ 2147483647 h 500"/>
              <a:gd name="T2" fmla="*/ 2147483647 w 697"/>
              <a:gd name="T3" fmla="*/ 2147483647 h 500"/>
              <a:gd name="T4" fmla="*/ 2147483647 w 697"/>
              <a:gd name="T5" fmla="*/ 2147483647 h 500"/>
              <a:gd name="T6" fmla="*/ 2147483647 w 697"/>
              <a:gd name="T7" fmla="*/ 2147483647 h 500"/>
              <a:gd name="T8" fmla="*/ 2147483647 w 697"/>
              <a:gd name="T9" fmla="*/ 2147483647 h 500"/>
              <a:gd name="T10" fmla="*/ 2147483647 w 697"/>
              <a:gd name="T11" fmla="*/ 2147483647 h 500"/>
              <a:gd name="T12" fmla="*/ 2147483647 w 697"/>
              <a:gd name="T13" fmla="*/ 2147483647 h 500"/>
              <a:gd name="T14" fmla="*/ 2147483647 w 697"/>
              <a:gd name="T15" fmla="*/ 2147483647 h 500"/>
              <a:gd name="T16" fmla="*/ 2147483647 w 697"/>
              <a:gd name="T17" fmla="*/ 2147483647 h 500"/>
              <a:gd name="T18" fmla="*/ 2147483647 w 697"/>
              <a:gd name="T19" fmla="*/ 2147483647 h 500"/>
              <a:gd name="T20" fmla="*/ 2147483647 w 697"/>
              <a:gd name="T21" fmla="*/ 2147483647 h 500"/>
              <a:gd name="T22" fmla="*/ 2147483647 w 697"/>
              <a:gd name="T23" fmla="*/ 2147483647 h 500"/>
              <a:gd name="T24" fmla="*/ 2147483647 w 697"/>
              <a:gd name="T25" fmla="*/ 2147483647 h 500"/>
              <a:gd name="T26" fmla="*/ 2147483647 w 697"/>
              <a:gd name="T27" fmla="*/ 2147483647 h 500"/>
              <a:gd name="T28" fmla="*/ 2147483647 w 697"/>
              <a:gd name="T29" fmla="*/ 2147483647 h 500"/>
              <a:gd name="T30" fmla="*/ 2147483647 w 697"/>
              <a:gd name="T31" fmla="*/ 2147483647 h 500"/>
              <a:gd name="T32" fmla="*/ 2147483647 w 697"/>
              <a:gd name="T33" fmla="*/ 2147483647 h 500"/>
              <a:gd name="T34" fmla="*/ 2147483647 w 697"/>
              <a:gd name="T35" fmla="*/ 2147483647 h 500"/>
              <a:gd name="T36" fmla="*/ 2147483647 w 697"/>
              <a:gd name="T37" fmla="*/ 2147483647 h 500"/>
              <a:gd name="T38" fmla="*/ 2147483647 w 697"/>
              <a:gd name="T39" fmla="*/ 2147483647 h 500"/>
              <a:gd name="T40" fmla="*/ 2147483647 w 697"/>
              <a:gd name="T41" fmla="*/ 2147483647 h 500"/>
              <a:gd name="T42" fmla="*/ 2147483647 w 697"/>
              <a:gd name="T43" fmla="*/ 2147483647 h 500"/>
              <a:gd name="T44" fmla="*/ 2147483647 w 697"/>
              <a:gd name="T45" fmla="*/ 2147483647 h 500"/>
              <a:gd name="T46" fmla="*/ 2147483647 w 697"/>
              <a:gd name="T47" fmla="*/ 2147483647 h 500"/>
              <a:gd name="T48" fmla="*/ 2147483647 w 697"/>
              <a:gd name="T49" fmla="*/ 2147483647 h 500"/>
              <a:gd name="T50" fmla="*/ 2147483647 w 697"/>
              <a:gd name="T51" fmla="*/ 2147483647 h 500"/>
              <a:gd name="T52" fmla="*/ 2147483647 w 697"/>
              <a:gd name="T53" fmla="*/ 2147483647 h 500"/>
              <a:gd name="T54" fmla="*/ 2147483647 w 697"/>
              <a:gd name="T55" fmla="*/ 2147483647 h 500"/>
              <a:gd name="T56" fmla="*/ 2147483647 w 697"/>
              <a:gd name="T57" fmla="*/ 2147483647 h 500"/>
              <a:gd name="T58" fmla="*/ 2147483647 w 697"/>
              <a:gd name="T59" fmla="*/ 2147483647 h 500"/>
              <a:gd name="T60" fmla="*/ 2147483647 w 697"/>
              <a:gd name="T61" fmla="*/ 2147483647 h 500"/>
              <a:gd name="T62" fmla="*/ 2147483647 w 697"/>
              <a:gd name="T63" fmla="*/ 2147483647 h 500"/>
              <a:gd name="T64" fmla="*/ 2147483647 w 697"/>
              <a:gd name="T65" fmla="*/ 2147483647 h 500"/>
              <a:gd name="T66" fmla="*/ 2147483647 w 697"/>
              <a:gd name="T67" fmla="*/ 2147483647 h 500"/>
              <a:gd name="T68" fmla="*/ 2147483647 w 697"/>
              <a:gd name="T69" fmla="*/ 2147483647 h 500"/>
              <a:gd name="T70" fmla="*/ 2147483647 w 697"/>
              <a:gd name="T71" fmla="*/ 2147483647 h 500"/>
              <a:gd name="T72" fmla="*/ 2147483647 w 697"/>
              <a:gd name="T73" fmla="*/ 2147483647 h 500"/>
              <a:gd name="T74" fmla="*/ 2147483647 w 697"/>
              <a:gd name="T75" fmla="*/ 2147483647 h 500"/>
              <a:gd name="T76" fmla="*/ 2147483647 w 697"/>
              <a:gd name="T77" fmla="*/ 2147483647 h 500"/>
              <a:gd name="T78" fmla="*/ 2147483647 w 697"/>
              <a:gd name="T79" fmla="*/ 2147483647 h 500"/>
              <a:gd name="T80" fmla="*/ 2147483647 w 697"/>
              <a:gd name="T81" fmla="*/ 2147483647 h 500"/>
              <a:gd name="T82" fmla="*/ 2147483647 w 697"/>
              <a:gd name="T83" fmla="*/ 2147483647 h 500"/>
              <a:gd name="T84" fmla="*/ 2147483647 w 697"/>
              <a:gd name="T85" fmla="*/ 2147483647 h 500"/>
              <a:gd name="T86" fmla="*/ 2147483647 w 697"/>
              <a:gd name="T87" fmla="*/ 2147483647 h 500"/>
              <a:gd name="T88" fmla="*/ 2147483647 w 697"/>
              <a:gd name="T89" fmla="*/ 2147483647 h 500"/>
              <a:gd name="T90" fmla="*/ 2147483647 w 697"/>
              <a:gd name="T91" fmla="*/ 2147483647 h 500"/>
              <a:gd name="T92" fmla="*/ 2147483647 w 697"/>
              <a:gd name="T93" fmla="*/ 2147483647 h 500"/>
              <a:gd name="T94" fmla="*/ 2147483647 w 697"/>
              <a:gd name="T95" fmla="*/ 2147483647 h 500"/>
              <a:gd name="T96" fmla="*/ 2147483647 w 697"/>
              <a:gd name="T97" fmla="*/ 2147483647 h 500"/>
              <a:gd name="T98" fmla="*/ 2147483647 w 697"/>
              <a:gd name="T99" fmla="*/ 2147483647 h 500"/>
              <a:gd name="T100" fmla="*/ 2147483647 w 697"/>
              <a:gd name="T101" fmla="*/ 2147483647 h 500"/>
              <a:gd name="T102" fmla="*/ 2147483647 w 697"/>
              <a:gd name="T103" fmla="*/ 2147483647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7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560753" y="2426915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28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071928" y="2411040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29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214803" y="2393578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30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251315" y="2401515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50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GB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Since Cuba, many countries in Asia, Europe and South America are close to being validated for EMTCT of HIV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3590791" y="3789040"/>
            <a:ext cx="2057400" cy="202326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/>
          <p:cNvSpPr txBox="1"/>
          <p:nvPr/>
        </p:nvSpPr>
        <p:spPr>
          <a:xfrm>
            <a:off x="4036879" y="5933185"/>
            <a:ext cx="36655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None are in SSA, which accounts for 90% of burden of global MTCT of HIV</a:t>
            </a:r>
            <a:endParaRPr lang="en-GB" dirty="0"/>
          </a:p>
        </p:txBody>
      </p:sp>
      <p:cxnSp>
        <p:nvCxnSpPr>
          <p:cNvPr id="29" name="Elbow Connector 28"/>
          <p:cNvCxnSpPr>
            <a:stCxn id="26" idx="6"/>
            <a:endCxn id="27" idx="0"/>
          </p:cNvCxnSpPr>
          <p:nvPr/>
        </p:nvCxnSpPr>
        <p:spPr>
          <a:xfrm>
            <a:off x="5648191" y="4800674"/>
            <a:ext cx="221456" cy="1132511"/>
          </a:xfrm>
          <a:prstGeom prst="bentConnector2">
            <a:avLst/>
          </a:prstGeom>
          <a:ln w="28575">
            <a:solidFill>
              <a:schemeClr val="tx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6336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High burden countries in </a:t>
            </a:r>
            <a:r>
              <a:rPr lang="en-US" sz="3000" cap="none" dirty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s</a:t>
            </a:r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ub-Saharan Africa have made significant progress in reducing PMTCT of HIV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pic>
        <p:nvPicPr>
          <p:cNvPr id="5" name="Picture 2" descr="\\WIMS\HQ\GVA11\Home\dohertym\Desktop\IAS Vancouver 2015\Meg Oral Presentation\Global_HIVpolicies_pmtct_recommended_2014 (2)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7" b="6450"/>
          <a:stretch/>
        </p:blipFill>
        <p:spPr bwMode="auto">
          <a:xfrm>
            <a:off x="336695" y="1806757"/>
            <a:ext cx="4019281" cy="2774371"/>
          </a:xfrm>
          <a:prstGeom prst="rect">
            <a:avLst/>
          </a:prstGeom>
          <a:noFill/>
          <a:effectLst>
            <a:outerShdw blurRad="203200" dist="101600" dir="2700000" sx="102000" sy="102000" algn="tl" rotWithShape="0">
              <a:prstClr val="black">
                <a:alpha val="31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" name="Group 37"/>
          <p:cNvGrpSpPr/>
          <p:nvPr/>
        </p:nvGrpSpPr>
        <p:grpSpPr>
          <a:xfrm>
            <a:off x="5092281" y="1981907"/>
            <a:ext cx="3599476" cy="3535325"/>
            <a:chOff x="0" y="0"/>
            <a:chExt cx="6410325" cy="3486150"/>
          </a:xfrm>
        </p:grpSpPr>
        <p:graphicFrame>
          <p:nvGraphicFramePr>
            <p:cNvPr id="39" name="Chart 38"/>
            <p:cNvGraphicFramePr/>
            <p:nvPr>
              <p:extLst>
                <p:ext uri="{D42A27DB-BD31-4B8C-83A1-F6EECF244321}">
                  <p14:modId xmlns:p14="http://schemas.microsoft.com/office/powerpoint/2010/main" val="4206382150"/>
                </p:ext>
              </p:extLst>
            </p:nvPr>
          </p:nvGraphicFramePr>
          <p:xfrm>
            <a:off x="47625" y="742950"/>
            <a:ext cx="6362700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cxnSp>
          <p:nvCxnSpPr>
            <p:cNvPr id="40" name="Straight Connector 39"/>
            <p:cNvCxnSpPr/>
            <p:nvPr/>
          </p:nvCxnSpPr>
          <p:spPr>
            <a:xfrm>
              <a:off x="4143375" y="962025"/>
              <a:ext cx="0" cy="2114550"/>
            </a:xfrm>
            <a:prstGeom prst="line">
              <a:avLst/>
            </a:prstGeom>
            <a:ln>
              <a:solidFill>
                <a:schemeClr val="accent3"/>
              </a:solidFill>
              <a:prstDash val="sysDash"/>
            </a:ln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 Box 2"/>
            <p:cNvSpPr txBox="1">
              <a:spLocks noChangeArrowheads="1"/>
            </p:cNvSpPr>
            <p:nvPr/>
          </p:nvSpPr>
          <p:spPr bwMode="auto">
            <a:xfrm>
              <a:off x="3233132" y="189547"/>
              <a:ext cx="1828800" cy="3048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endParaRPr lang="en-GB" sz="1600" b="1" dirty="0" smtClean="0">
                <a:solidFill>
                  <a:srgbClr val="FF0000"/>
                </a:solidFill>
                <a:effectLst/>
                <a:ea typeface="宋体"/>
                <a:cs typeface="바탕"/>
              </a:endParaRPr>
            </a:p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en-GB" sz="1600" b="1" dirty="0" smtClean="0">
                  <a:solidFill>
                    <a:srgbClr val="FF0000"/>
                  </a:solidFill>
                  <a:effectLst/>
                  <a:ea typeface="宋体"/>
                  <a:cs typeface="바탕"/>
                </a:rPr>
                <a:t>Inception </a:t>
              </a:r>
              <a:r>
                <a:rPr lang="en-GB" sz="1600" b="1" dirty="0">
                  <a:solidFill>
                    <a:srgbClr val="FF0000"/>
                  </a:solidFill>
                  <a:effectLst/>
                  <a:ea typeface="宋体"/>
                  <a:cs typeface="바탕"/>
                </a:rPr>
                <a:t>of Global Plan</a:t>
              </a:r>
              <a:endParaRPr lang="en-GB" sz="2000" b="1" dirty="0">
                <a:solidFill>
                  <a:srgbClr val="FF0000"/>
                </a:solidFill>
                <a:effectLst/>
                <a:ea typeface="宋体"/>
                <a:cs typeface="바탕"/>
              </a:endParaRPr>
            </a:p>
          </p:txBody>
        </p:sp>
        <p:sp>
          <p:nvSpPr>
            <p:cNvPr id="42" name="Text Box 2"/>
            <p:cNvSpPr txBox="1">
              <a:spLocks noChangeArrowheads="1"/>
            </p:cNvSpPr>
            <p:nvPr/>
          </p:nvSpPr>
          <p:spPr bwMode="auto">
            <a:xfrm>
              <a:off x="0" y="0"/>
              <a:ext cx="6248400" cy="19929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>
                <a:spcAft>
                  <a:spcPts val="0"/>
                </a:spcAft>
              </a:pPr>
              <a:endParaRPr lang="en-GB" sz="1100" b="1" dirty="0">
                <a:solidFill>
                  <a:srgbClr val="FF0000"/>
                </a:solidFill>
                <a:effectLst/>
                <a:latin typeface="Calibri"/>
                <a:ea typeface="Calibri"/>
                <a:cs typeface="Arial"/>
              </a:endParaRPr>
            </a:p>
          </p:txBody>
        </p:sp>
      </p:grpSp>
      <p:cxnSp>
        <p:nvCxnSpPr>
          <p:cNvPr id="43" name="Straight Connector 42"/>
          <p:cNvCxnSpPr/>
          <p:nvPr/>
        </p:nvCxnSpPr>
        <p:spPr>
          <a:xfrm>
            <a:off x="5724128" y="4365104"/>
            <a:ext cx="2953077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4860032" y="2404084"/>
            <a:ext cx="4032448" cy="3103203"/>
          </a:xfrm>
          <a:prstGeom prst="rect">
            <a:avLst/>
          </a:prstGeom>
          <a:solidFill>
            <a:srgbClr val="2FDD71">
              <a:alpha val="9020"/>
            </a:srgbClr>
          </a:solidFill>
          <a:ln>
            <a:solidFill>
              <a:schemeClr val="tx1"/>
            </a:solidFill>
          </a:ln>
          <a:effectLst>
            <a:outerShdw blurRad="241300" dir="2700000" sx="102000" sy="102000" algn="tl" rotWithShape="0">
              <a:prstClr val="black">
                <a:alpha val="5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TextBox 44"/>
          <p:cNvSpPr txBox="1"/>
          <p:nvPr/>
        </p:nvSpPr>
        <p:spPr>
          <a:xfrm>
            <a:off x="135320" y="2190455"/>
            <a:ext cx="2795145" cy="292388"/>
          </a:xfrm>
          <a:prstGeom prst="rect">
            <a:avLst/>
          </a:prstGeom>
          <a:solidFill>
            <a:srgbClr val="FFCC00"/>
          </a:solidFill>
        </p:spPr>
        <p:txBody>
          <a:bodyPr wrap="square" rtlCol="0">
            <a:spAutoFit/>
          </a:bodyPr>
          <a:lstStyle/>
          <a:p>
            <a:pPr defTabSz="969963"/>
            <a:r>
              <a:rPr lang="en-GB" sz="1300" b="1" dirty="0" smtClean="0">
                <a:latin typeface="Calibri" panose="020F0502020204030204" pitchFamily="34" charset="0"/>
              </a:rPr>
              <a:t>Among 144 LMIC, 80% use Option B+</a:t>
            </a:r>
            <a:endParaRPr lang="en-GB" sz="1300" b="1" dirty="0">
              <a:latin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932040" y="2395930"/>
            <a:ext cx="24207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/>
              <a:t>New Infections in children</a:t>
            </a:r>
            <a:endParaRPr lang="en-GB" sz="1400" b="1" dirty="0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797686574"/>
              </p:ext>
            </p:extLst>
          </p:nvPr>
        </p:nvGraphicFramePr>
        <p:xfrm>
          <a:off x="179512" y="3857024"/>
          <a:ext cx="4768753" cy="2600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-15246" y="6597352"/>
            <a:ext cx="48241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Source: WHO Policy Uptake data. UNAIDS Global Plan Status Report 2015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830144069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 animBg="1"/>
      <p:bldP spid="4" grpId="0"/>
      <p:bldGraphic spid="6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 txBox="1">
            <a:spLocks/>
          </p:cNvSpPr>
          <p:nvPr/>
        </p:nvSpPr>
        <p:spPr>
          <a:xfrm>
            <a:off x="1016" y="340380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Among the global plan countries, several have achieved or are close to achieving elimination criteria…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4128193"/>
              </p:ext>
            </p:extLst>
          </p:nvPr>
        </p:nvGraphicFramePr>
        <p:xfrm>
          <a:off x="827584" y="1340768"/>
          <a:ext cx="7193280" cy="5394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788024" y="2145630"/>
            <a:ext cx="3816424" cy="646331"/>
          </a:xfrm>
          <a:prstGeom prst="rect">
            <a:avLst/>
          </a:prstGeom>
          <a:solidFill>
            <a:srgbClr val="FFFF0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Rwanda is not shown, but ARV coverage  is &gt;95% and MTCT rate &lt;2% 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1270265" y="5919804"/>
            <a:ext cx="216024" cy="7920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>
          <a:xfrm>
            <a:off x="2862651" y="5919804"/>
            <a:ext cx="216024" cy="7920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/>
        </p:nvSpPr>
        <p:spPr>
          <a:xfrm>
            <a:off x="1587773" y="5919804"/>
            <a:ext cx="216024" cy="7920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3348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8" grpId="0" animBg="1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657956"/>
              </p:ext>
            </p:extLst>
          </p:nvPr>
        </p:nvGraphicFramePr>
        <p:xfrm>
          <a:off x="1590118" y="1988840"/>
          <a:ext cx="5934210" cy="34563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9129"/>
                <a:gridCol w="2419156"/>
                <a:gridCol w="2515925"/>
              </a:tblGrid>
              <a:tr h="234376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en-GB" sz="12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/>
                        </a:rPr>
                        <a:t>ELIMINATION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72066">
                <a:tc vMerge="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n-GB" sz="11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effectLst/>
                        </a:rPr>
                        <a:t>HIV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11760" indent="-90170"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Syphilis</a:t>
                      </a:r>
                      <a:endParaRPr lang="en-GB" sz="1800" b="1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3634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</a:rPr>
                        <a:t>IMPACT</a:t>
                      </a:r>
                      <a:endParaRPr lang="en-GB" sz="1800" b="1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b="1" dirty="0" smtClean="0">
                          <a:effectLst/>
                        </a:rPr>
                        <a:t>criteria</a:t>
                      </a:r>
                      <a:endParaRPr lang="en-GB" sz="1800" b="1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rtl="0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dirty="0">
                          <a:effectLst/>
                        </a:rPr>
                        <a:t>MTCT </a:t>
                      </a:r>
                      <a:r>
                        <a:rPr lang="en-US" sz="1700" dirty="0" smtClean="0">
                          <a:effectLst/>
                        </a:rPr>
                        <a:t>&lt; 2% 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OR </a:t>
                      </a:r>
                      <a:r>
                        <a:rPr lang="en-US" sz="1700" dirty="0">
                          <a:effectLst/>
                        </a:rPr>
                        <a:t>&lt; </a:t>
                      </a:r>
                      <a:r>
                        <a:rPr lang="en-US" sz="1700" dirty="0" smtClean="0">
                          <a:effectLst/>
                        </a:rPr>
                        <a:t>5%</a:t>
                      </a:r>
                      <a:r>
                        <a:rPr lang="en-GB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in BF populations</a:t>
                      </a:r>
                      <a:endParaRPr lang="en-GB" sz="1700" dirty="0">
                        <a:effectLst/>
                      </a:endParaRPr>
                    </a:p>
                    <a:p>
                      <a:pPr marL="176213" lvl="0" indent="-176213" algn="l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b="1" dirty="0" smtClean="0">
                          <a:solidFill>
                            <a:srgbClr val="FF0000"/>
                          </a:solidFill>
                          <a:effectLst/>
                        </a:rPr>
                        <a:t>Case rate  ≤ 50 per 100,000 live births</a:t>
                      </a:r>
                      <a:endParaRPr lang="en-GB" sz="1700" b="1" dirty="0">
                        <a:solidFill>
                          <a:srgbClr val="FF0000"/>
                        </a:solidFill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e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e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≤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per 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,000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ve births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1760" indent="-90170" algn="l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Calibri"/>
                        <a:cs typeface="Arial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61998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effectLst/>
                        </a:rPr>
                        <a:t>PROCESS criteria</a:t>
                      </a:r>
                      <a:endParaRPr lang="en-GB" b="1" dirty="0"/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coverage ≥ 95%</a:t>
                      </a:r>
                      <a:endParaRPr lang="en-GB" sz="1700" dirty="0" smtClean="0">
                        <a:effectLst/>
                        <a:latin typeface="+mn-lt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 coverage 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≥ 95% 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 coverage ≥95%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US" sz="1700" dirty="0" smtClean="0">
                          <a:effectLst/>
                        </a:rPr>
                        <a:t>ANC coverage ≥ 95%</a:t>
                      </a:r>
                      <a:endParaRPr lang="en-GB" sz="1700" dirty="0" smtClean="0">
                        <a:effectLst/>
                        <a:latin typeface="+mn-lt"/>
                        <a:cs typeface="Arial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ing</a:t>
                      </a:r>
                      <a:r>
                        <a:rPr lang="en-US" sz="17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</a:t>
                      </a: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age ≥ 95%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lvl="0" indent="-176213" algn="l" defTabSz="914400" rtl="0" eaLnBrk="1" latinLnBrk="0" hangingPunct="1">
                        <a:lnSpc>
                          <a:spcPct val="115000"/>
                        </a:lnSpc>
                        <a:buFont typeface="Symbol"/>
                        <a:buChar char=""/>
                      </a:pPr>
                      <a:r>
                        <a:rPr lang="en-US" sz="17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eatment coverage &gt;95% </a:t>
                      </a:r>
                      <a:endParaRPr lang="en-GB" sz="17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811" marR="5681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GB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But the problem is the stringent case rate definition </a:t>
            </a:r>
            <a:endParaRPr lang="en-GB" sz="3000" cap="none" dirty="0">
              <a:solidFill>
                <a:srgbClr val="285E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318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US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All the 21 Global Plan countries have estimated case rates well above the elimination threshold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7659500"/>
              </p:ext>
            </p:extLst>
          </p:nvPr>
        </p:nvGraphicFramePr>
        <p:xfrm>
          <a:off x="251520" y="1772816"/>
          <a:ext cx="8352928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1187624" y="5511260"/>
            <a:ext cx="7200800" cy="2857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1138868" y="5151566"/>
            <a:ext cx="4587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154</a:t>
            </a:r>
            <a:endParaRPr lang="en-GB" sz="16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4257236" y="4489375"/>
            <a:ext cx="4587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798</a:t>
            </a:r>
            <a:endParaRPr lang="en-GB" sz="16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6293712" y="4238847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1019</a:t>
            </a:r>
            <a:endParaRPr lang="en-GB" sz="16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7668344" y="2743931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2424</a:t>
            </a:r>
            <a:endParaRPr lang="en-GB" sz="16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-15246" y="6597352"/>
            <a:ext cx="20995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Source: UNAIDS GARPR 2015 data</a:t>
            </a:r>
            <a:endParaRPr lang="en-GB" sz="1200" dirty="0"/>
          </a:p>
        </p:txBody>
      </p:sp>
      <p:sp>
        <p:nvSpPr>
          <p:cNvPr id="13" name="Rectangle 12"/>
          <p:cNvSpPr/>
          <p:nvPr/>
        </p:nvSpPr>
        <p:spPr>
          <a:xfrm>
            <a:off x="5054790" y="5653543"/>
            <a:ext cx="216024" cy="8712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/>
        </p:nvSpPr>
        <p:spPr>
          <a:xfrm>
            <a:off x="6444208" y="5661248"/>
            <a:ext cx="216024" cy="8712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/>
        </p:nvSpPr>
        <p:spPr>
          <a:xfrm>
            <a:off x="5745394" y="5668953"/>
            <a:ext cx="216024" cy="8712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29564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0" y="462558"/>
            <a:ext cx="9142984" cy="1238250"/>
          </a:xfrm>
          <a:prstGeom prst="rect">
            <a:avLst/>
          </a:prstGeom>
        </p:spPr>
        <p:txBody>
          <a:bodyPr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n-GB" sz="3000" cap="none" dirty="0" smtClean="0">
                <a:solidFill>
                  <a:srgbClr val="285EA0"/>
                </a:solidFill>
                <a:latin typeface="Calibri" pitchFamily="34" charset="0"/>
                <a:cs typeface="Calibri" pitchFamily="34" charset="0"/>
              </a:rPr>
              <a:t>But…there are reasons to be optimistic!</a:t>
            </a:r>
            <a:endParaRPr lang="en-GB" sz="3000" cap="none" dirty="0">
              <a:solidFill>
                <a:srgbClr val="285EA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24782" y="1340768"/>
            <a:ext cx="75356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 smtClean="0"/>
              <a:t>Recent meta-analysis suggests that MTCT rates for women on ART pre-conception are very low</a:t>
            </a:r>
          </a:p>
        </p:txBody>
      </p:sp>
      <p:graphicFrame>
        <p:nvGraphicFramePr>
          <p:cNvPr id="13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8813787"/>
              </p:ext>
            </p:extLst>
          </p:nvPr>
        </p:nvGraphicFramePr>
        <p:xfrm>
          <a:off x="690240" y="2654915"/>
          <a:ext cx="7338144" cy="3744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Chart" r:id="rId4" imgW="8108383" imgH="4371211" progId="Excel.Chart.8">
                  <p:embed/>
                </p:oleObj>
              </mc:Choice>
              <mc:Fallback>
                <p:oleObj name="Chart" r:id="rId4" imgW="8108383" imgH="4371211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0240" y="2654915"/>
                        <a:ext cx="7338144" cy="37445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/>
        </p:nvCxnSpPr>
        <p:spPr>
          <a:xfrm flipV="1">
            <a:off x="3830250" y="2852936"/>
            <a:ext cx="16668" cy="3280098"/>
          </a:xfrm>
          <a:prstGeom prst="line">
            <a:avLst/>
          </a:prstGeom>
          <a:ln w="3175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571492" y="4797152"/>
            <a:ext cx="4397807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000" b="1" dirty="0" smtClean="0">
                <a:solidFill>
                  <a:srgbClr val="C00000"/>
                </a:solidFill>
                <a:latin typeface="+mn-lt"/>
              </a:rPr>
              <a:t>Median MTCT rate at 6 weeks is </a:t>
            </a:r>
            <a:r>
              <a:rPr lang="en-US" sz="2000" b="1" u="sng" dirty="0" smtClean="0">
                <a:solidFill>
                  <a:srgbClr val="C00000"/>
                </a:solidFill>
                <a:latin typeface="+mn-lt"/>
              </a:rPr>
              <a:t>0.19%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3995936" y="5301208"/>
            <a:ext cx="696671" cy="576064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-2868" y="6597352"/>
            <a:ext cx="29186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Source: Mofenson for SPECTRUM modelling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775592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7866</TotalTime>
  <Words>1566</Words>
  <Application>Microsoft Office PowerPoint</Application>
  <PresentationFormat>On-screen Show (4:3)</PresentationFormat>
  <Paragraphs>299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9" baseType="lpstr">
      <vt:lpstr>바탕</vt:lpstr>
      <vt:lpstr>MS PGothic</vt:lpstr>
      <vt:lpstr>MS PGothic</vt:lpstr>
      <vt:lpstr>宋体</vt:lpstr>
      <vt:lpstr>宋体</vt:lpstr>
      <vt:lpstr>Arial</vt:lpstr>
      <vt:lpstr>Arial Narrow</vt:lpstr>
      <vt:lpstr>Calibri</vt:lpstr>
      <vt:lpstr>Symbol</vt:lpstr>
      <vt:lpstr>Times New Roman</vt:lpstr>
      <vt:lpstr>Wingdings</vt:lpstr>
      <vt:lpstr>Office Theme</vt:lpstr>
      <vt:lpstr>27_Custom Design</vt:lpstr>
      <vt:lpstr>26_Custom Design</vt:lpstr>
      <vt:lpstr>4_master</vt:lpstr>
      <vt:lpstr>Chart</vt:lpstr>
      <vt:lpstr>Global updates on elimination and the concept of pre-elimination  Shaffiq Essajee  WHO HIV Department  IATT Webinar: March 17th 2016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WH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STRATEGIES TO OPTIMIZE CARE IN THE POSTNATAL PERIOD: INFANT PROPHYLAXIS, FEEDING AND DIAGNOSIS  23-26 MARCH 2015 WHO, GENEVA SWITZERLAND</dc:title>
  <dc:creator>PENAZZATO, Martina</dc:creator>
  <cp:lastModifiedBy>Carthi S Mannikarottu</cp:lastModifiedBy>
  <cp:revision>148</cp:revision>
  <dcterms:created xsi:type="dcterms:W3CDTF">2015-03-24T13:58:27Z</dcterms:created>
  <dcterms:modified xsi:type="dcterms:W3CDTF">2018-05-11T17:10:07Z</dcterms:modified>
</cp:coreProperties>
</file>